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2"/>
  </p:handoutMasterIdLst>
  <p:sldIdLst>
    <p:sldId id="504" r:id="rId2"/>
    <p:sldId id="526" r:id="rId3"/>
    <p:sldId id="525" r:id="rId4"/>
    <p:sldId id="524" r:id="rId5"/>
    <p:sldId id="531" r:id="rId6"/>
    <p:sldId id="530" r:id="rId7"/>
    <p:sldId id="529" r:id="rId8"/>
    <p:sldId id="528" r:id="rId9"/>
    <p:sldId id="527" r:id="rId10"/>
    <p:sldId id="521" r:id="rId11"/>
    <p:sldId id="532" r:id="rId12"/>
    <p:sldId id="523" r:id="rId13"/>
    <p:sldId id="537" r:id="rId14"/>
    <p:sldId id="536" r:id="rId15"/>
    <p:sldId id="535" r:id="rId16"/>
    <p:sldId id="539" r:id="rId17"/>
    <p:sldId id="534" r:id="rId18"/>
    <p:sldId id="533" r:id="rId19"/>
    <p:sldId id="540" r:id="rId20"/>
    <p:sldId id="546" r:id="rId21"/>
    <p:sldId id="545" r:id="rId22"/>
    <p:sldId id="542" r:id="rId23"/>
    <p:sldId id="548" r:id="rId24"/>
    <p:sldId id="547" r:id="rId25"/>
    <p:sldId id="541" r:id="rId26"/>
    <p:sldId id="560" r:id="rId27"/>
    <p:sldId id="561" r:id="rId28"/>
    <p:sldId id="563" r:id="rId29"/>
    <p:sldId id="564" r:id="rId30"/>
    <p:sldId id="461" r:id="rId31"/>
  </p:sldIdLst>
  <p:sldSz cx="9144000" cy="6858000" type="screen4x3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pos="575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69E"/>
    <a:srgbClr val="005822"/>
    <a:srgbClr val="4F81BD"/>
    <a:srgbClr val="FAC090"/>
    <a:srgbClr val="967200"/>
    <a:srgbClr val="3204A4"/>
    <a:srgbClr val="FFEA21"/>
    <a:srgbClr val="FFED3F"/>
    <a:srgbClr val="704E1C"/>
    <a:srgbClr val="0044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Estilo com Tema 1 - Ênfas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Estilo Médio 1 - Ênfas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511" autoAdjust="0"/>
    <p:restoredTop sz="94717" autoAdjust="0"/>
  </p:normalViewPr>
  <p:slideViewPr>
    <p:cSldViewPr>
      <p:cViewPr>
        <p:scale>
          <a:sx n="90" d="100"/>
          <a:sy n="90" d="100"/>
        </p:scale>
        <p:origin x="-2244" y="-690"/>
      </p:cViewPr>
      <p:guideLst>
        <p:guide orient="horz" pos="2160"/>
        <p:guide orient="horz" pos="4110"/>
        <p:guide pos="2880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81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2880"/>
        <p:guide orient="horz" pos="3127"/>
        <p:guide pos="216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Distribuição da carga tributária, por imposto </c:v>
                </c:pt>
              </c:strCache>
            </c:strRef>
          </c:tx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A$2:$A$7</c:f>
              <c:strCache>
                <c:ptCount val="6"/>
                <c:pt idx="0">
                  <c:v>ICMS</c:v>
                </c:pt>
                <c:pt idx="1">
                  <c:v>PIS-COFINS</c:v>
                </c:pt>
                <c:pt idx="2">
                  <c:v>SIMPLES</c:v>
                </c:pt>
                <c:pt idx="3">
                  <c:v>CPP</c:v>
                </c:pt>
                <c:pt idx="4">
                  <c:v>IPI</c:v>
                </c:pt>
                <c:pt idx="5">
                  <c:v>ISS</c:v>
                </c:pt>
              </c:strCache>
            </c:strRef>
          </c:cat>
          <c:val>
            <c:numRef>
              <c:f>Plan1!$B$2:$B$7</c:f>
              <c:numCache>
                <c:formatCode>0%</c:formatCode>
                <c:ptCount val="6"/>
                <c:pt idx="0">
                  <c:v>0.51</c:v>
                </c:pt>
                <c:pt idx="1">
                  <c:v>0.31</c:v>
                </c:pt>
                <c:pt idx="2">
                  <c:v>0.09</c:v>
                </c:pt>
                <c:pt idx="3">
                  <c:v>7.0000000000000007E-2</c:v>
                </c:pt>
                <c:pt idx="4">
                  <c:v>0.02</c:v>
                </c:pt>
                <c:pt idx="5" formatCode="0.00%">
                  <c:v>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egendEntry>
        <c:idx val="0"/>
        <c:txPr>
          <a:bodyPr/>
          <a:lstStyle/>
          <a:p>
            <a:pPr>
              <a:defRPr sz="1600"/>
            </a:pPr>
            <a:endParaRPr lang="pt-BR"/>
          </a:p>
        </c:txPr>
      </c:legendEntry>
      <c:legendEntry>
        <c:idx val="1"/>
        <c:txPr>
          <a:bodyPr/>
          <a:lstStyle/>
          <a:p>
            <a:pPr>
              <a:defRPr sz="1600"/>
            </a:pPr>
            <a:endParaRPr lang="pt-BR"/>
          </a:p>
        </c:txPr>
      </c:legendEntry>
      <c:legendEntry>
        <c:idx val="2"/>
        <c:txPr>
          <a:bodyPr/>
          <a:lstStyle/>
          <a:p>
            <a:pPr>
              <a:defRPr sz="1600"/>
            </a:pPr>
            <a:endParaRPr lang="pt-BR"/>
          </a:p>
        </c:txPr>
      </c:legendEntry>
      <c:legendEntry>
        <c:idx val="3"/>
        <c:txPr>
          <a:bodyPr/>
          <a:lstStyle/>
          <a:p>
            <a:pPr>
              <a:defRPr sz="1600"/>
            </a:pPr>
            <a:endParaRPr lang="pt-BR"/>
          </a:p>
        </c:txPr>
      </c:legendEntry>
      <c:legendEntry>
        <c:idx val="4"/>
        <c:txPr>
          <a:bodyPr/>
          <a:lstStyle/>
          <a:p>
            <a:pPr>
              <a:defRPr sz="1600"/>
            </a:pPr>
            <a:endParaRPr lang="pt-BR"/>
          </a:p>
        </c:txPr>
      </c:legendEntry>
      <c:legendEntry>
        <c:idx val="5"/>
        <c:txPr>
          <a:bodyPr/>
          <a:lstStyle/>
          <a:p>
            <a:pPr>
              <a:defRPr sz="1600"/>
            </a:pPr>
            <a:endParaRPr lang="pt-BR"/>
          </a:p>
        </c:txPr>
      </c:legendEntry>
      <c:layout>
        <c:manualLayout>
          <c:xMode val="edge"/>
          <c:yMode val="edge"/>
          <c:x val="0.76144196538548858"/>
          <c:y val="0.38606173388142057"/>
          <c:w val="0.22705568946445565"/>
          <c:h val="0.46137929118986781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D30656-08ED-44E8-B06E-466757188C7B}" type="doc">
      <dgm:prSet loTypeId="urn:microsoft.com/office/officeart/2005/8/layout/vList3#1" loCatId="list" qsTypeId="urn:microsoft.com/office/officeart/2005/8/quickstyle/3d1" qsCatId="3D" csTypeId="urn:microsoft.com/office/officeart/2005/8/colors/accent5_1" csCatId="accent5" phldr="1"/>
      <dgm:spPr/>
    </dgm:pt>
    <dgm:pt modelId="{23B827ED-D8E7-46D4-B550-C67831B1B96C}">
      <dgm:prSet phldrT="[Texto]" custT="1"/>
      <dgm:spPr/>
      <dgm:t>
        <a:bodyPr/>
        <a:lstStyle/>
        <a:p>
          <a:r>
            <a:rPr lang="pt-BR" sz="1200" b="1" noProof="0" dirty="0" smtClean="0"/>
            <a:t>Logística reversa</a:t>
          </a:r>
          <a:endParaRPr lang="pt-BR" sz="1200" b="1" noProof="0" dirty="0"/>
        </a:p>
      </dgm:t>
    </dgm:pt>
    <dgm:pt modelId="{3D2390B9-49D1-4E9A-AE85-88ABD6DF37E5}" type="parTrans" cxnId="{E5E170CD-B6C9-404D-AF26-A7DB0C28D677}">
      <dgm:prSet/>
      <dgm:spPr/>
      <dgm:t>
        <a:bodyPr/>
        <a:lstStyle/>
        <a:p>
          <a:endParaRPr lang="pt-BR" sz="1200" noProof="0"/>
        </a:p>
      </dgm:t>
    </dgm:pt>
    <dgm:pt modelId="{FB3F0FF2-9D8F-4461-BD20-6E2484BAAF54}" type="sibTrans" cxnId="{E5E170CD-B6C9-404D-AF26-A7DB0C28D677}">
      <dgm:prSet/>
      <dgm:spPr/>
      <dgm:t>
        <a:bodyPr/>
        <a:lstStyle/>
        <a:p>
          <a:endParaRPr lang="pt-BR" sz="1200" noProof="0"/>
        </a:p>
      </dgm:t>
    </dgm:pt>
    <dgm:pt modelId="{CF1A7424-0030-4938-80D8-F7C1BBD27B7A}">
      <dgm:prSet phldrT="[Texto]" custT="1"/>
      <dgm:spPr/>
      <dgm:t>
        <a:bodyPr/>
        <a:lstStyle/>
        <a:p>
          <a:r>
            <a:rPr lang="pt-BR" sz="1200" b="1" noProof="0" dirty="0" err="1" smtClean="0"/>
            <a:t>Desmon-tagem</a:t>
          </a:r>
          <a:endParaRPr lang="pt-BR" sz="1200" b="1" noProof="0" dirty="0"/>
        </a:p>
      </dgm:t>
    </dgm:pt>
    <dgm:pt modelId="{B96D1EFE-EB8E-4551-97BE-C2FC180FB685}" type="parTrans" cxnId="{5F467943-3C7C-40B5-A0D6-8D01DF3A49E5}">
      <dgm:prSet/>
      <dgm:spPr/>
      <dgm:t>
        <a:bodyPr/>
        <a:lstStyle/>
        <a:p>
          <a:endParaRPr lang="pt-BR" sz="1200" noProof="0"/>
        </a:p>
      </dgm:t>
    </dgm:pt>
    <dgm:pt modelId="{B7F56899-E01F-457B-8021-0FE7D457935B}" type="sibTrans" cxnId="{5F467943-3C7C-40B5-A0D6-8D01DF3A49E5}">
      <dgm:prSet/>
      <dgm:spPr/>
      <dgm:t>
        <a:bodyPr/>
        <a:lstStyle/>
        <a:p>
          <a:endParaRPr lang="pt-BR" sz="1200" noProof="0"/>
        </a:p>
      </dgm:t>
    </dgm:pt>
    <dgm:pt modelId="{87678A12-76E0-462B-8FCD-2EEB1C19D6BB}">
      <dgm:prSet phldrT="[Texto]" custT="1"/>
      <dgm:spPr/>
      <dgm:t>
        <a:bodyPr/>
        <a:lstStyle/>
        <a:p>
          <a:r>
            <a:rPr lang="pt-BR" sz="1200" b="1" noProof="0" smtClean="0"/>
            <a:t>Reuso</a:t>
          </a:r>
          <a:endParaRPr lang="pt-BR" sz="1200" b="1" noProof="0"/>
        </a:p>
      </dgm:t>
    </dgm:pt>
    <dgm:pt modelId="{5ADC3565-C63E-41D6-83AE-4D96571F57C3}" type="parTrans" cxnId="{1DD8A0B0-164D-46DF-BC7B-3B4A0BD62031}">
      <dgm:prSet/>
      <dgm:spPr/>
      <dgm:t>
        <a:bodyPr/>
        <a:lstStyle/>
        <a:p>
          <a:endParaRPr lang="pt-BR" sz="1200" noProof="0"/>
        </a:p>
      </dgm:t>
    </dgm:pt>
    <dgm:pt modelId="{470F37FF-6F78-41F4-9EC2-87A3030F9CDD}" type="sibTrans" cxnId="{1DD8A0B0-164D-46DF-BC7B-3B4A0BD62031}">
      <dgm:prSet/>
      <dgm:spPr/>
      <dgm:t>
        <a:bodyPr/>
        <a:lstStyle/>
        <a:p>
          <a:endParaRPr lang="pt-BR" sz="1200" noProof="0"/>
        </a:p>
      </dgm:t>
    </dgm:pt>
    <dgm:pt modelId="{70979466-CB84-4B2C-B9A9-0D0F1CC27CA5}">
      <dgm:prSet phldrT="[Texto]" custT="1"/>
      <dgm:spPr/>
      <dgm:t>
        <a:bodyPr/>
        <a:lstStyle/>
        <a:p>
          <a:r>
            <a:rPr lang="pt-BR" sz="1200" b="1" noProof="0" dirty="0" err="1" smtClean="0"/>
            <a:t>Recicla-gem</a:t>
          </a:r>
          <a:endParaRPr lang="pt-BR" sz="1200" b="1" noProof="0" dirty="0"/>
        </a:p>
      </dgm:t>
    </dgm:pt>
    <dgm:pt modelId="{62AF7663-FA1B-4C26-85BD-98D977447964}" type="parTrans" cxnId="{C3F8885F-FA5F-431C-88F9-7FCB2C8E267D}">
      <dgm:prSet/>
      <dgm:spPr/>
      <dgm:t>
        <a:bodyPr/>
        <a:lstStyle/>
        <a:p>
          <a:endParaRPr lang="pt-BR" sz="1200" noProof="0"/>
        </a:p>
      </dgm:t>
    </dgm:pt>
    <dgm:pt modelId="{47F296DB-4216-42E1-9842-6A52FB5A69F6}" type="sibTrans" cxnId="{C3F8885F-FA5F-431C-88F9-7FCB2C8E267D}">
      <dgm:prSet/>
      <dgm:spPr/>
      <dgm:t>
        <a:bodyPr/>
        <a:lstStyle/>
        <a:p>
          <a:endParaRPr lang="pt-BR" sz="1200" noProof="0"/>
        </a:p>
      </dgm:t>
    </dgm:pt>
    <dgm:pt modelId="{D8F31977-806A-4A2E-8F14-63E70C828DC7}">
      <dgm:prSet phldrT="[Texto]" custT="1"/>
      <dgm:spPr/>
      <dgm:t>
        <a:bodyPr/>
        <a:lstStyle/>
        <a:p>
          <a:r>
            <a:rPr lang="pt-BR" sz="1200" b="1" noProof="0" smtClean="0"/>
            <a:t>Descarte</a:t>
          </a:r>
          <a:endParaRPr lang="pt-BR" sz="1200" b="1" noProof="0"/>
        </a:p>
      </dgm:t>
    </dgm:pt>
    <dgm:pt modelId="{AFB92AE8-9CA0-40AA-B81B-3409420CA657}" type="parTrans" cxnId="{0EA08570-869F-470C-A45B-876094903396}">
      <dgm:prSet/>
      <dgm:spPr/>
      <dgm:t>
        <a:bodyPr/>
        <a:lstStyle/>
        <a:p>
          <a:endParaRPr lang="pt-BR" sz="1200" noProof="0"/>
        </a:p>
      </dgm:t>
    </dgm:pt>
    <dgm:pt modelId="{C9CAB6B6-5D56-40D6-A504-06358E64D415}" type="sibTrans" cxnId="{0EA08570-869F-470C-A45B-876094903396}">
      <dgm:prSet/>
      <dgm:spPr/>
      <dgm:t>
        <a:bodyPr/>
        <a:lstStyle/>
        <a:p>
          <a:endParaRPr lang="pt-BR" sz="1200" noProof="0"/>
        </a:p>
      </dgm:t>
    </dgm:pt>
    <dgm:pt modelId="{A628F2F4-6C7F-4179-94EE-116088929FEB}" type="pres">
      <dgm:prSet presAssocID="{65D30656-08ED-44E8-B06E-466757188C7B}" presName="linearFlow" presStyleCnt="0">
        <dgm:presLayoutVars>
          <dgm:dir/>
          <dgm:resizeHandles val="exact"/>
        </dgm:presLayoutVars>
      </dgm:prSet>
      <dgm:spPr/>
    </dgm:pt>
    <dgm:pt modelId="{857F20DB-3D75-4934-935F-0D48A4082E49}" type="pres">
      <dgm:prSet presAssocID="{23B827ED-D8E7-46D4-B550-C67831B1B96C}" presName="composite" presStyleCnt="0"/>
      <dgm:spPr/>
    </dgm:pt>
    <dgm:pt modelId="{1C6F903E-1C4D-4438-9C17-57BC450F4094}" type="pres">
      <dgm:prSet presAssocID="{23B827ED-D8E7-46D4-B550-C67831B1B96C}" presName="imgShp" presStyleLbl="fgImgPlace1" presStyleIdx="0" presStyleCnt="5"/>
      <dgm:spPr/>
    </dgm:pt>
    <dgm:pt modelId="{CD7EDDB9-2DDB-4190-8790-96719964B4C8}" type="pres">
      <dgm:prSet presAssocID="{23B827ED-D8E7-46D4-B550-C67831B1B96C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1BA0DE-E247-4CFB-9593-92C1175D617B}" type="pres">
      <dgm:prSet presAssocID="{FB3F0FF2-9D8F-4461-BD20-6E2484BAAF54}" presName="spacing" presStyleCnt="0"/>
      <dgm:spPr/>
    </dgm:pt>
    <dgm:pt modelId="{3826A943-63DF-482D-8637-B9EF2F988631}" type="pres">
      <dgm:prSet presAssocID="{CF1A7424-0030-4938-80D8-F7C1BBD27B7A}" presName="composite" presStyleCnt="0"/>
      <dgm:spPr/>
    </dgm:pt>
    <dgm:pt modelId="{F568AAFB-9139-43D7-8D4A-A3A59ACE256B}" type="pres">
      <dgm:prSet presAssocID="{CF1A7424-0030-4938-80D8-F7C1BBD27B7A}" presName="imgShp" presStyleLbl="fgImgPlace1" presStyleIdx="1" presStyleCnt="5"/>
      <dgm:spPr/>
    </dgm:pt>
    <dgm:pt modelId="{6D974EBB-AB8B-4A4B-AA48-865C42EA856D}" type="pres">
      <dgm:prSet presAssocID="{CF1A7424-0030-4938-80D8-F7C1BBD27B7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11FDC5-41CC-4B17-918F-A1A185F4B75C}" type="pres">
      <dgm:prSet presAssocID="{B7F56899-E01F-457B-8021-0FE7D457935B}" presName="spacing" presStyleCnt="0"/>
      <dgm:spPr/>
    </dgm:pt>
    <dgm:pt modelId="{2A88C3D8-4C40-4BB9-B070-185200F18AB8}" type="pres">
      <dgm:prSet presAssocID="{87678A12-76E0-462B-8FCD-2EEB1C19D6BB}" presName="composite" presStyleCnt="0"/>
      <dgm:spPr/>
    </dgm:pt>
    <dgm:pt modelId="{26CF8ACD-3912-471D-B961-0AA209500504}" type="pres">
      <dgm:prSet presAssocID="{87678A12-76E0-462B-8FCD-2EEB1C19D6BB}" presName="imgShp" presStyleLbl="fgImgPlace1" presStyleIdx="2" presStyleCnt="5"/>
      <dgm:spPr/>
    </dgm:pt>
    <dgm:pt modelId="{39EE0312-7E1A-4D1E-9CDE-8A952B3F3923}" type="pres">
      <dgm:prSet presAssocID="{87678A12-76E0-462B-8FCD-2EEB1C19D6BB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65D6C2-8E8A-4FA2-8266-6F9A08F195CB}" type="pres">
      <dgm:prSet presAssocID="{470F37FF-6F78-41F4-9EC2-87A3030F9CDD}" presName="spacing" presStyleCnt="0"/>
      <dgm:spPr/>
    </dgm:pt>
    <dgm:pt modelId="{6925140A-7FD3-46B5-B625-895E9A666AD0}" type="pres">
      <dgm:prSet presAssocID="{70979466-CB84-4B2C-B9A9-0D0F1CC27CA5}" presName="composite" presStyleCnt="0"/>
      <dgm:spPr/>
    </dgm:pt>
    <dgm:pt modelId="{3FE7D078-1ECC-478E-9B75-199CCB5A3CC3}" type="pres">
      <dgm:prSet presAssocID="{70979466-CB84-4B2C-B9A9-0D0F1CC27CA5}" presName="imgShp" presStyleLbl="fgImgPlace1" presStyleIdx="3" presStyleCnt="5"/>
      <dgm:spPr/>
    </dgm:pt>
    <dgm:pt modelId="{45BD2ED2-3ABA-442C-8BCF-62DA392825E2}" type="pres">
      <dgm:prSet presAssocID="{70979466-CB84-4B2C-B9A9-0D0F1CC27CA5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3E16D7-C63C-49B4-BD5A-CEFE5476DC95}" type="pres">
      <dgm:prSet presAssocID="{47F296DB-4216-42E1-9842-6A52FB5A69F6}" presName="spacing" presStyleCnt="0"/>
      <dgm:spPr/>
    </dgm:pt>
    <dgm:pt modelId="{3FB3EB86-770D-442D-BB43-6ECFB38AFDCB}" type="pres">
      <dgm:prSet presAssocID="{D8F31977-806A-4A2E-8F14-63E70C828DC7}" presName="composite" presStyleCnt="0"/>
      <dgm:spPr/>
    </dgm:pt>
    <dgm:pt modelId="{C7BFCD2E-C99E-452A-AA1E-33F09191A72B}" type="pres">
      <dgm:prSet presAssocID="{D8F31977-806A-4A2E-8F14-63E70C828DC7}" presName="imgShp" presStyleLbl="fgImgPlace1" presStyleIdx="4" presStyleCnt="5"/>
      <dgm:spPr/>
    </dgm:pt>
    <dgm:pt modelId="{CFF1673E-7C4C-4804-BBD2-B32E9E623A02}" type="pres">
      <dgm:prSet presAssocID="{D8F31977-806A-4A2E-8F14-63E70C828DC7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5734511-0D26-4306-9185-48303D4672F3}" type="presOf" srcId="{23B827ED-D8E7-46D4-B550-C67831B1B96C}" destId="{CD7EDDB9-2DDB-4190-8790-96719964B4C8}" srcOrd="0" destOrd="0" presId="urn:microsoft.com/office/officeart/2005/8/layout/vList3#1"/>
    <dgm:cxn modelId="{1DD8A0B0-164D-46DF-BC7B-3B4A0BD62031}" srcId="{65D30656-08ED-44E8-B06E-466757188C7B}" destId="{87678A12-76E0-462B-8FCD-2EEB1C19D6BB}" srcOrd="2" destOrd="0" parTransId="{5ADC3565-C63E-41D6-83AE-4D96571F57C3}" sibTransId="{470F37FF-6F78-41F4-9EC2-87A3030F9CDD}"/>
    <dgm:cxn modelId="{7614CB81-32EE-42B5-BEE0-3D12DBE9BCA6}" type="presOf" srcId="{CF1A7424-0030-4938-80D8-F7C1BBD27B7A}" destId="{6D974EBB-AB8B-4A4B-AA48-865C42EA856D}" srcOrd="0" destOrd="0" presId="urn:microsoft.com/office/officeart/2005/8/layout/vList3#1"/>
    <dgm:cxn modelId="{A58E6D06-7EDC-4FEA-BAF5-6ED16C0506B8}" type="presOf" srcId="{70979466-CB84-4B2C-B9A9-0D0F1CC27CA5}" destId="{45BD2ED2-3ABA-442C-8BCF-62DA392825E2}" srcOrd="0" destOrd="0" presId="urn:microsoft.com/office/officeart/2005/8/layout/vList3#1"/>
    <dgm:cxn modelId="{94F789EF-7253-47F1-8B22-73741A09CB52}" type="presOf" srcId="{87678A12-76E0-462B-8FCD-2EEB1C19D6BB}" destId="{39EE0312-7E1A-4D1E-9CDE-8A952B3F3923}" srcOrd="0" destOrd="0" presId="urn:microsoft.com/office/officeart/2005/8/layout/vList3#1"/>
    <dgm:cxn modelId="{C3F8885F-FA5F-431C-88F9-7FCB2C8E267D}" srcId="{65D30656-08ED-44E8-B06E-466757188C7B}" destId="{70979466-CB84-4B2C-B9A9-0D0F1CC27CA5}" srcOrd="3" destOrd="0" parTransId="{62AF7663-FA1B-4C26-85BD-98D977447964}" sibTransId="{47F296DB-4216-42E1-9842-6A52FB5A69F6}"/>
    <dgm:cxn modelId="{0EA08570-869F-470C-A45B-876094903396}" srcId="{65D30656-08ED-44E8-B06E-466757188C7B}" destId="{D8F31977-806A-4A2E-8F14-63E70C828DC7}" srcOrd="4" destOrd="0" parTransId="{AFB92AE8-9CA0-40AA-B81B-3409420CA657}" sibTransId="{C9CAB6B6-5D56-40D6-A504-06358E64D415}"/>
    <dgm:cxn modelId="{5F467943-3C7C-40B5-A0D6-8D01DF3A49E5}" srcId="{65D30656-08ED-44E8-B06E-466757188C7B}" destId="{CF1A7424-0030-4938-80D8-F7C1BBD27B7A}" srcOrd="1" destOrd="0" parTransId="{B96D1EFE-EB8E-4551-97BE-C2FC180FB685}" sibTransId="{B7F56899-E01F-457B-8021-0FE7D457935B}"/>
    <dgm:cxn modelId="{C5CBA60C-FA55-4F9E-86D4-C228C5396D25}" type="presOf" srcId="{D8F31977-806A-4A2E-8F14-63E70C828DC7}" destId="{CFF1673E-7C4C-4804-BBD2-B32E9E623A02}" srcOrd="0" destOrd="0" presId="urn:microsoft.com/office/officeart/2005/8/layout/vList3#1"/>
    <dgm:cxn modelId="{E5E170CD-B6C9-404D-AF26-A7DB0C28D677}" srcId="{65D30656-08ED-44E8-B06E-466757188C7B}" destId="{23B827ED-D8E7-46D4-B550-C67831B1B96C}" srcOrd="0" destOrd="0" parTransId="{3D2390B9-49D1-4E9A-AE85-88ABD6DF37E5}" sibTransId="{FB3F0FF2-9D8F-4461-BD20-6E2484BAAF54}"/>
    <dgm:cxn modelId="{D6A9B8EE-A4D3-4546-AA0E-EF921D5C0628}" type="presOf" srcId="{65D30656-08ED-44E8-B06E-466757188C7B}" destId="{A628F2F4-6C7F-4179-94EE-116088929FEB}" srcOrd="0" destOrd="0" presId="urn:microsoft.com/office/officeart/2005/8/layout/vList3#1"/>
    <dgm:cxn modelId="{F8F6E367-4827-42F2-9C38-73A94D9B6EE0}" type="presParOf" srcId="{A628F2F4-6C7F-4179-94EE-116088929FEB}" destId="{857F20DB-3D75-4934-935F-0D48A4082E49}" srcOrd="0" destOrd="0" presId="urn:microsoft.com/office/officeart/2005/8/layout/vList3#1"/>
    <dgm:cxn modelId="{CD5C9220-525C-4042-A653-14381E204D09}" type="presParOf" srcId="{857F20DB-3D75-4934-935F-0D48A4082E49}" destId="{1C6F903E-1C4D-4438-9C17-57BC450F4094}" srcOrd="0" destOrd="0" presId="urn:microsoft.com/office/officeart/2005/8/layout/vList3#1"/>
    <dgm:cxn modelId="{96DD30AE-98AD-4B77-860C-AF3DB062E624}" type="presParOf" srcId="{857F20DB-3D75-4934-935F-0D48A4082E49}" destId="{CD7EDDB9-2DDB-4190-8790-96719964B4C8}" srcOrd="1" destOrd="0" presId="urn:microsoft.com/office/officeart/2005/8/layout/vList3#1"/>
    <dgm:cxn modelId="{D6E55F97-FA70-4E96-9688-642E1AC58B88}" type="presParOf" srcId="{A628F2F4-6C7F-4179-94EE-116088929FEB}" destId="{CB1BA0DE-E247-4CFB-9593-92C1175D617B}" srcOrd="1" destOrd="0" presId="urn:microsoft.com/office/officeart/2005/8/layout/vList3#1"/>
    <dgm:cxn modelId="{D36427BB-AF60-41BB-94D0-0DE1264E12EB}" type="presParOf" srcId="{A628F2F4-6C7F-4179-94EE-116088929FEB}" destId="{3826A943-63DF-482D-8637-B9EF2F988631}" srcOrd="2" destOrd="0" presId="urn:microsoft.com/office/officeart/2005/8/layout/vList3#1"/>
    <dgm:cxn modelId="{0B7DB54F-2B20-4786-B7A6-65A73348F79C}" type="presParOf" srcId="{3826A943-63DF-482D-8637-B9EF2F988631}" destId="{F568AAFB-9139-43D7-8D4A-A3A59ACE256B}" srcOrd="0" destOrd="0" presId="urn:microsoft.com/office/officeart/2005/8/layout/vList3#1"/>
    <dgm:cxn modelId="{0396A69B-4F67-4B9F-ACCB-0C1B94B34D7D}" type="presParOf" srcId="{3826A943-63DF-482D-8637-B9EF2F988631}" destId="{6D974EBB-AB8B-4A4B-AA48-865C42EA856D}" srcOrd="1" destOrd="0" presId="urn:microsoft.com/office/officeart/2005/8/layout/vList3#1"/>
    <dgm:cxn modelId="{F57FAE43-2BD5-4EA8-85D9-5E33DA2C93DC}" type="presParOf" srcId="{A628F2F4-6C7F-4179-94EE-116088929FEB}" destId="{1111FDC5-41CC-4B17-918F-A1A185F4B75C}" srcOrd="3" destOrd="0" presId="urn:microsoft.com/office/officeart/2005/8/layout/vList3#1"/>
    <dgm:cxn modelId="{53CCF699-818A-498E-BC9D-DC4EC7C95775}" type="presParOf" srcId="{A628F2F4-6C7F-4179-94EE-116088929FEB}" destId="{2A88C3D8-4C40-4BB9-B070-185200F18AB8}" srcOrd="4" destOrd="0" presId="urn:microsoft.com/office/officeart/2005/8/layout/vList3#1"/>
    <dgm:cxn modelId="{592E9712-5356-4847-80CD-4DB5A6552662}" type="presParOf" srcId="{2A88C3D8-4C40-4BB9-B070-185200F18AB8}" destId="{26CF8ACD-3912-471D-B961-0AA209500504}" srcOrd="0" destOrd="0" presId="urn:microsoft.com/office/officeart/2005/8/layout/vList3#1"/>
    <dgm:cxn modelId="{ACE21CDE-6696-44BF-8CFB-B27246017654}" type="presParOf" srcId="{2A88C3D8-4C40-4BB9-B070-185200F18AB8}" destId="{39EE0312-7E1A-4D1E-9CDE-8A952B3F3923}" srcOrd="1" destOrd="0" presId="urn:microsoft.com/office/officeart/2005/8/layout/vList3#1"/>
    <dgm:cxn modelId="{08B90E58-F31E-4CA3-A9B1-51B020F01855}" type="presParOf" srcId="{A628F2F4-6C7F-4179-94EE-116088929FEB}" destId="{1F65D6C2-8E8A-4FA2-8266-6F9A08F195CB}" srcOrd="5" destOrd="0" presId="urn:microsoft.com/office/officeart/2005/8/layout/vList3#1"/>
    <dgm:cxn modelId="{24538FE6-6DB1-453C-9AFB-A3D859FC2161}" type="presParOf" srcId="{A628F2F4-6C7F-4179-94EE-116088929FEB}" destId="{6925140A-7FD3-46B5-B625-895E9A666AD0}" srcOrd="6" destOrd="0" presId="urn:microsoft.com/office/officeart/2005/8/layout/vList3#1"/>
    <dgm:cxn modelId="{560497E1-E534-4C62-B9E3-E772B0AC813E}" type="presParOf" srcId="{6925140A-7FD3-46B5-B625-895E9A666AD0}" destId="{3FE7D078-1ECC-478E-9B75-199CCB5A3CC3}" srcOrd="0" destOrd="0" presId="urn:microsoft.com/office/officeart/2005/8/layout/vList3#1"/>
    <dgm:cxn modelId="{C243FF2B-5EAD-4AB1-955A-1D2716C9D20C}" type="presParOf" srcId="{6925140A-7FD3-46B5-B625-895E9A666AD0}" destId="{45BD2ED2-3ABA-442C-8BCF-62DA392825E2}" srcOrd="1" destOrd="0" presId="urn:microsoft.com/office/officeart/2005/8/layout/vList3#1"/>
    <dgm:cxn modelId="{01EB1860-6D79-434B-AC30-CFF84F6E1EA8}" type="presParOf" srcId="{A628F2F4-6C7F-4179-94EE-116088929FEB}" destId="{E13E16D7-C63C-49B4-BD5A-CEFE5476DC95}" srcOrd="7" destOrd="0" presId="urn:microsoft.com/office/officeart/2005/8/layout/vList3#1"/>
    <dgm:cxn modelId="{D548C518-E6F5-43E3-A307-F486E8973254}" type="presParOf" srcId="{A628F2F4-6C7F-4179-94EE-116088929FEB}" destId="{3FB3EB86-770D-442D-BB43-6ECFB38AFDCB}" srcOrd="8" destOrd="0" presId="urn:microsoft.com/office/officeart/2005/8/layout/vList3#1"/>
    <dgm:cxn modelId="{0215E14B-5B3C-47BE-88BF-A7BD43C2ABF1}" type="presParOf" srcId="{3FB3EB86-770D-442D-BB43-6ECFB38AFDCB}" destId="{C7BFCD2E-C99E-452A-AA1E-33F09191A72B}" srcOrd="0" destOrd="0" presId="urn:microsoft.com/office/officeart/2005/8/layout/vList3#1"/>
    <dgm:cxn modelId="{D97A49DD-5E8D-4E11-97C5-364BFA288234}" type="presParOf" srcId="{3FB3EB86-770D-442D-BB43-6ECFB38AFDCB}" destId="{CFF1673E-7C4C-4804-BBD2-B32E9E623A02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F2FAE4-890E-450F-A8D7-BE261E7C40EA}" type="doc">
      <dgm:prSet loTypeId="urn:microsoft.com/office/officeart/2005/8/layout/equation1" loCatId="process" qsTypeId="urn:microsoft.com/office/officeart/2005/8/quickstyle/3d3" qsCatId="3D" csTypeId="urn:microsoft.com/office/officeart/2005/8/colors/accent0_1" csCatId="mainScheme" phldr="1"/>
      <dgm:spPr/>
    </dgm:pt>
    <dgm:pt modelId="{B9317508-D800-4C19-89E2-220C47B61BFA}">
      <dgm:prSet phldrT="[Texto]" custT="1"/>
      <dgm:spPr/>
      <dgm:t>
        <a:bodyPr/>
        <a:lstStyle/>
        <a:p>
          <a:r>
            <a:rPr lang="pt-BR" sz="1400" b="1" dirty="0" smtClean="0">
              <a:solidFill>
                <a:schemeClr val="tx1"/>
              </a:solidFill>
            </a:rPr>
            <a:t>Consumo Ilimitado</a:t>
          </a:r>
          <a:endParaRPr lang="pt-BR" sz="1400" b="1" dirty="0">
            <a:solidFill>
              <a:schemeClr val="tx1"/>
            </a:solidFill>
          </a:endParaRPr>
        </a:p>
      </dgm:t>
    </dgm:pt>
    <dgm:pt modelId="{CAE08C8F-6493-4B73-954B-316524945724}" type="parTrans" cxnId="{AE701BC0-31E7-47CB-A628-409DEB7ACC34}">
      <dgm:prSet/>
      <dgm:spPr/>
      <dgm:t>
        <a:bodyPr/>
        <a:lstStyle/>
        <a:p>
          <a:endParaRPr lang="pt-BR"/>
        </a:p>
      </dgm:t>
    </dgm:pt>
    <dgm:pt modelId="{F37EEB1C-9746-4CE4-A488-2506E8FC8648}" type="sibTrans" cxnId="{AE701BC0-31E7-47CB-A628-409DEB7ACC34}">
      <dgm:prSet/>
      <dgm:spPr/>
      <dgm:t>
        <a:bodyPr/>
        <a:lstStyle/>
        <a:p>
          <a:endParaRPr lang="pt-BR" dirty="0"/>
        </a:p>
      </dgm:t>
    </dgm:pt>
    <dgm:pt modelId="{CB5BB739-27D6-4AB2-937E-615D002FF881}">
      <dgm:prSet phldrT="[Texto]" custT="1"/>
      <dgm:spPr/>
      <dgm:t>
        <a:bodyPr/>
        <a:lstStyle/>
        <a:p>
          <a:r>
            <a:rPr lang="pt-BR" sz="1400" b="1" dirty="0" smtClean="0"/>
            <a:t>Recursos limitados</a:t>
          </a:r>
          <a:endParaRPr lang="pt-BR" sz="1400" b="1" dirty="0" smtClean="0">
            <a:solidFill>
              <a:schemeClr val="tx1"/>
            </a:solidFill>
          </a:endParaRPr>
        </a:p>
      </dgm:t>
    </dgm:pt>
    <dgm:pt modelId="{35B4077E-4B94-4C5C-B927-1AEB0C93E82A}" type="parTrans" cxnId="{C9D82ACD-68E8-4723-92ED-9EB08FBD2BE9}">
      <dgm:prSet/>
      <dgm:spPr/>
      <dgm:t>
        <a:bodyPr/>
        <a:lstStyle/>
        <a:p>
          <a:endParaRPr lang="pt-BR"/>
        </a:p>
      </dgm:t>
    </dgm:pt>
    <dgm:pt modelId="{23D852B4-0A08-44CA-842F-AA2A53F9C8E3}" type="sibTrans" cxnId="{C9D82ACD-68E8-4723-92ED-9EB08FBD2BE9}">
      <dgm:prSet/>
      <dgm:spPr/>
      <dgm:t>
        <a:bodyPr/>
        <a:lstStyle/>
        <a:p>
          <a:endParaRPr lang="pt-BR" dirty="0"/>
        </a:p>
      </dgm:t>
    </dgm:pt>
    <dgm:pt modelId="{286A8047-9479-4306-BE8A-B9A980B84619}">
      <dgm:prSet phldrT="[Texto]" custT="1"/>
      <dgm:spPr/>
      <dgm:t>
        <a:bodyPr/>
        <a:lstStyle/>
        <a:p>
          <a:r>
            <a:rPr lang="pt-BR" sz="1400" b="1" dirty="0" smtClean="0">
              <a:solidFill>
                <a:schemeClr val="tx1"/>
              </a:solidFill>
            </a:rPr>
            <a:t>Sistema em Crise</a:t>
          </a:r>
          <a:endParaRPr lang="pt-BR" sz="1400" b="1" dirty="0">
            <a:solidFill>
              <a:schemeClr val="tx1"/>
            </a:solidFill>
          </a:endParaRPr>
        </a:p>
      </dgm:t>
    </dgm:pt>
    <dgm:pt modelId="{18B17F69-C524-4568-AA23-DE81AB36E295}" type="parTrans" cxnId="{96BAA2FC-F031-4E02-9E72-E7B5EAAC9524}">
      <dgm:prSet/>
      <dgm:spPr/>
      <dgm:t>
        <a:bodyPr/>
        <a:lstStyle/>
        <a:p>
          <a:endParaRPr lang="pt-BR"/>
        </a:p>
      </dgm:t>
    </dgm:pt>
    <dgm:pt modelId="{CB55AE72-9653-4AF1-AC4C-778A6BCBAB40}" type="sibTrans" cxnId="{96BAA2FC-F031-4E02-9E72-E7B5EAAC9524}">
      <dgm:prSet/>
      <dgm:spPr/>
      <dgm:t>
        <a:bodyPr/>
        <a:lstStyle/>
        <a:p>
          <a:endParaRPr lang="pt-BR"/>
        </a:p>
      </dgm:t>
    </dgm:pt>
    <dgm:pt modelId="{3EF4B1A6-9AE6-4605-80D7-A97EB833B136}" type="pres">
      <dgm:prSet presAssocID="{34F2FAE4-890E-450F-A8D7-BE261E7C40EA}" presName="linearFlow" presStyleCnt="0">
        <dgm:presLayoutVars>
          <dgm:dir/>
          <dgm:resizeHandles val="exact"/>
        </dgm:presLayoutVars>
      </dgm:prSet>
      <dgm:spPr/>
    </dgm:pt>
    <dgm:pt modelId="{063B0FB3-211B-4EE2-B8AC-0CFE779ED3B8}" type="pres">
      <dgm:prSet presAssocID="{B9317508-D800-4C19-89E2-220C47B61BFA}" presName="node" presStyleLbl="node1" presStyleIdx="0" presStyleCnt="3" custScaleX="18844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80C2E06-F5E1-4BBF-85F8-66F5E199B1E1}" type="pres">
      <dgm:prSet presAssocID="{F37EEB1C-9746-4CE4-A488-2506E8FC8648}" presName="spacerL" presStyleCnt="0"/>
      <dgm:spPr/>
    </dgm:pt>
    <dgm:pt modelId="{4099E915-0855-470E-8E0E-570E80A85028}" type="pres">
      <dgm:prSet presAssocID="{F37EEB1C-9746-4CE4-A488-2506E8FC8648}" presName="sibTrans" presStyleLbl="sibTrans2D1" presStyleIdx="0" presStyleCnt="2"/>
      <dgm:spPr/>
      <dgm:t>
        <a:bodyPr/>
        <a:lstStyle/>
        <a:p>
          <a:endParaRPr lang="pt-BR"/>
        </a:p>
      </dgm:t>
    </dgm:pt>
    <dgm:pt modelId="{3387CBB9-EA2C-4DA9-A5EA-28732F83A79C}" type="pres">
      <dgm:prSet presAssocID="{F37EEB1C-9746-4CE4-A488-2506E8FC8648}" presName="spacerR" presStyleCnt="0"/>
      <dgm:spPr/>
    </dgm:pt>
    <dgm:pt modelId="{C9481ECF-550B-4574-B67D-AC04B45B7CBD}" type="pres">
      <dgm:prSet presAssocID="{CB5BB739-27D6-4AB2-937E-615D002FF881}" presName="node" presStyleLbl="node1" presStyleIdx="1" presStyleCnt="3" custScaleX="134591" custLinFactNeighborY="215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5BCF714-8C44-446D-92AA-5F6A0362A366}" type="pres">
      <dgm:prSet presAssocID="{23D852B4-0A08-44CA-842F-AA2A53F9C8E3}" presName="spacerL" presStyleCnt="0"/>
      <dgm:spPr/>
    </dgm:pt>
    <dgm:pt modelId="{CECA536D-5DCC-4F5D-9AEA-AA5E9ED89286}" type="pres">
      <dgm:prSet presAssocID="{23D852B4-0A08-44CA-842F-AA2A53F9C8E3}" presName="sibTrans" presStyleLbl="sibTrans2D1" presStyleIdx="1" presStyleCnt="2"/>
      <dgm:spPr/>
      <dgm:t>
        <a:bodyPr/>
        <a:lstStyle/>
        <a:p>
          <a:endParaRPr lang="pt-BR"/>
        </a:p>
      </dgm:t>
    </dgm:pt>
    <dgm:pt modelId="{02EF20AF-7295-45B1-97EA-E9B708D06815}" type="pres">
      <dgm:prSet presAssocID="{23D852B4-0A08-44CA-842F-AA2A53F9C8E3}" presName="spacerR" presStyleCnt="0"/>
      <dgm:spPr/>
    </dgm:pt>
    <dgm:pt modelId="{1A6C8C66-AEDA-44F0-8A71-1188B609B421}" type="pres">
      <dgm:prSet presAssocID="{286A8047-9479-4306-BE8A-B9A980B84619}" presName="node" presStyleLbl="node1" presStyleIdx="2" presStyleCnt="3" custScaleX="13801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E701BC0-31E7-47CB-A628-409DEB7ACC34}" srcId="{34F2FAE4-890E-450F-A8D7-BE261E7C40EA}" destId="{B9317508-D800-4C19-89E2-220C47B61BFA}" srcOrd="0" destOrd="0" parTransId="{CAE08C8F-6493-4B73-954B-316524945724}" sibTransId="{F37EEB1C-9746-4CE4-A488-2506E8FC8648}"/>
    <dgm:cxn modelId="{87678C39-4401-4C88-A567-81AE6423B0B8}" type="presOf" srcId="{CB5BB739-27D6-4AB2-937E-615D002FF881}" destId="{C9481ECF-550B-4574-B67D-AC04B45B7CBD}" srcOrd="0" destOrd="0" presId="urn:microsoft.com/office/officeart/2005/8/layout/equation1"/>
    <dgm:cxn modelId="{0C4FDABB-D979-49C6-8F1A-B473D88372DA}" type="presOf" srcId="{34F2FAE4-890E-450F-A8D7-BE261E7C40EA}" destId="{3EF4B1A6-9AE6-4605-80D7-A97EB833B136}" srcOrd="0" destOrd="0" presId="urn:microsoft.com/office/officeart/2005/8/layout/equation1"/>
    <dgm:cxn modelId="{D8BE7BF1-42D1-400E-A74D-9093C20B1C9B}" type="presOf" srcId="{286A8047-9479-4306-BE8A-B9A980B84619}" destId="{1A6C8C66-AEDA-44F0-8A71-1188B609B421}" srcOrd="0" destOrd="0" presId="urn:microsoft.com/office/officeart/2005/8/layout/equation1"/>
    <dgm:cxn modelId="{6399072A-AC20-405A-9703-C8ACF8894056}" type="presOf" srcId="{F37EEB1C-9746-4CE4-A488-2506E8FC8648}" destId="{4099E915-0855-470E-8E0E-570E80A85028}" srcOrd="0" destOrd="0" presId="urn:microsoft.com/office/officeart/2005/8/layout/equation1"/>
    <dgm:cxn modelId="{79891A95-3611-4657-9029-7329C94B5758}" type="presOf" srcId="{B9317508-D800-4C19-89E2-220C47B61BFA}" destId="{063B0FB3-211B-4EE2-B8AC-0CFE779ED3B8}" srcOrd="0" destOrd="0" presId="urn:microsoft.com/office/officeart/2005/8/layout/equation1"/>
    <dgm:cxn modelId="{C9D82ACD-68E8-4723-92ED-9EB08FBD2BE9}" srcId="{34F2FAE4-890E-450F-A8D7-BE261E7C40EA}" destId="{CB5BB739-27D6-4AB2-937E-615D002FF881}" srcOrd="1" destOrd="0" parTransId="{35B4077E-4B94-4C5C-B927-1AEB0C93E82A}" sibTransId="{23D852B4-0A08-44CA-842F-AA2A53F9C8E3}"/>
    <dgm:cxn modelId="{5E89CED7-D09B-4B62-BA04-F33433711DEB}" type="presOf" srcId="{23D852B4-0A08-44CA-842F-AA2A53F9C8E3}" destId="{CECA536D-5DCC-4F5D-9AEA-AA5E9ED89286}" srcOrd="0" destOrd="0" presId="urn:microsoft.com/office/officeart/2005/8/layout/equation1"/>
    <dgm:cxn modelId="{96BAA2FC-F031-4E02-9E72-E7B5EAAC9524}" srcId="{34F2FAE4-890E-450F-A8D7-BE261E7C40EA}" destId="{286A8047-9479-4306-BE8A-B9A980B84619}" srcOrd="2" destOrd="0" parTransId="{18B17F69-C524-4568-AA23-DE81AB36E295}" sibTransId="{CB55AE72-9653-4AF1-AC4C-778A6BCBAB40}"/>
    <dgm:cxn modelId="{1A9F22DC-35A1-49DE-B052-EE807A55FA47}" type="presParOf" srcId="{3EF4B1A6-9AE6-4605-80D7-A97EB833B136}" destId="{063B0FB3-211B-4EE2-B8AC-0CFE779ED3B8}" srcOrd="0" destOrd="0" presId="urn:microsoft.com/office/officeart/2005/8/layout/equation1"/>
    <dgm:cxn modelId="{0766394A-9571-4103-822A-49FF6DBE4330}" type="presParOf" srcId="{3EF4B1A6-9AE6-4605-80D7-A97EB833B136}" destId="{F80C2E06-F5E1-4BBF-85F8-66F5E199B1E1}" srcOrd="1" destOrd="0" presId="urn:microsoft.com/office/officeart/2005/8/layout/equation1"/>
    <dgm:cxn modelId="{873B1E4B-8AF6-4D67-A7DC-A7A4ED51565F}" type="presParOf" srcId="{3EF4B1A6-9AE6-4605-80D7-A97EB833B136}" destId="{4099E915-0855-470E-8E0E-570E80A85028}" srcOrd="2" destOrd="0" presId="urn:microsoft.com/office/officeart/2005/8/layout/equation1"/>
    <dgm:cxn modelId="{6DE26CC6-5158-4FA8-9850-E693395E6F28}" type="presParOf" srcId="{3EF4B1A6-9AE6-4605-80D7-A97EB833B136}" destId="{3387CBB9-EA2C-4DA9-A5EA-28732F83A79C}" srcOrd="3" destOrd="0" presId="urn:microsoft.com/office/officeart/2005/8/layout/equation1"/>
    <dgm:cxn modelId="{194370DB-207D-41C1-AF7B-57EC0FE81D92}" type="presParOf" srcId="{3EF4B1A6-9AE6-4605-80D7-A97EB833B136}" destId="{C9481ECF-550B-4574-B67D-AC04B45B7CBD}" srcOrd="4" destOrd="0" presId="urn:microsoft.com/office/officeart/2005/8/layout/equation1"/>
    <dgm:cxn modelId="{48B6CB99-485A-49BA-970E-C8A247201729}" type="presParOf" srcId="{3EF4B1A6-9AE6-4605-80D7-A97EB833B136}" destId="{F5BCF714-8C44-446D-92AA-5F6A0362A366}" srcOrd="5" destOrd="0" presId="urn:microsoft.com/office/officeart/2005/8/layout/equation1"/>
    <dgm:cxn modelId="{F9395DC0-6051-4F6A-88F4-7BB6BB5C268C}" type="presParOf" srcId="{3EF4B1A6-9AE6-4605-80D7-A97EB833B136}" destId="{CECA536D-5DCC-4F5D-9AEA-AA5E9ED89286}" srcOrd="6" destOrd="0" presId="urn:microsoft.com/office/officeart/2005/8/layout/equation1"/>
    <dgm:cxn modelId="{77A8572E-03B9-4631-BE5E-2094893B19F5}" type="presParOf" srcId="{3EF4B1A6-9AE6-4605-80D7-A97EB833B136}" destId="{02EF20AF-7295-45B1-97EA-E9B708D06815}" srcOrd="7" destOrd="0" presId="urn:microsoft.com/office/officeart/2005/8/layout/equation1"/>
    <dgm:cxn modelId="{6D5CF093-4A51-4AF9-B68F-316998F442F4}" type="presParOf" srcId="{3EF4B1A6-9AE6-4605-80D7-A97EB833B136}" destId="{1A6C8C66-AEDA-44F0-8A71-1188B609B421}" srcOrd="8" destOrd="0" presId="urn:microsoft.com/office/officeart/2005/8/layout/equation1"/>
  </dgm:cxnLst>
  <dgm:bg>
    <a:solidFill>
      <a:srgbClr val="FFC000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79ECE08-3F4A-45CA-845F-29BAE489E1CF}" type="doc">
      <dgm:prSet loTypeId="urn:microsoft.com/office/officeart/2005/8/layout/vList5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pt-BR"/>
        </a:p>
      </dgm:t>
    </dgm:pt>
    <dgm:pt modelId="{5926415E-BD83-4822-8706-6DC677D52F27}">
      <dgm:prSet phldrT="[Texto]" custT="1"/>
      <dgm:spPr>
        <a:solidFill>
          <a:srgbClr val="FFC000"/>
        </a:solidFill>
      </dgm:spPr>
      <dgm:t>
        <a:bodyPr/>
        <a:lstStyle/>
        <a:p>
          <a:r>
            <a:rPr lang="pt-BR" sz="1200" b="1" dirty="0" smtClean="0">
              <a:solidFill>
                <a:schemeClr val="tx1"/>
              </a:solidFill>
            </a:rPr>
            <a:t>Extração</a:t>
          </a:r>
          <a:endParaRPr lang="pt-BR" sz="1200" b="1" dirty="0">
            <a:solidFill>
              <a:schemeClr val="tx1"/>
            </a:solidFill>
          </a:endParaRPr>
        </a:p>
      </dgm:t>
    </dgm:pt>
    <dgm:pt modelId="{E8D92FCE-32BC-4B61-9CF5-0A9CB1BAC355}" type="parTrans" cxnId="{F2359E15-189B-402D-B099-EC42AC6FA23D}">
      <dgm:prSet/>
      <dgm:spPr/>
      <dgm:t>
        <a:bodyPr/>
        <a:lstStyle/>
        <a:p>
          <a:endParaRPr lang="pt-BR"/>
        </a:p>
      </dgm:t>
    </dgm:pt>
    <dgm:pt modelId="{3F0ED907-A00F-476A-85F2-F287F0C532DD}" type="sibTrans" cxnId="{F2359E15-189B-402D-B099-EC42AC6FA23D}">
      <dgm:prSet/>
      <dgm:spPr/>
      <dgm:t>
        <a:bodyPr/>
        <a:lstStyle/>
        <a:p>
          <a:endParaRPr lang="pt-BR"/>
        </a:p>
      </dgm:t>
    </dgm:pt>
    <dgm:pt modelId="{8667F37F-EA64-419E-ABA0-7B7EBE23AF57}">
      <dgm:prSet phldrT="[Texto]" custT="1"/>
      <dgm:spPr/>
      <dgm:t>
        <a:bodyPr/>
        <a:lstStyle/>
        <a:p>
          <a:r>
            <a:rPr lang="pt-BR" sz="1200" dirty="0" smtClean="0"/>
            <a:t>Depleção de recursos</a:t>
          </a:r>
          <a:endParaRPr lang="pt-BR" sz="1200" dirty="0"/>
        </a:p>
      </dgm:t>
    </dgm:pt>
    <dgm:pt modelId="{A8B131A9-1210-4D96-8647-AACE5A4114AE}" type="parTrans" cxnId="{D28C5888-C4D4-480D-8A90-9D187C819987}">
      <dgm:prSet/>
      <dgm:spPr/>
      <dgm:t>
        <a:bodyPr/>
        <a:lstStyle/>
        <a:p>
          <a:endParaRPr lang="pt-BR"/>
        </a:p>
      </dgm:t>
    </dgm:pt>
    <dgm:pt modelId="{8087A54F-FBF4-4DB1-B509-0368E0A0AF2B}" type="sibTrans" cxnId="{D28C5888-C4D4-480D-8A90-9D187C819987}">
      <dgm:prSet/>
      <dgm:spPr/>
      <dgm:t>
        <a:bodyPr/>
        <a:lstStyle/>
        <a:p>
          <a:endParaRPr lang="pt-BR"/>
        </a:p>
      </dgm:t>
    </dgm:pt>
    <dgm:pt modelId="{58546B9C-8818-488F-BA30-503D3FD654E6}">
      <dgm:prSet phldrT="[Texto]" custT="1"/>
      <dgm:spPr>
        <a:solidFill>
          <a:srgbClr val="FFC000"/>
        </a:solidFill>
      </dgm:spPr>
      <dgm:t>
        <a:bodyPr/>
        <a:lstStyle/>
        <a:p>
          <a:r>
            <a:rPr lang="pt-BR" sz="1200" b="1" dirty="0" smtClean="0">
              <a:solidFill>
                <a:schemeClr val="tx1"/>
              </a:solidFill>
            </a:rPr>
            <a:t>Produção</a:t>
          </a:r>
          <a:endParaRPr lang="pt-BR" sz="1200" b="1" dirty="0">
            <a:solidFill>
              <a:schemeClr val="tx1"/>
            </a:solidFill>
          </a:endParaRPr>
        </a:p>
      </dgm:t>
    </dgm:pt>
    <dgm:pt modelId="{B179B8FC-3620-422D-9800-3FBB77F72C70}" type="parTrans" cxnId="{5A386BBD-6022-4CF1-A6C8-DECDFA073C3F}">
      <dgm:prSet/>
      <dgm:spPr/>
      <dgm:t>
        <a:bodyPr/>
        <a:lstStyle/>
        <a:p>
          <a:endParaRPr lang="pt-BR"/>
        </a:p>
      </dgm:t>
    </dgm:pt>
    <dgm:pt modelId="{BB6E8466-378E-40D8-A4BE-08E9F9239DF8}" type="sibTrans" cxnId="{5A386BBD-6022-4CF1-A6C8-DECDFA073C3F}">
      <dgm:prSet/>
      <dgm:spPr/>
      <dgm:t>
        <a:bodyPr/>
        <a:lstStyle/>
        <a:p>
          <a:endParaRPr lang="pt-BR"/>
        </a:p>
      </dgm:t>
    </dgm:pt>
    <dgm:pt modelId="{26408EBE-2AE0-4C9B-A431-A0704BF87DBE}">
      <dgm:prSet phldrT="[Texto]" custT="1"/>
      <dgm:spPr/>
      <dgm:t>
        <a:bodyPr/>
        <a:lstStyle/>
        <a:p>
          <a:r>
            <a:rPr lang="pt-BR" sz="1200" i="1" dirty="0" smtClean="0"/>
            <a:t>Uso de substancias perigosas</a:t>
          </a:r>
          <a:endParaRPr lang="pt-BR" sz="1200" i="1" dirty="0"/>
        </a:p>
      </dgm:t>
    </dgm:pt>
    <dgm:pt modelId="{123558B3-4F7E-461C-9E91-5DCC6FEC402C}" type="parTrans" cxnId="{5E2BCB3C-2326-4A2D-BB5A-57B07FF2CB72}">
      <dgm:prSet/>
      <dgm:spPr/>
      <dgm:t>
        <a:bodyPr/>
        <a:lstStyle/>
        <a:p>
          <a:endParaRPr lang="pt-BR"/>
        </a:p>
      </dgm:t>
    </dgm:pt>
    <dgm:pt modelId="{86D34AD6-0236-4151-92F4-008C7EABE4C3}" type="sibTrans" cxnId="{5E2BCB3C-2326-4A2D-BB5A-57B07FF2CB72}">
      <dgm:prSet/>
      <dgm:spPr/>
      <dgm:t>
        <a:bodyPr/>
        <a:lstStyle/>
        <a:p>
          <a:endParaRPr lang="pt-BR"/>
        </a:p>
      </dgm:t>
    </dgm:pt>
    <dgm:pt modelId="{4079B536-A378-4166-90AF-733ED840A770}">
      <dgm:prSet phldrT="[Texto]" custT="1"/>
      <dgm:spPr>
        <a:solidFill>
          <a:srgbClr val="FFC000"/>
        </a:solidFill>
      </dgm:spPr>
      <dgm:t>
        <a:bodyPr/>
        <a:lstStyle/>
        <a:p>
          <a:r>
            <a:rPr lang="pt-BR" sz="1300" b="1" dirty="0" smtClean="0">
              <a:solidFill>
                <a:schemeClr val="tx1"/>
              </a:solidFill>
            </a:rPr>
            <a:t>Distribuição</a:t>
          </a:r>
          <a:endParaRPr lang="pt-BR" sz="1300" b="1" dirty="0">
            <a:solidFill>
              <a:schemeClr val="tx1"/>
            </a:solidFill>
          </a:endParaRPr>
        </a:p>
      </dgm:t>
    </dgm:pt>
    <dgm:pt modelId="{2E03D285-8CD0-476A-944A-93A4A2499B69}" type="parTrans" cxnId="{81BC2735-C3CE-41B4-B9C8-C28A54C253AD}">
      <dgm:prSet/>
      <dgm:spPr/>
      <dgm:t>
        <a:bodyPr/>
        <a:lstStyle/>
        <a:p>
          <a:endParaRPr lang="pt-BR"/>
        </a:p>
      </dgm:t>
    </dgm:pt>
    <dgm:pt modelId="{07ABD41A-1225-4C3B-AD68-829D55316509}" type="sibTrans" cxnId="{81BC2735-C3CE-41B4-B9C8-C28A54C253AD}">
      <dgm:prSet/>
      <dgm:spPr/>
      <dgm:t>
        <a:bodyPr/>
        <a:lstStyle/>
        <a:p>
          <a:endParaRPr lang="pt-BR"/>
        </a:p>
      </dgm:t>
    </dgm:pt>
    <dgm:pt modelId="{0A9D2CDC-296B-44E3-A5D6-57C9C503197F}">
      <dgm:prSet phldrT="[Texto]" custT="1"/>
      <dgm:spPr>
        <a:solidFill>
          <a:srgbClr val="FFC000"/>
        </a:solidFill>
      </dgm:spPr>
      <dgm:t>
        <a:bodyPr/>
        <a:lstStyle/>
        <a:p>
          <a:r>
            <a:rPr lang="pt-BR" sz="1400" b="1" i="1" dirty="0" smtClean="0">
              <a:solidFill>
                <a:schemeClr val="tx1"/>
              </a:solidFill>
            </a:rPr>
            <a:t>Descarte</a:t>
          </a:r>
          <a:endParaRPr lang="pt-BR" sz="1400" b="1" i="1" dirty="0">
            <a:solidFill>
              <a:schemeClr val="tx1"/>
            </a:solidFill>
          </a:endParaRPr>
        </a:p>
      </dgm:t>
    </dgm:pt>
    <dgm:pt modelId="{13A95BE2-5A75-4759-A2A9-4F28EF3F2EC1}" type="parTrans" cxnId="{A3B66580-3DB2-4855-A40C-F08694EF03BE}">
      <dgm:prSet/>
      <dgm:spPr/>
      <dgm:t>
        <a:bodyPr/>
        <a:lstStyle/>
        <a:p>
          <a:endParaRPr lang="pt-BR"/>
        </a:p>
      </dgm:t>
    </dgm:pt>
    <dgm:pt modelId="{674AB656-6405-4976-B3E6-819AC62A75C1}" type="sibTrans" cxnId="{A3B66580-3DB2-4855-A40C-F08694EF03BE}">
      <dgm:prSet/>
      <dgm:spPr/>
      <dgm:t>
        <a:bodyPr/>
        <a:lstStyle/>
        <a:p>
          <a:endParaRPr lang="pt-BR"/>
        </a:p>
      </dgm:t>
    </dgm:pt>
    <dgm:pt modelId="{790D4880-BDB3-4784-A6C7-AE29D7678394}">
      <dgm:prSet phldrT="[Texto]" custT="1"/>
      <dgm:spPr>
        <a:solidFill>
          <a:srgbClr val="FFC000"/>
        </a:solidFill>
      </dgm:spPr>
      <dgm:t>
        <a:bodyPr/>
        <a:lstStyle/>
        <a:p>
          <a:r>
            <a:rPr lang="pt-BR" sz="1400" b="1" dirty="0" smtClean="0">
              <a:solidFill>
                <a:schemeClr val="tx1"/>
              </a:solidFill>
            </a:rPr>
            <a:t>Uso</a:t>
          </a:r>
          <a:endParaRPr lang="pt-BR" sz="1400" b="1" dirty="0">
            <a:solidFill>
              <a:schemeClr val="tx1"/>
            </a:solidFill>
          </a:endParaRPr>
        </a:p>
      </dgm:t>
    </dgm:pt>
    <dgm:pt modelId="{DA2DC480-F0E2-42A1-B5F6-E499A1DA51BB}" type="parTrans" cxnId="{DE1188F3-DDAC-47D5-95B3-267886D6F696}">
      <dgm:prSet/>
      <dgm:spPr/>
      <dgm:t>
        <a:bodyPr/>
        <a:lstStyle/>
        <a:p>
          <a:endParaRPr lang="pt-BR"/>
        </a:p>
      </dgm:t>
    </dgm:pt>
    <dgm:pt modelId="{3FBB41C4-2F7D-43CF-B6CD-4F0054D038F1}" type="sibTrans" cxnId="{DE1188F3-DDAC-47D5-95B3-267886D6F696}">
      <dgm:prSet/>
      <dgm:spPr/>
      <dgm:t>
        <a:bodyPr/>
        <a:lstStyle/>
        <a:p>
          <a:endParaRPr lang="pt-BR"/>
        </a:p>
      </dgm:t>
    </dgm:pt>
    <dgm:pt modelId="{5A79451A-2EB0-48E2-B269-A84BCD4477D5}">
      <dgm:prSet phldrT="[Texto]" custT="1"/>
      <dgm:spPr/>
      <dgm:t>
        <a:bodyPr/>
        <a:lstStyle/>
        <a:p>
          <a:r>
            <a:rPr lang="pt-BR" sz="1200" i="1" dirty="0" smtClean="0"/>
            <a:t>Consumo de combustível</a:t>
          </a:r>
          <a:endParaRPr lang="pt-BR" sz="1200" i="1" dirty="0"/>
        </a:p>
      </dgm:t>
    </dgm:pt>
    <dgm:pt modelId="{33D9EEA4-D5D3-4061-AE24-57F9E0CF5E5F}" type="parTrans" cxnId="{7A1D0685-2C56-4E73-BD30-9D727A4EF484}">
      <dgm:prSet/>
      <dgm:spPr/>
      <dgm:t>
        <a:bodyPr/>
        <a:lstStyle/>
        <a:p>
          <a:endParaRPr lang="pt-BR"/>
        </a:p>
      </dgm:t>
    </dgm:pt>
    <dgm:pt modelId="{FCB072FF-0A2C-470C-8E1C-E4F0022BFA61}" type="sibTrans" cxnId="{7A1D0685-2C56-4E73-BD30-9D727A4EF484}">
      <dgm:prSet/>
      <dgm:spPr/>
      <dgm:t>
        <a:bodyPr/>
        <a:lstStyle/>
        <a:p>
          <a:endParaRPr lang="pt-BR"/>
        </a:p>
      </dgm:t>
    </dgm:pt>
    <dgm:pt modelId="{38862D55-B9E1-4FB3-9D65-FAB9B38D4934}">
      <dgm:prSet phldrT="[Texto]" custT="1"/>
      <dgm:spPr/>
      <dgm:t>
        <a:bodyPr/>
        <a:lstStyle/>
        <a:p>
          <a:r>
            <a:rPr lang="en-US" sz="1200" b="0" i="1" dirty="0" err="1" smtClean="0"/>
            <a:t>Substâncias</a:t>
          </a:r>
          <a:r>
            <a:rPr lang="en-US" sz="1200" b="0" i="1" dirty="0" smtClean="0"/>
            <a:t> </a:t>
          </a:r>
          <a:r>
            <a:rPr lang="en-US" sz="1200" b="0" i="1" dirty="0" err="1" smtClean="0"/>
            <a:t>perigosas</a:t>
          </a:r>
          <a:r>
            <a:rPr lang="en-US" sz="1200" b="0" i="1" dirty="0" smtClean="0"/>
            <a:t> </a:t>
          </a:r>
          <a:r>
            <a:rPr lang="en-US" sz="1200" b="0" i="1" dirty="0" err="1" smtClean="0"/>
            <a:t>para</a:t>
          </a:r>
          <a:r>
            <a:rPr lang="en-US" sz="1200" b="0" i="1" dirty="0" smtClean="0"/>
            <a:t> </a:t>
          </a:r>
          <a:r>
            <a:rPr lang="en-US" sz="1200" b="0" i="1" dirty="0" err="1" smtClean="0"/>
            <a:t>saúde</a:t>
          </a:r>
          <a:r>
            <a:rPr lang="en-US" sz="1200" b="0" i="1" dirty="0" smtClean="0"/>
            <a:t> e </a:t>
          </a:r>
          <a:r>
            <a:rPr lang="en-US" sz="1200" b="0" i="1" dirty="0" err="1" smtClean="0"/>
            <a:t>meio</a:t>
          </a:r>
          <a:r>
            <a:rPr lang="en-US" sz="1200" b="0" i="1" dirty="0" smtClean="0"/>
            <a:t> </a:t>
          </a:r>
          <a:r>
            <a:rPr lang="en-US" sz="1200" b="0" i="1" dirty="0" err="1" smtClean="0"/>
            <a:t>ambiente</a:t>
          </a:r>
          <a:endParaRPr lang="pt-BR" sz="1200" b="0" i="1" dirty="0"/>
        </a:p>
      </dgm:t>
    </dgm:pt>
    <dgm:pt modelId="{F466DAE2-FB3F-4A11-84AC-3F0782F87C51}" type="parTrans" cxnId="{19E3F3A2-9CB7-471E-BE60-EC0A4D51EBA6}">
      <dgm:prSet/>
      <dgm:spPr/>
      <dgm:t>
        <a:bodyPr/>
        <a:lstStyle/>
        <a:p>
          <a:endParaRPr lang="pt-BR"/>
        </a:p>
      </dgm:t>
    </dgm:pt>
    <dgm:pt modelId="{564CC9C4-D18E-41AB-B7A1-EFB50D4F1FE2}" type="sibTrans" cxnId="{19E3F3A2-9CB7-471E-BE60-EC0A4D51EBA6}">
      <dgm:prSet/>
      <dgm:spPr/>
      <dgm:t>
        <a:bodyPr/>
        <a:lstStyle/>
        <a:p>
          <a:endParaRPr lang="pt-BR"/>
        </a:p>
      </dgm:t>
    </dgm:pt>
    <dgm:pt modelId="{D61858B6-6366-4F1D-BA78-1EBAD336347E}">
      <dgm:prSet phldrT="[Texto]" custT="1"/>
      <dgm:spPr/>
      <dgm:t>
        <a:bodyPr/>
        <a:lstStyle/>
        <a:p>
          <a:r>
            <a:rPr lang="pt-BR" sz="1200" b="0" i="1" dirty="0" smtClean="0"/>
            <a:t> Consumo de energia</a:t>
          </a:r>
          <a:endParaRPr lang="pt-BR" sz="1200" b="0" i="1" dirty="0"/>
        </a:p>
      </dgm:t>
    </dgm:pt>
    <dgm:pt modelId="{380776C2-BC62-44AD-82BB-2AA4A538BCCA}" type="sibTrans" cxnId="{7B6E1FF3-5BB2-44C9-9764-D813C8EF1072}">
      <dgm:prSet/>
      <dgm:spPr/>
      <dgm:t>
        <a:bodyPr/>
        <a:lstStyle/>
        <a:p>
          <a:endParaRPr lang="pt-BR"/>
        </a:p>
      </dgm:t>
    </dgm:pt>
    <dgm:pt modelId="{22D4AF76-5E0B-4B90-B24D-AA49376FFE1B}" type="parTrans" cxnId="{7B6E1FF3-5BB2-44C9-9764-D813C8EF1072}">
      <dgm:prSet/>
      <dgm:spPr/>
      <dgm:t>
        <a:bodyPr/>
        <a:lstStyle/>
        <a:p>
          <a:endParaRPr lang="pt-BR"/>
        </a:p>
      </dgm:t>
    </dgm:pt>
    <dgm:pt modelId="{4261259B-C819-49B3-818A-4DCF536A1FA2}">
      <dgm:prSet phldrT="[Texto]" custT="1"/>
      <dgm:spPr/>
      <dgm:t>
        <a:bodyPr/>
        <a:lstStyle/>
        <a:p>
          <a:r>
            <a:rPr lang="pt-BR" sz="1200" i="1" dirty="0" smtClean="0"/>
            <a:t>“Design for </a:t>
          </a:r>
          <a:r>
            <a:rPr lang="pt-BR" sz="1200" i="1" dirty="0" err="1" smtClean="0"/>
            <a:t>dump</a:t>
          </a:r>
          <a:r>
            <a:rPr lang="pt-BR" sz="1200" i="1" dirty="0" smtClean="0"/>
            <a:t>”</a:t>
          </a:r>
          <a:endParaRPr lang="pt-BR" sz="1200" i="1" dirty="0"/>
        </a:p>
      </dgm:t>
    </dgm:pt>
    <dgm:pt modelId="{51CC18F0-7656-46CF-8DF6-89C5B858324C}" type="parTrans" cxnId="{35830DB5-2206-49AB-9D82-8A2B71A0BC9B}">
      <dgm:prSet/>
      <dgm:spPr/>
      <dgm:t>
        <a:bodyPr/>
        <a:lstStyle/>
        <a:p>
          <a:endParaRPr lang="pt-BR"/>
        </a:p>
      </dgm:t>
    </dgm:pt>
    <dgm:pt modelId="{D487F22A-611F-42A0-B129-2926F52F9FF1}" type="sibTrans" cxnId="{35830DB5-2206-49AB-9D82-8A2B71A0BC9B}">
      <dgm:prSet/>
      <dgm:spPr/>
      <dgm:t>
        <a:bodyPr/>
        <a:lstStyle/>
        <a:p>
          <a:endParaRPr lang="pt-BR"/>
        </a:p>
      </dgm:t>
    </dgm:pt>
    <dgm:pt modelId="{ABBD8411-C2B1-4CCA-B08F-625AEF640F1F}" type="pres">
      <dgm:prSet presAssocID="{E79ECE08-3F4A-45CA-845F-29BAE489E1C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2C7870EC-D591-4D56-802F-4314430FCB19}" type="pres">
      <dgm:prSet presAssocID="{5926415E-BD83-4822-8706-6DC677D52F27}" presName="linNode" presStyleCnt="0"/>
      <dgm:spPr/>
      <dgm:t>
        <a:bodyPr/>
        <a:lstStyle/>
        <a:p>
          <a:endParaRPr lang="en-US"/>
        </a:p>
      </dgm:t>
    </dgm:pt>
    <dgm:pt modelId="{B50CD93C-834A-4BAF-9A83-7368044A7427}" type="pres">
      <dgm:prSet presAssocID="{5926415E-BD83-4822-8706-6DC677D52F27}" presName="parentText" presStyleLbl="node1" presStyleIdx="0" presStyleCnt="5" custScaleY="9090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A0AD2E9-F846-411F-91DF-B219FAF7125B}" type="pres">
      <dgm:prSet presAssocID="{5926415E-BD83-4822-8706-6DC677D52F27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A824217-F4C0-4289-A818-9AEB9A3FA130}" type="pres">
      <dgm:prSet presAssocID="{3F0ED907-A00F-476A-85F2-F287F0C532DD}" presName="sp" presStyleCnt="0"/>
      <dgm:spPr/>
      <dgm:t>
        <a:bodyPr/>
        <a:lstStyle/>
        <a:p>
          <a:endParaRPr lang="en-US"/>
        </a:p>
      </dgm:t>
    </dgm:pt>
    <dgm:pt modelId="{E65AD014-0904-4491-AC65-9699B2A7A02A}" type="pres">
      <dgm:prSet presAssocID="{58546B9C-8818-488F-BA30-503D3FD654E6}" presName="linNode" presStyleCnt="0"/>
      <dgm:spPr/>
      <dgm:t>
        <a:bodyPr/>
        <a:lstStyle/>
        <a:p>
          <a:endParaRPr lang="en-US"/>
        </a:p>
      </dgm:t>
    </dgm:pt>
    <dgm:pt modelId="{F5C7661D-6900-4B17-A57A-6FC83351CD33}" type="pres">
      <dgm:prSet presAssocID="{58546B9C-8818-488F-BA30-503D3FD654E6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DCB8AEB-294C-4338-9A55-226891142FE4}" type="pres">
      <dgm:prSet presAssocID="{58546B9C-8818-488F-BA30-503D3FD654E6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A06F36A-FD6A-427B-A79D-2321DFFB88CE}" type="pres">
      <dgm:prSet presAssocID="{BB6E8466-378E-40D8-A4BE-08E9F9239DF8}" presName="sp" presStyleCnt="0"/>
      <dgm:spPr/>
      <dgm:t>
        <a:bodyPr/>
        <a:lstStyle/>
        <a:p>
          <a:endParaRPr lang="en-US"/>
        </a:p>
      </dgm:t>
    </dgm:pt>
    <dgm:pt modelId="{891CA0E9-7BB0-4059-A8B3-AFE9E3400106}" type="pres">
      <dgm:prSet presAssocID="{4079B536-A378-4166-90AF-733ED840A770}" presName="linNode" presStyleCnt="0"/>
      <dgm:spPr/>
      <dgm:t>
        <a:bodyPr/>
        <a:lstStyle/>
        <a:p>
          <a:endParaRPr lang="en-US"/>
        </a:p>
      </dgm:t>
    </dgm:pt>
    <dgm:pt modelId="{60CEC0BF-C142-4DBC-AFC9-95F4AAA5E39E}" type="pres">
      <dgm:prSet presAssocID="{4079B536-A378-4166-90AF-733ED840A770}" presName="parentText" presStyleLbl="node1" presStyleIdx="2" presStyleCnt="5" custLinFactNeighborX="-29297" custLinFactNeighborY="-2046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2B5F32F-C6FA-4812-BE8E-03C520F1B5E1}" type="pres">
      <dgm:prSet presAssocID="{4079B536-A378-4166-90AF-733ED840A770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21295A-CAC8-4AF3-967F-433F22FAEC43}" type="pres">
      <dgm:prSet presAssocID="{07ABD41A-1225-4C3B-AD68-829D55316509}" presName="sp" presStyleCnt="0"/>
      <dgm:spPr/>
      <dgm:t>
        <a:bodyPr/>
        <a:lstStyle/>
        <a:p>
          <a:endParaRPr lang="en-US"/>
        </a:p>
      </dgm:t>
    </dgm:pt>
    <dgm:pt modelId="{ADCFAA8C-5048-4B1D-8D61-1FA515E9B8FC}" type="pres">
      <dgm:prSet presAssocID="{790D4880-BDB3-4784-A6C7-AE29D7678394}" presName="linNode" presStyleCnt="0"/>
      <dgm:spPr/>
      <dgm:t>
        <a:bodyPr/>
        <a:lstStyle/>
        <a:p>
          <a:endParaRPr lang="en-US"/>
        </a:p>
      </dgm:t>
    </dgm:pt>
    <dgm:pt modelId="{ADECE130-5968-491E-ABFC-D925B18D5183}" type="pres">
      <dgm:prSet presAssocID="{790D4880-BDB3-4784-A6C7-AE29D7678394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9E104EC-65EC-498E-AA84-F7767554D27E}" type="pres">
      <dgm:prSet presAssocID="{790D4880-BDB3-4784-A6C7-AE29D7678394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FBEB1BB-048F-4A8A-B985-129D0F0B3B87}" type="pres">
      <dgm:prSet presAssocID="{3FBB41C4-2F7D-43CF-B6CD-4F0054D038F1}" presName="sp" presStyleCnt="0"/>
      <dgm:spPr/>
      <dgm:t>
        <a:bodyPr/>
        <a:lstStyle/>
        <a:p>
          <a:endParaRPr lang="en-US"/>
        </a:p>
      </dgm:t>
    </dgm:pt>
    <dgm:pt modelId="{DE5C4B7F-9986-4B6B-8C1B-EF0132397BF2}" type="pres">
      <dgm:prSet presAssocID="{0A9D2CDC-296B-44E3-A5D6-57C9C503197F}" presName="linNode" presStyleCnt="0"/>
      <dgm:spPr/>
      <dgm:t>
        <a:bodyPr/>
        <a:lstStyle/>
        <a:p>
          <a:endParaRPr lang="en-US"/>
        </a:p>
      </dgm:t>
    </dgm:pt>
    <dgm:pt modelId="{D1FFB208-587C-4DED-8BE4-AD1F04B37326}" type="pres">
      <dgm:prSet presAssocID="{0A9D2CDC-296B-44E3-A5D6-57C9C503197F}" presName="parentText" presStyleLbl="node1" presStyleIdx="4" presStyleCnt="5" custLinFactNeighborY="-386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56BFECC-9A6D-45C3-B673-1B82EBFED60B}" type="pres">
      <dgm:prSet presAssocID="{0A9D2CDC-296B-44E3-A5D6-57C9C503197F}" presName="descendantText" presStyleLbl="alignAccFollowNode1" presStyleIdx="4" presStyleCnt="5" custScaleY="13774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2CC93D3-188D-41A1-BD26-125E8230C3F0}" type="presOf" srcId="{5926415E-BD83-4822-8706-6DC677D52F27}" destId="{B50CD93C-834A-4BAF-9A83-7368044A7427}" srcOrd="0" destOrd="0" presId="urn:microsoft.com/office/officeart/2005/8/layout/vList5"/>
    <dgm:cxn modelId="{D28C5888-C4D4-480D-8A90-9D187C819987}" srcId="{5926415E-BD83-4822-8706-6DC677D52F27}" destId="{8667F37F-EA64-419E-ABA0-7B7EBE23AF57}" srcOrd="0" destOrd="0" parTransId="{A8B131A9-1210-4D96-8647-AACE5A4114AE}" sibTransId="{8087A54F-FBF4-4DB1-B509-0368E0A0AF2B}"/>
    <dgm:cxn modelId="{B34715F5-86CE-4298-AF3F-67425592F6CF}" type="presOf" srcId="{8667F37F-EA64-419E-ABA0-7B7EBE23AF57}" destId="{5A0AD2E9-F846-411F-91DF-B219FAF7125B}" srcOrd="0" destOrd="0" presId="urn:microsoft.com/office/officeart/2005/8/layout/vList5"/>
    <dgm:cxn modelId="{0EB5F635-7859-4E82-8389-8BB9E7F261A7}" type="presOf" srcId="{5A79451A-2EB0-48E2-B269-A84BCD4477D5}" destId="{02B5F32F-C6FA-4812-BE8E-03C520F1B5E1}" srcOrd="0" destOrd="0" presId="urn:microsoft.com/office/officeart/2005/8/layout/vList5"/>
    <dgm:cxn modelId="{F2359E15-189B-402D-B099-EC42AC6FA23D}" srcId="{E79ECE08-3F4A-45CA-845F-29BAE489E1CF}" destId="{5926415E-BD83-4822-8706-6DC677D52F27}" srcOrd="0" destOrd="0" parTransId="{E8D92FCE-32BC-4B61-9CF5-0A9CB1BAC355}" sibTransId="{3F0ED907-A00F-476A-85F2-F287F0C532DD}"/>
    <dgm:cxn modelId="{AAF4CD18-FDC3-4610-A2CC-D99DED94D3BA}" type="presOf" srcId="{38862D55-B9E1-4FB3-9D65-FAB9B38D4934}" destId="{D56BFECC-9A6D-45C3-B673-1B82EBFED60B}" srcOrd="0" destOrd="0" presId="urn:microsoft.com/office/officeart/2005/8/layout/vList5"/>
    <dgm:cxn modelId="{5A87A88C-B37F-45EC-B04F-04981C3E7477}" type="presOf" srcId="{58546B9C-8818-488F-BA30-503D3FD654E6}" destId="{F5C7661D-6900-4B17-A57A-6FC83351CD33}" srcOrd="0" destOrd="0" presId="urn:microsoft.com/office/officeart/2005/8/layout/vList5"/>
    <dgm:cxn modelId="{493CA8DB-864D-4A17-A165-1E0AC366252E}" type="presOf" srcId="{4079B536-A378-4166-90AF-733ED840A770}" destId="{60CEC0BF-C142-4DBC-AFC9-95F4AAA5E39E}" srcOrd="0" destOrd="0" presId="urn:microsoft.com/office/officeart/2005/8/layout/vList5"/>
    <dgm:cxn modelId="{6E8A92F7-7A90-4D85-A05B-45872E454969}" type="presOf" srcId="{26408EBE-2AE0-4C9B-A431-A0704BF87DBE}" destId="{DDCB8AEB-294C-4338-9A55-226891142FE4}" srcOrd="0" destOrd="0" presId="urn:microsoft.com/office/officeart/2005/8/layout/vList5"/>
    <dgm:cxn modelId="{32900617-1DED-44CF-89B8-7D69B377184D}" type="presOf" srcId="{0A9D2CDC-296B-44E3-A5D6-57C9C503197F}" destId="{D1FFB208-587C-4DED-8BE4-AD1F04B37326}" srcOrd="0" destOrd="0" presId="urn:microsoft.com/office/officeart/2005/8/layout/vList5"/>
    <dgm:cxn modelId="{7175D367-68BB-4317-A49F-EB23577F5812}" type="presOf" srcId="{E79ECE08-3F4A-45CA-845F-29BAE489E1CF}" destId="{ABBD8411-C2B1-4CCA-B08F-625AEF640F1F}" srcOrd="0" destOrd="0" presId="urn:microsoft.com/office/officeart/2005/8/layout/vList5"/>
    <dgm:cxn modelId="{5E2BCB3C-2326-4A2D-BB5A-57B07FF2CB72}" srcId="{58546B9C-8818-488F-BA30-503D3FD654E6}" destId="{26408EBE-2AE0-4C9B-A431-A0704BF87DBE}" srcOrd="0" destOrd="0" parTransId="{123558B3-4F7E-461C-9E91-5DCC6FEC402C}" sibTransId="{86D34AD6-0236-4151-92F4-008C7EABE4C3}"/>
    <dgm:cxn modelId="{D73052CF-9F10-4FD1-8E7D-B0DB70917B75}" type="presOf" srcId="{790D4880-BDB3-4784-A6C7-AE29D7678394}" destId="{ADECE130-5968-491E-ABFC-D925B18D5183}" srcOrd="0" destOrd="0" presId="urn:microsoft.com/office/officeart/2005/8/layout/vList5"/>
    <dgm:cxn modelId="{AD6490DA-71EC-4CE3-B722-CA6506CEF1F4}" type="presOf" srcId="{4261259B-C819-49B3-818A-4DCF536A1FA2}" destId="{DDCB8AEB-294C-4338-9A55-226891142FE4}" srcOrd="0" destOrd="1" presId="urn:microsoft.com/office/officeart/2005/8/layout/vList5"/>
    <dgm:cxn modelId="{7B6E1FF3-5BB2-44C9-9764-D813C8EF1072}" srcId="{790D4880-BDB3-4784-A6C7-AE29D7678394}" destId="{D61858B6-6366-4F1D-BA78-1EBAD336347E}" srcOrd="0" destOrd="0" parTransId="{22D4AF76-5E0B-4B90-B24D-AA49376FFE1B}" sibTransId="{380776C2-BC62-44AD-82BB-2AA4A538BCCA}"/>
    <dgm:cxn modelId="{DE1188F3-DDAC-47D5-95B3-267886D6F696}" srcId="{E79ECE08-3F4A-45CA-845F-29BAE489E1CF}" destId="{790D4880-BDB3-4784-A6C7-AE29D7678394}" srcOrd="3" destOrd="0" parTransId="{DA2DC480-F0E2-42A1-B5F6-E499A1DA51BB}" sibTransId="{3FBB41C4-2F7D-43CF-B6CD-4F0054D038F1}"/>
    <dgm:cxn modelId="{7A1D0685-2C56-4E73-BD30-9D727A4EF484}" srcId="{4079B536-A378-4166-90AF-733ED840A770}" destId="{5A79451A-2EB0-48E2-B269-A84BCD4477D5}" srcOrd="0" destOrd="0" parTransId="{33D9EEA4-D5D3-4061-AE24-57F9E0CF5E5F}" sibTransId="{FCB072FF-0A2C-470C-8E1C-E4F0022BFA61}"/>
    <dgm:cxn modelId="{A3B66580-3DB2-4855-A40C-F08694EF03BE}" srcId="{E79ECE08-3F4A-45CA-845F-29BAE489E1CF}" destId="{0A9D2CDC-296B-44E3-A5D6-57C9C503197F}" srcOrd="4" destOrd="0" parTransId="{13A95BE2-5A75-4759-A2A9-4F28EF3F2EC1}" sibTransId="{674AB656-6405-4976-B3E6-819AC62A75C1}"/>
    <dgm:cxn modelId="{5A386BBD-6022-4CF1-A6C8-DECDFA073C3F}" srcId="{E79ECE08-3F4A-45CA-845F-29BAE489E1CF}" destId="{58546B9C-8818-488F-BA30-503D3FD654E6}" srcOrd="1" destOrd="0" parTransId="{B179B8FC-3620-422D-9800-3FBB77F72C70}" sibTransId="{BB6E8466-378E-40D8-A4BE-08E9F9239DF8}"/>
    <dgm:cxn modelId="{81BC2735-C3CE-41B4-B9C8-C28A54C253AD}" srcId="{E79ECE08-3F4A-45CA-845F-29BAE489E1CF}" destId="{4079B536-A378-4166-90AF-733ED840A770}" srcOrd="2" destOrd="0" parTransId="{2E03D285-8CD0-476A-944A-93A4A2499B69}" sibTransId="{07ABD41A-1225-4C3B-AD68-829D55316509}"/>
    <dgm:cxn modelId="{35830DB5-2206-49AB-9D82-8A2B71A0BC9B}" srcId="{58546B9C-8818-488F-BA30-503D3FD654E6}" destId="{4261259B-C819-49B3-818A-4DCF536A1FA2}" srcOrd="1" destOrd="0" parTransId="{51CC18F0-7656-46CF-8DF6-89C5B858324C}" sibTransId="{D487F22A-611F-42A0-B129-2926F52F9FF1}"/>
    <dgm:cxn modelId="{19E3F3A2-9CB7-471E-BE60-EC0A4D51EBA6}" srcId="{0A9D2CDC-296B-44E3-A5D6-57C9C503197F}" destId="{38862D55-B9E1-4FB3-9D65-FAB9B38D4934}" srcOrd="0" destOrd="0" parTransId="{F466DAE2-FB3F-4A11-84AC-3F0782F87C51}" sibTransId="{564CC9C4-D18E-41AB-B7A1-EFB50D4F1FE2}"/>
    <dgm:cxn modelId="{CE9DB6B3-DE3B-4B50-A90B-D700558EA3B2}" type="presOf" srcId="{D61858B6-6366-4F1D-BA78-1EBAD336347E}" destId="{D9E104EC-65EC-498E-AA84-F7767554D27E}" srcOrd="0" destOrd="0" presId="urn:microsoft.com/office/officeart/2005/8/layout/vList5"/>
    <dgm:cxn modelId="{DFC95405-F5DC-43E5-884E-FAE0F607E13F}" type="presParOf" srcId="{ABBD8411-C2B1-4CCA-B08F-625AEF640F1F}" destId="{2C7870EC-D591-4D56-802F-4314430FCB19}" srcOrd="0" destOrd="0" presId="urn:microsoft.com/office/officeart/2005/8/layout/vList5"/>
    <dgm:cxn modelId="{BC3137E6-ABFE-4B52-91E1-72C80701BEF9}" type="presParOf" srcId="{2C7870EC-D591-4D56-802F-4314430FCB19}" destId="{B50CD93C-834A-4BAF-9A83-7368044A7427}" srcOrd="0" destOrd="0" presId="urn:microsoft.com/office/officeart/2005/8/layout/vList5"/>
    <dgm:cxn modelId="{0627FA29-C68F-4F32-AE53-8F0ED2591309}" type="presParOf" srcId="{2C7870EC-D591-4D56-802F-4314430FCB19}" destId="{5A0AD2E9-F846-411F-91DF-B219FAF7125B}" srcOrd="1" destOrd="0" presId="urn:microsoft.com/office/officeart/2005/8/layout/vList5"/>
    <dgm:cxn modelId="{BDEEF7B7-5569-456D-A9F7-65A1D1E0626B}" type="presParOf" srcId="{ABBD8411-C2B1-4CCA-B08F-625AEF640F1F}" destId="{8A824217-F4C0-4289-A818-9AEB9A3FA130}" srcOrd="1" destOrd="0" presId="urn:microsoft.com/office/officeart/2005/8/layout/vList5"/>
    <dgm:cxn modelId="{3EA918E8-0A91-4CEE-942D-5AC79C9FC276}" type="presParOf" srcId="{ABBD8411-C2B1-4CCA-B08F-625AEF640F1F}" destId="{E65AD014-0904-4491-AC65-9699B2A7A02A}" srcOrd="2" destOrd="0" presId="urn:microsoft.com/office/officeart/2005/8/layout/vList5"/>
    <dgm:cxn modelId="{194DA20E-942F-4E1D-BB33-F85BA3B68A5F}" type="presParOf" srcId="{E65AD014-0904-4491-AC65-9699B2A7A02A}" destId="{F5C7661D-6900-4B17-A57A-6FC83351CD33}" srcOrd="0" destOrd="0" presId="urn:microsoft.com/office/officeart/2005/8/layout/vList5"/>
    <dgm:cxn modelId="{967E436B-5C00-4553-95AE-1A84E02CDD61}" type="presParOf" srcId="{E65AD014-0904-4491-AC65-9699B2A7A02A}" destId="{DDCB8AEB-294C-4338-9A55-226891142FE4}" srcOrd="1" destOrd="0" presId="urn:microsoft.com/office/officeart/2005/8/layout/vList5"/>
    <dgm:cxn modelId="{C042D59F-85E4-4EBA-A637-4313C49FCB08}" type="presParOf" srcId="{ABBD8411-C2B1-4CCA-B08F-625AEF640F1F}" destId="{2A06F36A-FD6A-427B-A79D-2321DFFB88CE}" srcOrd="3" destOrd="0" presId="urn:microsoft.com/office/officeart/2005/8/layout/vList5"/>
    <dgm:cxn modelId="{5CF8F3B4-680E-429F-B6CC-BEDF9D4B69DC}" type="presParOf" srcId="{ABBD8411-C2B1-4CCA-B08F-625AEF640F1F}" destId="{891CA0E9-7BB0-4059-A8B3-AFE9E3400106}" srcOrd="4" destOrd="0" presId="urn:microsoft.com/office/officeart/2005/8/layout/vList5"/>
    <dgm:cxn modelId="{1B1F6310-8C9F-43B7-ADE5-5D29571B6A48}" type="presParOf" srcId="{891CA0E9-7BB0-4059-A8B3-AFE9E3400106}" destId="{60CEC0BF-C142-4DBC-AFC9-95F4AAA5E39E}" srcOrd="0" destOrd="0" presId="urn:microsoft.com/office/officeart/2005/8/layout/vList5"/>
    <dgm:cxn modelId="{B7907D1D-6B86-4683-8116-8EFCC9A61D43}" type="presParOf" srcId="{891CA0E9-7BB0-4059-A8B3-AFE9E3400106}" destId="{02B5F32F-C6FA-4812-BE8E-03C520F1B5E1}" srcOrd="1" destOrd="0" presId="urn:microsoft.com/office/officeart/2005/8/layout/vList5"/>
    <dgm:cxn modelId="{A0D5938E-EECE-46F7-9823-702808768C8E}" type="presParOf" srcId="{ABBD8411-C2B1-4CCA-B08F-625AEF640F1F}" destId="{9221295A-CAC8-4AF3-967F-433F22FAEC43}" srcOrd="5" destOrd="0" presId="urn:microsoft.com/office/officeart/2005/8/layout/vList5"/>
    <dgm:cxn modelId="{3896EEEB-516B-48D6-AB4F-A20A2415286E}" type="presParOf" srcId="{ABBD8411-C2B1-4CCA-B08F-625AEF640F1F}" destId="{ADCFAA8C-5048-4B1D-8D61-1FA515E9B8FC}" srcOrd="6" destOrd="0" presId="urn:microsoft.com/office/officeart/2005/8/layout/vList5"/>
    <dgm:cxn modelId="{EA782A25-315B-435E-9FDC-40B3AD8E24BE}" type="presParOf" srcId="{ADCFAA8C-5048-4B1D-8D61-1FA515E9B8FC}" destId="{ADECE130-5968-491E-ABFC-D925B18D5183}" srcOrd="0" destOrd="0" presId="urn:microsoft.com/office/officeart/2005/8/layout/vList5"/>
    <dgm:cxn modelId="{026E3284-3B5B-48DA-9951-A994B6396207}" type="presParOf" srcId="{ADCFAA8C-5048-4B1D-8D61-1FA515E9B8FC}" destId="{D9E104EC-65EC-498E-AA84-F7767554D27E}" srcOrd="1" destOrd="0" presId="urn:microsoft.com/office/officeart/2005/8/layout/vList5"/>
    <dgm:cxn modelId="{E089E9A6-9565-48B7-97E3-2FA40833E391}" type="presParOf" srcId="{ABBD8411-C2B1-4CCA-B08F-625AEF640F1F}" destId="{4FBEB1BB-048F-4A8A-B985-129D0F0B3B87}" srcOrd="7" destOrd="0" presId="urn:microsoft.com/office/officeart/2005/8/layout/vList5"/>
    <dgm:cxn modelId="{0B957FD4-A2B7-4FDD-B7CE-6081F15DCD99}" type="presParOf" srcId="{ABBD8411-C2B1-4CCA-B08F-625AEF640F1F}" destId="{DE5C4B7F-9986-4B6B-8C1B-EF0132397BF2}" srcOrd="8" destOrd="0" presId="urn:microsoft.com/office/officeart/2005/8/layout/vList5"/>
    <dgm:cxn modelId="{AB219BA9-2393-472A-965D-F7EBDCF9D8FA}" type="presParOf" srcId="{DE5C4B7F-9986-4B6B-8C1B-EF0132397BF2}" destId="{D1FFB208-587C-4DED-8BE4-AD1F04B37326}" srcOrd="0" destOrd="0" presId="urn:microsoft.com/office/officeart/2005/8/layout/vList5"/>
    <dgm:cxn modelId="{004FBA2E-A926-46B4-A21D-C1FE0371B04C}" type="presParOf" srcId="{DE5C4B7F-9986-4B6B-8C1B-EF0132397BF2}" destId="{D56BFECC-9A6D-45C3-B673-1B82EBFED60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7EDDB9-2DDB-4190-8790-96719964B4C8}">
      <dsp:nvSpPr>
        <dsp:cNvPr id="0" name=""/>
        <dsp:cNvSpPr/>
      </dsp:nvSpPr>
      <dsp:spPr>
        <a:xfrm rot="10800000">
          <a:off x="378130" y="833"/>
          <a:ext cx="1041505" cy="46318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425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noProof="0" dirty="0" smtClean="0"/>
            <a:t>Logística reversa</a:t>
          </a:r>
          <a:endParaRPr lang="pt-BR" sz="1200" b="1" kern="1200" noProof="0" dirty="0"/>
        </a:p>
      </dsp:txBody>
      <dsp:txXfrm rot="10800000">
        <a:off x="493926" y="833"/>
        <a:ext cx="925709" cy="463183"/>
      </dsp:txXfrm>
    </dsp:sp>
    <dsp:sp modelId="{1C6F903E-1C4D-4438-9C17-57BC450F4094}">
      <dsp:nvSpPr>
        <dsp:cNvPr id="0" name=""/>
        <dsp:cNvSpPr/>
      </dsp:nvSpPr>
      <dsp:spPr>
        <a:xfrm>
          <a:off x="146538" y="833"/>
          <a:ext cx="463183" cy="463183"/>
        </a:xfrm>
        <a:prstGeom prst="ellipse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6D974EBB-AB8B-4A4B-AA48-865C42EA856D}">
      <dsp:nvSpPr>
        <dsp:cNvPr id="0" name=""/>
        <dsp:cNvSpPr/>
      </dsp:nvSpPr>
      <dsp:spPr>
        <a:xfrm rot="10800000">
          <a:off x="378130" y="602281"/>
          <a:ext cx="1041505" cy="46318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425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noProof="0" dirty="0" err="1" smtClean="0"/>
            <a:t>Desmon-tagem</a:t>
          </a:r>
          <a:endParaRPr lang="pt-BR" sz="1200" b="1" kern="1200" noProof="0" dirty="0"/>
        </a:p>
      </dsp:txBody>
      <dsp:txXfrm rot="10800000">
        <a:off x="493926" y="602281"/>
        <a:ext cx="925709" cy="463183"/>
      </dsp:txXfrm>
    </dsp:sp>
    <dsp:sp modelId="{F568AAFB-9139-43D7-8D4A-A3A59ACE256B}">
      <dsp:nvSpPr>
        <dsp:cNvPr id="0" name=""/>
        <dsp:cNvSpPr/>
      </dsp:nvSpPr>
      <dsp:spPr>
        <a:xfrm>
          <a:off x="146538" y="602281"/>
          <a:ext cx="463183" cy="463183"/>
        </a:xfrm>
        <a:prstGeom prst="ellipse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39EE0312-7E1A-4D1E-9CDE-8A952B3F3923}">
      <dsp:nvSpPr>
        <dsp:cNvPr id="0" name=""/>
        <dsp:cNvSpPr/>
      </dsp:nvSpPr>
      <dsp:spPr>
        <a:xfrm rot="10800000">
          <a:off x="378130" y="1203728"/>
          <a:ext cx="1041505" cy="46318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425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noProof="0" smtClean="0"/>
            <a:t>Reuso</a:t>
          </a:r>
          <a:endParaRPr lang="pt-BR" sz="1200" b="1" kern="1200" noProof="0"/>
        </a:p>
      </dsp:txBody>
      <dsp:txXfrm rot="10800000">
        <a:off x="493926" y="1203728"/>
        <a:ext cx="925709" cy="463183"/>
      </dsp:txXfrm>
    </dsp:sp>
    <dsp:sp modelId="{26CF8ACD-3912-471D-B961-0AA209500504}">
      <dsp:nvSpPr>
        <dsp:cNvPr id="0" name=""/>
        <dsp:cNvSpPr/>
      </dsp:nvSpPr>
      <dsp:spPr>
        <a:xfrm>
          <a:off x="146538" y="1203728"/>
          <a:ext cx="463183" cy="463183"/>
        </a:xfrm>
        <a:prstGeom prst="ellipse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5BD2ED2-3ABA-442C-8BCF-62DA392825E2}">
      <dsp:nvSpPr>
        <dsp:cNvPr id="0" name=""/>
        <dsp:cNvSpPr/>
      </dsp:nvSpPr>
      <dsp:spPr>
        <a:xfrm rot="10800000">
          <a:off x="378130" y="1805176"/>
          <a:ext cx="1041505" cy="46318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425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noProof="0" dirty="0" err="1" smtClean="0"/>
            <a:t>Recicla-gem</a:t>
          </a:r>
          <a:endParaRPr lang="pt-BR" sz="1200" b="1" kern="1200" noProof="0" dirty="0"/>
        </a:p>
      </dsp:txBody>
      <dsp:txXfrm rot="10800000">
        <a:off x="493926" y="1805176"/>
        <a:ext cx="925709" cy="463183"/>
      </dsp:txXfrm>
    </dsp:sp>
    <dsp:sp modelId="{3FE7D078-1ECC-478E-9B75-199CCB5A3CC3}">
      <dsp:nvSpPr>
        <dsp:cNvPr id="0" name=""/>
        <dsp:cNvSpPr/>
      </dsp:nvSpPr>
      <dsp:spPr>
        <a:xfrm>
          <a:off x="146538" y="1805176"/>
          <a:ext cx="463183" cy="463183"/>
        </a:xfrm>
        <a:prstGeom prst="ellipse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CFF1673E-7C4C-4804-BBD2-B32E9E623A02}">
      <dsp:nvSpPr>
        <dsp:cNvPr id="0" name=""/>
        <dsp:cNvSpPr/>
      </dsp:nvSpPr>
      <dsp:spPr>
        <a:xfrm rot="10800000">
          <a:off x="378130" y="2406623"/>
          <a:ext cx="1041505" cy="46318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425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noProof="0" smtClean="0"/>
            <a:t>Descarte</a:t>
          </a:r>
          <a:endParaRPr lang="pt-BR" sz="1200" b="1" kern="1200" noProof="0"/>
        </a:p>
      </dsp:txBody>
      <dsp:txXfrm rot="10800000">
        <a:off x="493926" y="2406623"/>
        <a:ext cx="925709" cy="463183"/>
      </dsp:txXfrm>
    </dsp:sp>
    <dsp:sp modelId="{C7BFCD2E-C99E-452A-AA1E-33F09191A72B}">
      <dsp:nvSpPr>
        <dsp:cNvPr id="0" name=""/>
        <dsp:cNvSpPr/>
      </dsp:nvSpPr>
      <dsp:spPr>
        <a:xfrm>
          <a:off x="146538" y="2406623"/>
          <a:ext cx="463183" cy="463183"/>
        </a:xfrm>
        <a:prstGeom prst="ellipse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3B0FB3-211B-4EE2-B8AC-0CFE779ED3B8}">
      <dsp:nvSpPr>
        <dsp:cNvPr id="0" name=""/>
        <dsp:cNvSpPr/>
      </dsp:nvSpPr>
      <dsp:spPr>
        <a:xfrm>
          <a:off x="69577" y="586"/>
          <a:ext cx="1478591" cy="78464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>
              <a:solidFill>
                <a:schemeClr val="tx1"/>
              </a:solidFill>
            </a:rPr>
            <a:t>Consumo Ilimitado</a:t>
          </a:r>
          <a:endParaRPr lang="pt-BR" sz="1400" b="1" kern="1200" dirty="0">
            <a:solidFill>
              <a:schemeClr val="tx1"/>
            </a:solidFill>
          </a:endParaRPr>
        </a:p>
      </dsp:txBody>
      <dsp:txXfrm>
        <a:off x="286112" y="115494"/>
        <a:ext cx="1045521" cy="554828"/>
      </dsp:txXfrm>
    </dsp:sp>
    <dsp:sp modelId="{4099E915-0855-470E-8E0E-570E80A85028}">
      <dsp:nvSpPr>
        <dsp:cNvPr id="0" name=""/>
        <dsp:cNvSpPr/>
      </dsp:nvSpPr>
      <dsp:spPr>
        <a:xfrm>
          <a:off x="1611881" y="165362"/>
          <a:ext cx="455093" cy="455093"/>
        </a:xfrm>
        <a:prstGeom prst="mathPlus">
          <a:avLst/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 dirty="0"/>
        </a:p>
      </dsp:txBody>
      <dsp:txXfrm>
        <a:off x="1672204" y="339390"/>
        <a:ext cx="334447" cy="107037"/>
      </dsp:txXfrm>
    </dsp:sp>
    <dsp:sp modelId="{C9481ECF-550B-4574-B67D-AC04B45B7CBD}">
      <dsp:nvSpPr>
        <dsp:cNvPr id="0" name=""/>
        <dsp:cNvSpPr/>
      </dsp:nvSpPr>
      <dsp:spPr>
        <a:xfrm>
          <a:off x="2130688" y="1173"/>
          <a:ext cx="1056060" cy="78464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/>
            <a:t>Recursos limitados</a:t>
          </a:r>
          <a:endParaRPr lang="pt-BR" sz="1400" b="1" kern="1200" dirty="0" smtClean="0">
            <a:solidFill>
              <a:schemeClr val="tx1"/>
            </a:solidFill>
          </a:endParaRPr>
        </a:p>
      </dsp:txBody>
      <dsp:txXfrm>
        <a:off x="2285344" y="116081"/>
        <a:ext cx="746748" cy="554828"/>
      </dsp:txXfrm>
    </dsp:sp>
    <dsp:sp modelId="{CECA536D-5DCC-4F5D-9AEA-AA5E9ED89286}">
      <dsp:nvSpPr>
        <dsp:cNvPr id="0" name=""/>
        <dsp:cNvSpPr/>
      </dsp:nvSpPr>
      <dsp:spPr>
        <a:xfrm>
          <a:off x="3250461" y="165362"/>
          <a:ext cx="455093" cy="455093"/>
        </a:xfrm>
        <a:prstGeom prst="mathEqual">
          <a:avLst/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900" kern="1200" dirty="0"/>
        </a:p>
      </dsp:txBody>
      <dsp:txXfrm>
        <a:off x="3310784" y="259111"/>
        <a:ext cx="334447" cy="267595"/>
      </dsp:txXfrm>
    </dsp:sp>
    <dsp:sp modelId="{1A6C8C66-AEDA-44F0-8A71-1188B609B421}">
      <dsp:nvSpPr>
        <dsp:cNvPr id="0" name=""/>
        <dsp:cNvSpPr/>
      </dsp:nvSpPr>
      <dsp:spPr>
        <a:xfrm>
          <a:off x="3769268" y="586"/>
          <a:ext cx="1082902" cy="78464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>
              <a:solidFill>
                <a:schemeClr val="tx1"/>
              </a:solidFill>
            </a:rPr>
            <a:t>Sistema em Crise</a:t>
          </a:r>
          <a:endParaRPr lang="pt-BR" sz="1400" b="1" kern="1200" dirty="0">
            <a:solidFill>
              <a:schemeClr val="tx1"/>
            </a:solidFill>
          </a:endParaRPr>
        </a:p>
      </dsp:txBody>
      <dsp:txXfrm>
        <a:off x="3927855" y="115494"/>
        <a:ext cx="765728" cy="55482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0AD2E9-F846-411F-91DF-B219FAF7125B}">
      <dsp:nvSpPr>
        <dsp:cNvPr id="0" name=""/>
        <dsp:cNvSpPr/>
      </dsp:nvSpPr>
      <dsp:spPr>
        <a:xfrm rot="5400000">
          <a:off x="1714708" y="-644476"/>
          <a:ext cx="487818" cy="1843404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Depleção de recursos</a:t>
          </a:r>
          <a:endParaRPr lang="pt-BR" sz="1200" kern="1200" dirty="0"/>
        </a:p>
      </dsp:txBody>
      <dsp:txXfrm rot="-5400000">
        <a:off x="1036916" y="57129"/>
        <a:ext cx="1819591" cy="440192"/>
      </dsp:txXfrm>
    </dsp:sp>
    <dsp:sp modelId="{B50CD93C-834A-4BAF-9A83-7368044A7427}">
      <dsp:nvSpPr>
        <dsp:cNvPr id="0" name=""/>
        <dsp:cNvSpPr/>
      </dsp:nvSpPr>
      <dsp:spPr>
        <a:xfrm>
          <a:off x="0" y="56"/>
          <a:ext cx="1036915" cy="554338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 smtClean="0">
              <a:solidFill>
                <a:schemeClr val="tx1"/>
              </a:solidFill>
            </a:rPr>
            <a:t>Extração</a:t>
          </a:r>
          <a:endParaRPr lang="pt-BR" sz="1200" b="1" kern="1200" dirty="0">
            <a:solidFill>
              <a:schemeClr val="tx1"/>
            </a:solidFill>
          </a:endParaRPr>
        </a:p>
      </dsp:txBody>
      <dsp:txXfrm>
        <a:off x="27061" y="27117"/>
        <a:ext cx="982793" cy="500216"/>
      </dsp:txXfrm>
    </dsp:sp>
    <dsp:sp modelId="{DDCB8AEB-294C-4338-9A55-226891142FE4}">
      <dsp:nvSpPr>
        <dsp:cNvPr id="0" name=""/>
        <dsp:cNvSpPr/>
      </dsp:nvSpPr>
      <dsp:spPr>
        <a:xfrm rot="5400000">
          <a:off x="1714708" y="-31932"/>
          <a:ext cx="487818" cy="1843404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i="1" kern="1200" dirty="0" smtClean="0"/>
            <a:t>Uso de substancias perigosas</a:t>
          </a:r>
          <a:endParaRPr lang="pt-BR" sz="1200" i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i="1" kern="1200" dirty="0" smtClean="0"/>
            <a:t>“Design for </a:t>
          </a:r>
          <a:r>
            <a:rPr lang="pt-BR" sz="1200" i="1" kern="1200" dirty="0" err="1" smtClean="0"/>
            <a:t>dump</a:t>
          </a:r>
          <a:r>
            <a:rPr lang="pt-BR" sz="1200" i="1" kern="1200" dirty="0" smtClean="0"/>
            <a:t>”</a:t>
          </a:r>
          <a:endParaRPr lang="pt-BR" sz="1200" i="1" kern="1200" dirty="0"/>
        </a:p>
      </dsp:txBody>
      <dsp:txXfrm rot="-5400000">
        <a:off x="1036916" y="669673"/>
        <a:ext cx="1819591" cy="440192"/>
      </dsp:txXfrm>
    </dsp:sp>
    <dsp:sp modelId="{F5C7661D-6900-4B17-A57A-6FC83351CD33}">
      <dsp:nvSpPr>
        <dsp:cNvPr id="0" name=""/>
        <dsp:cNvSpPr/>
      </dsp:nvSpPr>
      <dsp:spPr>
        <a:xfrm>
          <a:off x="0" y="584883"/>
          <a:ext cx="1036915" cy="609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 smtClean="0">
              <a:solidFill>
                <a:schemeClr val="tx1"/>
              </a:solidFill>
            </a:rPr>
            <a:t>Produção</a:t>
          </a:r>
          <a:endParaRPr lang="pt-BR" sz="1200" b="1" kern="1200" dirty="0">
            <a:solidFill>
              <a:schemeClr val="tx1"/>
            </a:solidFill>
          </a:endParaRPr>
        </a:p>
      </dsp:txBody>
      <dsp:txXfrm>
        <a:off x="29767" y="614650"/>
        <a:ext cx="977381" cy="550238"/>
      </dsp:txXfrm>
    </dsp:sp>
    <dsp:sp modelId="{02B5F32F-C6FA-4812-BE8E-03C520F1B5E1}">
      <dsp:nvSpPr>
        <dsp:cNvPr id="0" name=""/>
        <dsp:cNvSpPr/>
      </dsp:nvSpPr>
      <dsp:spPr>
        <a:xfrm rot="5400000">
          <a:off x="1714708" y="608328"/>
          <a:ext cx="487818" cy="1843404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i="1" kern="1200" dirty="0" smtClean="0"/>
            <a:t>Consumo de combustível</a:t>
          </a:r>
          <a:endParaRPr lang="pt-BR" sz="1200" i="1" kern="1200" dirty="0"/>
        </a:p>
      </dsp:txBody>
      <dsp:txXfrm rot="-5400000">
        <a:off x="1036916" y="1309934"/>
        <a:ext cx="1819591" cy="440192"/>
      </dsp:txXfrm>
    </dsp:sp>
    <dsp:sp modelId="{60CEC0BF-C142-4DBC-AFC9-95F4AAA5E39E}">
      <dsp:nvSpPr>
        <dsp:cNvPr id="0" name=""/>
        <dsp:cNvSpPr/>
      </dsp:nvSpPr>
      <dsp:spPr>
        <a:xfrm>
          <a:off x="0" y="1212668"/>
          <a:ext cx="1036915" cy="609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b="1" kern="1200" dirty="0" smtClean="0">
              <a:solidFill>
                <a:schemeClr val="tx1"/>
              </a:solidFill>
            </a:rPr>
            <a:t>Distribuição</a:t>
          </a:r>
          <a:endParaRPr lang="pt-BR" sz="1300" b="1" kern="1200" dirty="0">
            <a:solidFill>
              <a:schemeClr val="tx1"/>
            </a:solidFill>
          </a:endParaRPr>
        </a:p>
      </dsp:txBody>
      <dsp:txXfrm>
        <a:off x="29767" y="1242435"/>
        <a:ext cx="977381" cy="550238"/>
      </dsp:txXfrm>
    </dsp:sp>
    <dsp:sp modelId="{D9E104EC-65EC-498E-AA84-F7767554D27E}">
      <dsp:nvSpPr>
        <dsp:cNvPr id="0" name=""/>
        <dsp:cNvSpPr/>
      </dsp:nvSpPr>
      <dsp:spPr>
        <a:xfrm rot="5400000">
          <a:off x="1714708" y="1248589"/>
          <a:ext cx="487818" cy="1843404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b="0" i="1" kern="1200" dirty="0" smtClean="0"/>
            <a:t> Consumo de energia</a:t>
          </a:r>
          <a:endParaRPr lang="pt-BR" sz="1200" b="0" i="1" kern="1200" dirty="0"/>
        </a:p>
      </dsp:txBody>
      <dsp:txXfrm rot="-5400000">
        <a:off x="1036916" y="1950195"/>
        <a:ext cx="1819591" cy="440192"/>
      </dsp:txXfrm>
    </dsp:sp>
    <dsp:sp modelId="{ADECE130-5968-491E-ABFC-D925B18D5183}">
      <dsp:nvSpPr>
        <dsp:cNvPr id="0" name=""/>
        <dsp:cNvSpPr/>
      </dsp:nvSpPr>
      <dsp:spPr>
        <a:xfrm>
          <a:off x="0" y="1865405"/>
          <a:ext cx="1036915" cy="609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>
              <a:solidFill>
                <a:schemeClr val="tx1"/>
              </a:solidFill>
            </a:rPr>
            <a:t>Uso</a:t>
          </a:r>
          <a:endParaRPr lang="pt-BR" sz="1400" b="1" kern="1200" dirty="0">
            <a:solidFill>
              <a:schemeClr val="tx1"/>
            </a:solidFill>
          </a:endParaRPr>
        </a:p>
      </dsp:txBody>
      <dsp:txXfrm>
        <a:off x="29767" y="1895172"/>
        <a:ext cx="977381" cy="550238"/>
      </dsp:txXfrm>
    </dsp:sp>
    <dsp:sp modelId="{D56BFECC-9A6D-45C3-B673-1B82EBFED60B}">
      <dsp:nvSpPr>
        <dsp:cNvPr id="0" name=""/>
        <dsp:cNvSpPr/>
      </dsp:nvSpPr>
      <dsp:spPr>
        <a:xfrm rot="5400000">
          <a:off x="1620744" y="1920824"/>
          <a:ext cx="671920" cy="1841604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i="1" kern="1200" dirty="0" err="1" smtClean="0"/>
            <a:t>Substâncias</a:t>
          </a:r>
          <a:r>
            <a:rPr lang="en-US" sz="1200" b="0" i="1" kern="1200" dirty="0" smtClean="0"/>
            <a:t> </a:t>
          </a:r>
          <a:r>
            <a:rPr lang="en-US" sz="1200" b="0" i="1" kern="1200" dirty="0" err="1" smtClean="0"/>
            <a:t>perigosas</a:t>
          </a:r>
          <a:r>
            <a:rPr lang="en-US" sz="1200" b="0" i="1" kern="1200" dirty="0" smtClean="0"/>
            <a:t> </a:t>
          </a:r>
          <a:r>
            <a:rPr lang="en-US" sz="1200" b="0" i="1" kern="1200" dirty="0" err="1" smtClean="0"/>
            <a:t>para</a:t>
          </a:r>
          <a:r>
            <a:rPr lang="en-US" sz="1200" b="0" i="1" kern="1200" dirty="0" smtClean="0"/>
            <a:t> </a:t>
          </a:r>
          <a:r>
            <a:rPr lang="en-US" sz="1200" b="0" i="1" kern="1200" dirty="0" err="1" smtClean="0"/>
            <a:t>saúde</a:t>
          </a:r>
          <a:r>
            <a:rPr lang="en-US" sz="1200" b="0" i="1" kern="1200" dirty="0" smtClean="0"/>
            <a:t> e </a:t>
          </a:r>
          <a:r>
            <a:rPr lang="en-US" sz="1200" b="0" i="1" kern="1200" dirty="0" err="1" smtClean="0"/>
            <a:t>meio</a:t>
          </a:r>
          <a:r>
            <a:rPr lang="en-US" sz="1200" b="0" i="1" kern="1200" dirty="0" smtClean="0"/>
            <a:t> </a:t>
          </a:r>
          <a:r>
            <a:rPr lang="en-US" sz="1200" b="0" i="1" kern="1200" dirty="0" err="1" smtClean="0"/>
            <a:t>ambiente</a:t>
          </a:r>
          <a:endParaRPr lang="pt-BR" sz="1200" b="0" i="1" kern="1200" dirty="0"/>
        </a:p>
      </dsp:txBody>
      <dsp:txXfrm rot="-5400000">
        <a:off x="1035902" y="2538466"/>
        <a:ext cx="1808804" cy="606320"/>
      </dsp:txXfrm>
    </dsp:sp>
    <dsp:sp modelId="{D1FFB208-587C-4DED-8BE4-AD1F04B37326}">
      <dsp:nvSpPr>
        <dsp:cNvPr id="0" name=""/>
        <dsp:cNvSpPr/>
      </dsp:nvSpPr>
      <dsp:spPr>
        <a:xfrm>
          <a:off x="0" y="2513185"/>
          <a:ext cx="1035902" cy="609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i="1" kern="1200" dirty="0" smtClean="0">
              <a:solidFill>
                <a:schemeClr val="tx1"/>
              </a:solidFill>
            </a:rPr>
            <a:t>Descarte</a:t>
          </a:r>
          <a:endParaRPr lang="pt-BR" sz="1400" b="1" i="1" kern="1200" dirty="0">
            <a:solidFill>
              <a:schemeClr val="tx1"/>
            </a:solidFill>
          </a:endParaRPr>
        </a:p>
      </dsp:txBody>
      <dsp:txXfrm>
        <a:off x="29767" y="2542952"/>
        <a:ext cx="976368" cy="5502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993A8E-A5A8-4D36-9369-D4CF42048C65}" type="datetimeFigureOut">
              <a:rPr lang="pt-BR" smtClean="0"/>
              <a:pPr/>
              <a:t>02/12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3BBB3E-7DD4-4AFE-956E-5CA3FF456AC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0766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_amare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>
          <a:xfrm>
            <a:off x="7020272" y="5949280"/>
            <a:ext cx="1872208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6021288"/>
            <a:ext cx="1610788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11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2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0" y="0"/>
            <a:ext cx="9144000" cy="1484784"/>
          </a:xfrm>
          <a:prstGeom prst="rect">
            <a:avLst/>
          </a:prstGeom>
          <a:gradFill>
            <a:gsLst>
              <a:gs pos="0">
                <a:srgbClr val="01702C"/>
              </a:gs>
              <a:gs pos="100000">
                <a:srgbClr val="005621"/>
              </a:gs>
              <a:gs pos="100000">
                <a:srgbClr val="FBAF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571184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 smtClean="0"/>
              <a:t>Fonte:</a:t>
            </a:r>
            <a:endParaRPr lang="pt-BR" dirty="0"/>
          </a:p>
        </p:txBody>
      </p:sp>
      <p:sp>
        <p:nvSpPr>
          <p:cNvPr id="13" name="Subtítulo 2"/>
          <p:cNvSpPr>
            <a:spLocks noGrp="1"/>
          </p:cNvSpPr>
          <p:nvPr>
            <p:ph type="subTitle" idx="13" hasCustomPrompt="1"/>
          </p:nvPr>
        </p:nvSpPr>
        <p:spPr>
          <a:xfrm>
            <a:off x="467544" y="980728"/>
            <a:ext cx="8208912" cy="432048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0" y="0"/>
            <a:ext cx="9144000" cy="1484784"/>
          </a:xfrm>
          <a:prstGeom prst="rect">
            <a:avLst/>
          </a:prstGeom>
          <a:gradFill>
            <a:gsLst>
              <a:gs pos="0">
                <a:srgbClr val="43A771"/>
              </a:gs>
              <a:gs pos="100000">
                <a:srgbClr val="468966"/>
              </a:gs>
              <a:gs pos="100000">
                <a:srgbClr val="FBAF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571184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 smtClean="0"/>
              <a:t>Fonte:</a:t>
            </a:r>
            <a:endParaRPr lang="pt-BR" dirty="0"/>
          </a:p>
        </p:txBody>
      </p:sp>
      <p:sp>
        <p:nvSpPr>
          <p:cNvPr id="13" name="Subtítulo 2"/>
          <p:cNvSpPr>
            <a:spLocks noGrp="1"/>
          </p:cNvSpPr>
          <p:nvPr>
            <p:ph type="subTitle" idx="13" hasCustomPrompt="1"/>
          </p:nvPr>
        </p:nvSpPr>
        <p:spPr>
          <a:xfrm>
            <a:off x="467544" y="980728"/>
            <a:ext cx="8208912" cy="432048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da Seção">
    <p:bg>
      <p:bgPr>
        <a:gradFill>
          <a:gsLst>
            <a:gs pos="0">
              <a:schemeClr val="bg1">
                <a:lumMod val="95000"/>
              </a:schemeClr>
            </a:gs>
            <a:gs pos="100000">
              <a:schemeClr val="bg1">
                <a:lumMod val="75000"/>
              </a:schemeClr>
            </a:gs>
            <a:gs pos="100000">
              <a:schemeClr val="bg1">
                <a:lumMod val="5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7544" y="4406900"/>
            <a:ext cx="8027169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apa_ver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  <p:sp>
        <p:nvSpPr>
          <p:cNvPr id="5" name="Retângulo 4"/>
          <p:cNvSpPr/>
          <p:nvPr userDrawn="1"/>
        </p:nvSpPr>
        <p:spPr>
          <a:xfrm>
            <a:off x="7020272" y="5949280"/>
            <a:ext cx="1872208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6021288"/>
            <a:ext cx="1610788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_azul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7092280" y="6021288"/>
            <a:ext cx="1728192" cy="57606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2280" y="6001786"/>
            <a:ext cx="1584176" cy="495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10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capa_bandeir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  <p:sp>
        <p:nvSpPr>
          <p:cNvPr id="5" name="Retângulo 4"/>
          <p:cNvSpPr/>
          <p:nvPr userDrawn="1"/>
        </p:nvSpPr>
        <p:spPr>
          <a:xfrm>
            <a:off x="7020272" y="5949280"/>
            <a:ext cx="1872208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6021288"/>
            <a:ext cx="1610788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capa_bandeir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  <p:sp>
        <p:nvSpPr>
          <p:cNvPr id="5" name="Retângulo 4"/>
          <p:cNvSpPr/>
          <p:nvPr userDrawn="1"/>
        </p:nvSpPr>
        <p:spPr>
          <a:xfrm>
            <a:off x="7020272" y="5949280"/>
            <a:ext cx="1872208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6021288"/>
            <a:ext cx="1610788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capa_bandeir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 dirty="0"/>
          </a:p>
        </p:txBody>
      </p:sp>
      <p:sp>
        <p:nvSpPr>
          <p:cNvPr id="5" name="Retângulo 4"/>
          <p:cNvSpPr/>
          <p:nvPr userDrawn="1"/>
        </p:nvSpPr>
        <p:spPr>
          <a:xfrm>
            <a:off x="7020272" y="5949280"/>
            <a:ext cx="1872208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6021288"/>
            <a:ext cx="1610788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_amar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 userDrawn="1"/>
        </p:nvSpPr>
        <p:spPr>
          <a:xfrm>
            <a:off x="0" y="0"/>
            <a:ext cx="9142413" cy="6858000"/>
          </a:xfrm>
          <a:prstGeom prst="rect">
            <a:avLst/>
          </a:prstGeom>
          <a:gradFill flip="none" rotWithShape="1">
            <a:gsLst>
              <a:gs pos="0">
                <a:srgbClr val="FFCC00">
                  <a:shade val="30000"/>
                  <a:satMod val="115000"/>
                  <a:alpha val="0"/>
                </a:srgbClr>
              </a:gs>
              <a:gs pos="24000">
                <a:srgbClr val="D0AC08">
                  <a:alpha val="29000"/>
                </a:srgbClr>
              </a:gs>
              <a:gs pos="75000">
                <a:srgbClr val="FFCC00">
                  <a:shade val="100000"/>
                  <a:satMod val="115000"/>
                  <a:lumMod val="94000"/>
                  <a:lumOff val="6000"/>
                  <a:alpha val="5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708" y="6021288"/>
            <a:ext cx="1749772" cy="643643"/>
          </a:xfrm>
          <a:prstGeom prst="rect">
            <a:avLst/>
          </a:prstGeom>
        </p:spPr>
      </p:pic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571184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 smtClean="0"/>
              <a:t>Fonte:</a:t>
            </a:r>
            <a:endParaRPr lang="pt-BR" dirty="0"/>
          </a:p>
        </p:txBody>
      </p:sp>
      <p:sp>
        <p:nvSpPr>
          <p:cNvPr id="10" name="Retângulo 9"/>
          <p:cNvSpPr/>
          <p:nvPr userDrawn="1"/>
        </p:nvSpPr>
        <p:spPr>
          <a:xfrm>
            <a:off x="0" y="6761465"/>
            <a:ext cx="9144000" cy="96534"/>
          </a:xfrm>
          <a:prstGeom prst="rect">
            <a:avLst/>
          </a:prstGeom>
          <a:solidFill>
            <a:srgbClr val="005822"/>
          </a:solidFill>
          <a:ln>
            <a:solidFill>
              <a:srgbClr val="0058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 userDrawn="1"/>
        </p:nvSpPr>
        <p:spPr>
          <a:xfrm>
            <a:off x="0" y="0"/>
            <a:ext cx="9144000" cy="836712"/>
          </a:xfrm>
          <a:prstGeom prst="rect">
            <a:avLst/>
          </a:prstGeom>
          <a:gradFill>
            <a:gsLst>
              <a:gs pos="0">
                <a:srgbClr val="FEC739"/>
              </a:gs>
              <a:gs pos="100000">
                <a:srgbClr val="FBAF3F"/>
              </a:gs>
              <a:gs pos="100000">
                <a:srgbClr val="FBAF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65311"/>
            <a:ext cx="8229600" cy="706090"/>
          </a:xfrm>
        </p:spPr>
        <p:txBody>
          <a:bodyPr/>
          <a:lstStyle>
            <a:lvl1pPr algn="l">
              <a:defRPr sz="3200" b="1">
                <a:solidFill>
                  <a:srgbClr val="005822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14" name="Título 1"/>
          <p:cNvSpPr txBox="1">
            <a:spLocks/>
          </p:cNvSpPr>
          <p:nvPr userDrawn="1"/>
        </p:nvSpPr>
        <p:spPr>
          <a:xfrm>
            <a:off x="6732240" y="116632"/>
            <a:ext cx="2180928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pt-BR" sz="18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0" y="0"/>
            <a:ext cx="9144000" cy="1484784"/>
          </a:xfrm>
          <a:prstGeom prst="rect">
            <a:avLst/>
          </a:prstGeom>
          <a:gradFill>
            <a:gsLst>
              <a:gs pos="0">
                <a:srgbClr val="0C3761"/>
              </a:gs>
              <a:gs pos="100000">
                <a:srgbClr val="07203F"/>
              </a:gs>
              <a:gs pos="100000">
                <a:srgbClr val="FBAF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571184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 smtClean="0"/>
              <a:t>Fonte:</a:t>
            </a:r>
            <a:endParaRPr lang="pt-BR" dirty="0"/>
          </a:p>
        </p:txBody>
      </p:sp>
      <p:sp>
        <p:nvSpPr>
          <p:cNvPr id="13" name="Subtítulo 2"/>
          <p:cNvSpPr>
            <a:spLocks noGrp="1"/>
          </p:cNvSpPr>
          <p:nvPr>
            <p:ph type="subTitle" idx="13" hasCustomPrompt="1"/>
          </p:nvPr>
        </p:nvSpPr>
        <p:spPr>
          <a:xfrm>
            <a:off x="467544" y="980728"/>
            <a:ext cx="8208912" cy="432048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0" y="0"/>
            <a:ext cx="9144000" cy="1484784"/>
          </a:xfrm>
          <a:prstGeom prst="rect">
            <a:avLst/>
          </a:prstGeom>
          <a:gradFill>
            <a:gsLst>
              <a:gs pos="0">
                <a:srgbClr val="0468D8"/>
              </a:gs>
              <a:gs pos="100000">
                <a:srgbClr val="044191"/>
              </a:gs>
              <a:gs pos="100000">
                <a:srgbClr val="FBAF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571184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 smtClean="0"/>
              <a:t>Fonte:</a:t>
            </a:r>
            <a:endParaRPr lang="pt-BR" dirty="0"/>
          </a:p>
        </p:txBody>
      </p:sp>
      <p:sp>
        <p:nvSpPr>
          <p:cNvPr id="13" name="Subtítulo 2"/>
          <p:cNvSpPr>
            <a:spLocks noGrp="1"/>
          </p:cNvSpPr>
          <p:nvPr>
            <p:ph type="subTitle" idx="13" hasCustomPrompt="1"/>
          </p:nvPr>
        </p:nvSpPr>
        <p:spPr>
          <a:xfrm>
            <a:off x="467544" y="980728"/>
            <a:ext cx="8208912" cy="432048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Subtítulo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3C0813-B06C-4BB0-A76E-286B1ED9E806}" type="datetimeFigureOut">
              <a:rPr lang="pt-BR" smtClean="0"/>
              <a:pPr/>
              <a:t>02/12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DBA7D7-0ECD-48F9-B3D5-ACB05BD10D95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4" r:id="rId4"/>
    <p:sldLayoutId id="2147483665" r:id="rId5"/>
    <p:sldLayoutId id="2147483666" r:id="rId6"/>
    <p:sldLayoutId id="2147483650" r:id="rId7"/>
    <p:sldLayoutId id="2147483662" r:id="rId8"/>
    <p:sldLayoutId id="2147483667" r:id="rId9"/>
    <p:sldLayoutId id="2147483668" r:id="rId10"/>
    <p:sldLayoutId id="2147483663" r:id="rId11"/>
    <p:sldLayoutId id="214748365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4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image" Target="../media/image15.jpeg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Relationship Id="rId1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10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 bwMode="auto">
          <a:xfrm>
            <a:off x="107504" y="-17140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000" b="1" dirty="0" smtClean="0">
                <a:latin typeface="Zurich Light Condensed"/>
              </a:rPr>
              <a:t>A PNRS E A INDÚSTRIA</a:t>
            </a:r>
            <a:endParaRPr lang="pt-BR" sz="4000" dirty="0">
              <a:latin typeface="Zurich Light Condensed"/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0" y="836712"/>
            <a:ext cx="9144000" cy="3816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0582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 smtClean="0">
                <a:latin typeface="Zurich Light Condensed"/>
              </a:rPr>
              <a:t/>
            </a:r>
            <a:br>
              <a:rPr lang="pt-BR" sz="3600" dirty="0" smtClean="0">
                <a:latin typeface="Zurich Light Condensed"/>
              </a:rPr>
            </a:br>
            <a:r>
              <a:rPr lang="pt-BR" sz="3600" dirty="0" smtClean="0">
                <a:solidFill>
                  <a:schemeClr val="tx1"/>
                </a:solidFill>
                <a:latin typeface="Zurich Light Condensed"/>
              </a:rPr>
              <a:t>AUDIÊNCIA PÚBLICA </a:t>
            </a:r>
          </a:p>
          <a:p>
            <a:pPr algn="ctr"/>
            <a:r>
              <a:rPr lang="pt-BR" sz="3600" dirty="0" smtClean="0">
                <a:solidFill>
                  <a:schemeClr val="tx1"/>
                </a:solidFill>
                <a:latin typeface="Zurich Light Condensed"/>
              </a:rPr>
              <a:t>CÂMARA DOS DEPUTADOS</a:t>
            </a:r>
            <a:r>
              <a:rPr lang="pt-BR" sz="3600" dirty="0" smtClean="0">
                <a:latin typeface="Zurich Light Condensed"/>
              </a:rPr>
              <a:t/>
            </a:r>
            <a:br>
              <a:rPr lang="pt-BR" sz="3600" dirty="0" smtClean="0">
                <a:latin typeface="Zurich Light Condensed"/>
              </a:rPr>
            </a:br>
            <a:endParaRPr lang="pt-BR" sz="3600" dirty="0">
              <a:latin typeface="Zurich Light Condensed"/>
              <a:cs typeface="Times New Roman" pitchFamily="18" charset="0"/>
            </a:endParaRPr>
          </a:p>
        </p:txBody>
      </p:sp>
      <p:sp>
        <p:nvSpPr>
          <p:cNvPr id="9" name="Subtítulo 1"/>
          <p:cNvSpPr txBox="1">
            <a:spLocks/>
          </p:cNvSpPr>
          <p:nvPr/>
        </p:nvSpPr>
        <p:spPr>
          <a:xfrm>
            <a:off x="899592" y="4221088"/>
            <a:ext cx="7776864" cy="769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b="1" dirty="0" smtClean="0">
                <a:solidFill>
                  <a:schemeClr val="tx1"/>
                </a:solidFill>
                <a:latin typeface="Zurich Light Condensed"/>
              </a:rPr>
              <a:t>Brasília, 3 de dezembro de 2015</a:t>
            </a:r>
            <a:endParaRPr lang="pt-BR" b="1" dirty="0">
              <a:solidFill>
                <a:schemeClr val="tx1"/>
              </a:solidFill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43694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34"/>
          <p:cNvSpPr txBox="1">
            <a:spLocks/>
          </p:cNvSpPr>
          <p:nvPr/>
        </p:nvSpPr>
        <p:spPr>
          <a:xfrm>
            <a:off x="63137" y="-31898"/>
            <a:ext cx="8915400" cy="92928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2800" b="1" dirty="0" smtClean="0">
                <a:latin typeface="Zurich Light Condensed"/>
                <a:cs typeface="Arial"/>
              </a:rPr>
              <a:t>ASPECTOS AMBIENTAIS DO CICLO DE VIDA DOS ELETROELETRÔNICOS</a:t>
            </a:r>
          </a:p>
        </p:txBody>
      </p:sp>
      <p:pic>
        <p:nvPicPr>
          <p:cNvPr id="4" name="Picture 10" descr="http://thewip.net/contributors/ban_guiy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96" y="929284"/>
            <a:ext cx="3713560" cy="402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ângulo 18"/>
          <p:cNvSpPr>
            <a:spLocks noChangeArrowheads="1"/>
          </p:cNvSpPr>
          <p:nvPr/>
        </p:nvSpPr>
        <p:spPr bwMode="auto">
          <a:xfrm>
            <a:off x="63137" y="4987611"/>
            <a:ext cx="3709190" cy="12003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pt-BR" dirty="0">
                <a:latin typeface="Calibri" pitchFamily="34" charset="0"/>
                <a:cs typeface="Arial" charset="0"/>
              </a:rPr>
              <a:t>50 milhões de toneladas/ </a:t>
            </a:r>
            <a:r>
              <a:rPr lang="pt-BR" dirty="0" smtClean="0">
                <a:latin typeface="Calibri" pitchFamily="34" charset="0"/>
                <a:cs typeface="Arial" charset="0"/>
              </a:rPr>
              <a:t>ano</a:t>
            </a:r>
          </a:p>
          <a:p>
            <a:pPr algn="r" eaLnBrk="0" hangingPunct="0">
              <a:defRPr/>
            </a:pPr>
            <a:r>
              <a:rPr lang="pt-BR" dirty="0" smtClean="0">
                <a:latin typeface="Calibri" pitchFamily="34" charset="0"/>
                <a:cs typeface="Arial" charset="0"/>
              </a:rPr>
              <a:t>No Brasil são 900 toneladas/ano </a:t>
            </a:r>
            <a:endParaRPr lang="pt-BR" dirty="0">
              <a:latin typeface="Calibri" pitchFamily="34" charset="0"/>
              <a:cs typeface="Arial" charset="0"/>
            </a:endParaRPr>
          </a:p>
          <a:p>
            <a:pPr algn="r" eaLnBrk="0" hangingPunct="0">
              <a:defRPr/>
            </a:pPr>
            <a:r>
              <a:rPr lang="pt-BR" dirty="0">
                <a:latin typeface="Calibri" pitchFamily="34" charset="0"/>
                <a:cs typeface="Arial" charset="0"/>
              </a:rPr>
              <a:t>5% de todo o resíduo produzido no mundo</a:t>
            </a:r>
          </a:p>
        </p:txBody>
      </p:sp>
      <p:sp>
        <p:nvSpPr>
          <p:cNvPr id="6" name="Retângulo 5"/>
          <p:cNvSpPr/>
          <p:nvPr/>
        </p:nvSpPr>
        <p:spPr>
          <a:xfrm rot="19681195">
            <a:off x="3795676" y="2964746"/>
            <a:ext cx="4905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400" b="1" i="1" dirty="0" smtClean="0">
                <a:cs typeface="Arial" charset="0"/>
              </a:rPr>
              <a:t>RESÍDUOS ELETRÔNICOS NO MUNDO</a:t>
            </a:r>
            <a:endParaRPr lang="pt-BR" sz="2400" b="1" i="1" dirty="0">
              <a:cs typeface="Arial" charset="0"/>
            </a:endParaRPr>
          </a:p>
        </p:txBody>
      </p:sp>
      <p:sp>
        <p:nvSpPr>
          <p:cNvPr id="7" name="CaixaDeTexto 6"/>
          <p:cNvSpPr txBox="1"/>
          <p:nvPr/>
        </p:nvSpPr>
        <p:spPr bwMode="auto">
          <a:xfrm>
            <a:off x="251520" y="6187940"/>
            <a:ext cx="2052228" cy="33855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>
              <a:defRPr/>
            </a:pPr>
            <a:r>
              <a:rPr lang="pt-BR" sz="1600" b="1" i="1" dirty="0" err="1">
                <a:solidFill>
                  <a:schemeClr val="tx1"/>
                </a:solidFill>
              </a:rPr>
              <a:t>Source</a:t>
            </a:r>
            <a:r>
              <a:rPr lang="pt-BR" sz="1600" b="1" i="1" dirty="0">
                <a:solidFill>
                  <a:schemeClr val="tx1"/>
                </a:solidFill>
              </a:rPr>
              <a:t>: </a:t>
            </a:r>
            <a:r>
              <a:rPr lang="pt-BR" sz="1600" b="1" i="1" dirty="0" smtClean="0">
                <a:solidFill>
                  <a:schemeClr val="tx1"/>
                </a:solidFill>
              </a:rPr>
              <a:t>UNEP, ABDI </a:t>
            </a:r>
            <a:endParaRPr lang="pt-BR" sz="1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68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34"/>
          <p:cNvSpPr txBox="1">
            <a:spLocks/>
          </p:cNvSpPr>
          <p:nvPr/>
        </p:nvSpPr>
        <p:spPr>
          <a:xfrm>
            <a:off x="61081" y="-315416"/>
            <a:ext cx="8915400" cy="792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endParaRPr lang="pt-BR" sz="4000" dirty="0" smtClean="0">
              <a:latin typeface="Zurich Light Condensed"/>
              <a:cs typeface="Times New Roman" pitchFamily="18" charset="0"/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3600" b="1" dirty="0" smtClean="0">
                <a:latin typeface="Zurich Light Condensed"/>
                <a:cs typeface="Times New Roman" pitchFamily="18" charset="0"/>
              </a:rPr>
              <a:t>GERAÇÃO REEE</a:t>
            </a:r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12" y="860941"/>
            <a:ext cx="6983760" cy="4634253"/>
          </a:xfrm>
          <a:prstGeom prst="rect">
            <a:avLst/>
          </a:prstGeom>
        </p:spPr>
      </p:pic>
      <p:sp>
        <p:nvSpPr>
          <p:cNvPr id="5" name="Retângulo 49"/>
          <p:cNvSpPr/>
          <p:nvPr/>
        </p:nvSpPr>
        <p:spPr bwMode="auto">
          <a:xfrm>
            <a:off x="7199158" y="1101172"/>
            <a:ext cx="1847791" cy="40324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spcBef>
                <a:spcPts val="200"/>
              </a:spcBef>
              <a:spcAft>
                <a:spcPts val="100"/>
              </a:spcAft>
              <a:buClr>
                <a:srgbClr val="009999"/>
              </a:buClr>
              <a:buSzPct val="100000"/>
              <a:tabLst/>
            </a:pPr>
            <a:r>
              <a:rPr kumimoji="0" lang="pt-BR" sz="1400" b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Zurich Light Condensed"/>
              </a:rPr>
              <a:t>PREMISSAS</a:t>
            </a:r>
            <a:endParaRPr lang="pt-BR" sz="1400" dirty="0" smtClean="0">
              <a:solidFill>
                <a:schemeClr val="tx1"/>
              </a:solidFill>
              <a:latin typeface="+mj-lt"/>
              <a:cs typeface="Zurich Light Condensed"/>
            </a:endParaRPr>
          </a:p>
          <a:p>
            <a:pPr marL="285750" indent="-285750" eaLnBrk="0" hangingPunct="0">
              <a:spcBef>
                <a:spcPts val="200"/>
              </a:spcBef>
              <a:spcAft>
                <a:spcPts val="100"/>
              </a:spcAft>
              <a:buClr>
                <a:srgbClr val="009999"/>
              </a:buClr>
              <a:buSzPct val="100000"/>
              <a:buFont typeface="Wingdings" pitchFamily="2" charset="2"/>
              <a:buChar char="Ø"/>
            </a:pPr>
            <a:r>
              <a:rPr lang="pt-BR" sz="1400" dirty="0">
                <a:solidFill>
                  <a:schemeClr val="tx1"/>
                </a:solidFill>
                <a:latin typeface="+mj-lt"/>
                <a:cs typeface="Zurich Light Condensed"/>
              </a:rPr>
              <a:t>Volume potencial calculado a partir de informações de </a:t>
            </a:r>
            <a:r>
              <a:rPr lang="pt-BR" sz="1400" dirty="0" smtClean="0">
                <a:solidFill>
                  <a:schemeClr val="tx1"/>
                </a:solidFill>
                <a:latin typeface="+mj-lt"/>
                <a:cs typeface="Zurich Light Condensed"/>
              </a:rPr>
              <a:t>vendas e importações.</a:t>
            </a:r>
            <a:endParaRPr lang="pt-BR" sz="1400" dirty="0">
              <a:solidFill>
                <a:schemeClr val="tx1"/>
              </a:solidFill>
              <a:latin typeface="+mj-lt"/>
              <a:cs typeface="Zurich Light Condensed"/>
            </a:endParaRPr>
          </a:p>
          <a:p>
            <a:pPr marL="285750" indent="-285750" eaLnBrk="0" hangingPunct="0">
              <a:spcBef>
                <a:spcPts val="200"/>
              </a:spcBef>
              <a:spcAft>
                <a:spcPts val="100"/>
              </a:spcAft>
              <a:buClr>
                <a:srgbClr val="009999"/>
              </a:buClr>
              <a:buSzPct val="100000"/>
              <a:buFont typeface="Wingdings" pitchFamily="2" charset="2"/>
              <a:buChar char="Ø"/>
            </a:pPr>
            <a:r>
              <a:rPr lang="pt-BR" sz="1400" dirty="0">
                <a:solidFill>
                  <a:schemeClr val="tx1"/>
                </a:solidFill>
                <a:latin typeface="+mj-lt"/>
                <a:cs typeface="Zurich Light Condensed"/>
              </a:rPr>
              <a:t>Estimativa de peso médio e vida útil dos equipamentos sem variações ao longo do tempo</a:t>
            </a:r>
          </a:p>
          <a:p>
            <a:pPr marL="285750" indent="-285750" eaLnBrk="0" hangingPunct="0">
              <a:spcBef>
                <a:spcPts val="200"/>
              </a:spcBef>
              <a:spcAft>
                <a:spcPts val="100"/>
              </a:spcAft>
              <a:buClr>
                <a:srgbClr val="009999"/>
              </a:buClr>
              <a:buSzPct val="100000"/>
              <a:buFont typeface="Wingdings" pitchFamily="2" charset="2"/>
              <a:buChar char="Ø"/>
            </a:pPr>
            <a:r>
              <a:rPr lang="pt-BR" sz="1400" dirty="0">
                <a:solidFill>
                  <a:schemeClr val="tx1"/>
                </a:solidFill>
                <a:latin typeface="+mj-lt"/>
                <a:cs typeface="Zurich Light Condensed"/>
              </a:rPr>
              <a:t>Considera </a:t>
            </a:r>
            <a:r>
              <a:rPr lang="pt-BR" sz="1400" dirty="0" smtClean="0">
                <a:solidFill>
                  <a:schemeClr val="tx1"/>
                </a:solidFill>
                <a:latin typeface="+mj-lt"/>
                <a:cs typeface="Zurich Light Condensed"/>
              </a:rPr>
              <a:t>o </a:t>
            </a:r>
            <a:r>
              <a:rPr lang="pt-BR" sz="1400" dirty="0">
                <a:solidFill>
                  <a:schemeClr val="tx1"/>
                </a:solidFill>
                <a:latin typeface="+mj-lt"/>
                <a:cs typeface="Zurich Light Condensed"/>
              </a:rPr>
              <a:t>potencial </a:t>
            </a:r>
            <a:r>
              <a:rPr lang="pt-BR" sz="1400" dirty="0" smtClean="0">
                <a:solidFill>
                  <a:schemeClr val="tx1"/>
                </a:solidFill>
                <a:latin typeface="+mj-lt"/>
                <a:cs typeface="Zurich Light Condensed"/>
              </a:rPr>
              <a:t>do mercado cinza.</a:t>
            </a:r>
            <a:endParaRPr lang="pt-BR" sz="1400" dirty="0">
              <a:solidFill>
                <a:schemeClr val="tx1"/>
              </a:solidFill>
              <a:latin typeface="+mj-lt"/>
              <a:cs typeface="Zurich Light Condensed"/>
            </a:endParaRPr>
          </a:p>
          <a:p>
            <a:pPr marL="285750" indent="-285750" eaLnBrk="0" hangingPunct="0">
              <a:spcBef>
                <a:spcPts val="200"/>
              </a:spcBef>
              <a:spcAft>
                <a:spcPts val="100"/>
              </a:spcAft>
              <a:buClr>
                <a:srgbClr val="009999"/>
              </a:buClr>
              <a:buSzPct val="100000"/>
              <a:buFont typeface="Wingdings" pitchFamily="2" charset="2"/>
              <a:buChar char="Ø"/>
            </a:pPr>
            <a:r>
              <a:rPr lang="pt-BR" sz="1400" dirty="0">
                <a:solidFill>
                  <a:schemeClr val="tx1"/>
                </a:solidFill>
                <a:latin typeface="+mj-lt"/>
                <a:cs typeface="Zurich Light Condensed"/>
              </a:rPr>
              <a:t>Não inclui potencial estoque de </a:t>
            </a:r>
            <a:r>
              <a:rPr lang="pt-BR" sz="1400" dirty="0" smtClean="0">
                <a:solidFill>
                  <a:schemeClr val="tx1"/>
                </a:solidFill>
                <a:latin typeface="+mj-lt"/>
                <a:cs typeface="Zurich Light Condensed"/>
              </a:rPr>
              <a:t>REEE em mãos dos consumidores.</a:t>
            </a:r>
            <a:endParaRPr lang="pt-BR" sz="1400" dirty="0">
              <a:solidFill>
                <a:schemeClr val="tx1"/>
              </a:solidFill>
              <a:latin typeface="+mj-lt"/>
              <a:cs typeface="Zurich Light Condensed"/>
            </a:endParaRPr>
          </a:p>
        </p:txBody>
      </p:sp>
      <p:sp>
        <p:nvSpPr>
          <p:cNvPr id="6" name="CaixaDeTexto 11"/>
          <p:cNvSpPr txBox="1"/>
          <p:nvPr/>
        </p:nvSpPr>
        <p:spPr>
          <a:xfrm>
            <a:off x="149232" y="5495194"/>
            <a:ext cx="12241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err="1" smtClean="0"/>
              <a:t>Source</a:t>
            </a:r>
            <a:r>
              <a:rPr lang="pt-BR" sz="1200" b="1" dirty="0" smtClean="0">
                <a:solidFill>
                  <a:schemeClr val="tx1"/>
                </a:solidFill>
              </a:rPr>
              <a:t>: </a:t>
            </a:r>
            <a:r>
              <a:rPr lang="pt-BR" sz="1200" b="1" dirty="0" err="1" smtClean="0">
                <a:solidFill>
                  <a:schemeClr val="tx1"/>
                </a:solidFill>
              </a:rPr>
              <a:t>Inventta</a:t>
            </a:r>
            <a:endParaRPr lang="pt-B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09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9" descr="C:\Documents and Settings\Daniela Moraes\Configurações locais\Temp\Ciclo_Frase.jpg"/>
          <p:cNvPicPr>
            <a:picLocks noChangeAspect="1" noChangeArrowheads="1"/>
          </p:cNvPicPr>
          <p:nvPr/>
        </p:nvPicPr>
        <p:blipFill>
          <a:blip r:embed="rId3" cstate="print"/>
          <a:srcRect t="16466" b="10393"/>
          <a:stretch>
            <a:fillRect/>
          </a:stretch>
        </p:blipFill>
        <p:spPr bwMode="auto">
          <a:xfrm>
            <a:off x="2056322" y="1268760"/>
            <a:ext cx="6853762" cy="415924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4" name="CaixaDeTexto 25"/>
          <p:cNvSpPr txBox="1">
            <a:spLocks noChangeArrowheads="1"/>
          </p:cNvSpPr>
          <p:nvPr/>
        </p:nvSpPr>
        <p:spPr bwMode="auto">
          <a:xfrm>
            <a:off x="395536" y="1279944"/>
            <a:ext cx="1584176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1400" b="1" dirty="0" smtClean="0">
                <a:solidFill>
                  <a:prstClr val="black"/>
                </a:solidFill>
                <a:latin typeface="Calibri" pitchFamily="34" charset="0"/>
              </a:rPr>
              <a:t>novos processo para agregar valor a cadeia de suprimentos brasileira</a:t>
            </a:r>
            <a:endParaRPr lang="pt-BR" sz="14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119527133"/>
              </p:ext>
            </p:extLst>
          </p:nvPr>
        </p:nvGraphicFramePr>
        <p:xfrm>
          <a:off x="483039" y="2613005"/>
          <a:ext cx="1566174" cy="28706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ítulo 34"/>
          <p:cNvSpPr txBox="1">
            <a:spLocks/>
          </p:cNvSpPr>
          <p:nvPr/>
        </p:nvSpPr>
        <p:spPr>
          <a:xfrm>
            <a:off x="217015" y="-92571"/>
            <a:ext cx="8915400" cy="1001291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2800" b="1" dirty="0" smtClean="0">
                <a:solidFill>
                  <a:prstClr val="black"/>
                </a:solidFill>
                <a:latin typeface="Zurich Light Condensed"/>
                <a:cs typeface="Arial"/>
              </a:rPr>
              <a:t>ASPECTOS AMBIENTAIS DO CICLO DE VIDA DOS ELETROELETRÔNICOS</a:t>
            </a:r>
          </a:p>
        </p:txBody>
      </p:sp>
      <p:sp>
        <p:nvSpPr>
          <p:cNvPr id="7" name="Retângulo 6"/>
          <p:cNvSpPr/>
          <p:nvPr/>
        </p:nvSpPr>
        <p:spPr>
          <a:xfrm>
            <a:off x="2987837" y="818279"/>
            <a:ext cx="50405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400" b="1" dirty="0" smtClean="0">
                <a:solidFill>
                  <a:prstClr val="black"/>
                </a:solidFill>
                <a:cs typeface="Arial" charset="0"/>
              </a:rPr>
              <a:t>MUDANÇAS NO MODELO INDUSTRIAL</a:t>
            </a:r>
            <a:endParaRPr lang="pt-BR" sz="2400" b="1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036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34"/>
          <p:cNvSpPr txBox="1">
            <a:spLocks/>
          </p:cNvSpPr>
          <p:nvPr/>
        </p:nvSpPr>
        <p:spPr>
          <a:xfrm>
            <a:off x="86106" y="-38456"/>
            <a:ext cx="8915400" cy="1001291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2800" b="1" dirty="0" smtClean="0">
                <a:latin typeface="Zurich Light Condensed"/>
                <a:cs typeface="Arial"/>
              </a:rPr>
              <a:t>ASPECTOS AMBIENTAIS DO CICLO DE VIDA DOS ELETROELETRÔNICOS</a:t>
            </a:r>
          </a:p>
        </p:txBody>
      </p:sp>
      <p:pic>
        <p:nvPicPr>
          <p:cNvPr id="4" name="Picture 20" descr="http://jeffhottinger.com/blog/wordpress/wp-content/uploads/2007/12/story-of-stuff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584" y="1722487"/>
            <a:ext cx="4932512" cy="271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ângulo 6"/>
          <p:cNvSpPr>
            <a:spLocks noChangeArrowheads="1"/>
          </p:cNvSpPr>
          <p:nvPr/>
        </p:nvSpPr>
        <p:spPr bwMode="auto">
          <a:xfrm>
            <a:off x="1043608" y="1043444"/>
            <a:ext cx="3816424" cy="369332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perspectiveAbove"/>
              <a:lightRig rig="threePt" dir="t"/>
            </a:scene3d>
          </a:bodyPr>
          <a:lstStyle/>
          <a:p>
            <a:pPr algn="ctr">
              <a:defRPr/>
            </a:pPr>
            <a:r>
              <a:rPr lang="pt-BR" b="1" dirty="0" smtClean="0">
                <a:latin typeface="Bradley Hand ITC" pitchFamily="66" charset="0"/>
              </a:rPr>
              <a:t>EXTRAI-FAZ-DESCARTA</a:t>
            </a:r>
            <a:endParaRPr lang="en-US" b="1" dirty="0">
              <a:latin typeface="Bradley Hand ITC" pitchFamily="66" charset="0"/>
            </a:endParaRPr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546684596"/>
              </p:ext>
            </p:extLst>
          </p:nvPr>
        </p:nvGraphicFramePr>
        <p:xfrm>
          <a:off x="514347" y="4659406"/>
          <a:ext cx="4921749" cy="7858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1570775410"/>
              </p:ext>
            </p:extLst>
          </p:nvPr>
        </p:nvGraphicFramePr>
        <p:xfrm>
          <a:off x="5868144" y="1170760"/>
          <a:ext cx="2880320" cy="3177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895204"/>
            <a:ext cx="50292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70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0" r="14740"/>
          <a:stretch>
            <a:fillRect/>
          </a:stretch>
        </p:blipFill>
        <p:spPr bwMode="auto">
          <a:xfrm>
            <a:off x="251520" y="836712"/>
            <a:ext cx="5252024" cy="5157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2"/>
          <p:cNvSpPr>
            <a:spLocks noChangeArrowheads="1"/>
          </p:cNvSpPr>
          <p:nvPr/>
        </p:nvSpPr>
        <p:spPr bwMode="auto">
          <a:xfrm rot="19775137">
            <a:off x="5228170" y="2098164"/>
            <a:ext cx="385840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2000" b="1" i="1" dirty="0" smtClean="0"/>
              <a:t>AVALIAÇÃO DO CICLO DE VIDA        E ECODESIGN</a:t>
            </a:r>
            <a:endParaRPr lang="pt-BR" sz="2000" b="1" i="1" dirty="0"/>
          </a:p>
        </p:txBody>
      </p:sp>
      <p:sp>
        <p:nvSpPr>
          <p:cNvPr id="5" name="Título 34"/>
          <p:cNvSpPr txBox="1">
            <a:spLocks/>
          </p:cNvSpPr>
          <p:nvPr/>
        </p:nvSpPr>
        <p:spPr>
          <a:xfrm>
            <a:off x="92615" y="-30068"/>
            <a:ext cx="8915400" cy="1001291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3200" b="1" dirty="0" smtClean="0">
                <a:latin typeface="Zurich Light Condensed"/>
                <a:cs typeface="Arial"/>
              </a:rPr>
              <a:t>TECNOLOGIAS PARA SUSTENTABILIDADE</a:t>
            </a:r>
          </a:p>
        </p:txBody>
      </p:sp>
    </p:spTree>
    <p:extLst>
      <p:ext uri="{BB962C8B-B14F-4D97-AF65-F5344CB8AC3E}">
        <p14:creationId xmlns:p14="http://schemas.microsoft.com/office/powerpoint/2010/main" val="2284651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97" y="908720"/>
            <a:ext cx="9112101" cy="456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67544" y="-1714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CICLO DE VIDA EE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1720687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439241" y="-1714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VIDA ÚTIL DE EE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61237"/>
            <a:ext cx="9144000" cy="4561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8452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475245" y="-1714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VIDA ÚTIL DE EE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1803"/>
            <a:ext cx="9144000" cy="457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4412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467544" y="-99392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M E R C A D O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67544" y="1141847"/>
            <a:ext cx="8003232" cy="4353347"/>
          </a:xfrm>
        </p:spPr>
        <p:txBody>
          <a:bodyPr/>
          <a:lstStyle/>
          <a:p>
            <a:pPr algn="just"/>
            <a:r>
              <a:rPr lang="pt-BR" sz="2400" dirty="0">
                <a:solidFill>
                  <a:schemeClr val="tx1"/>
                </a:solidFill>
              </a:rPr>
              <a:t>O crescimento rápido </a:t>
            </a:r>
            <a:r>
              <a:rPr lang="pt-BR" sz="2400" dirty="0" smtClean="0">
                <a:solidFill>
                  <a:schemeClr val="tx1"/>
                </a:solidFill>
              </a:rPr>
              <a:t>do consumo de EE no Brasil nos últimos anos </a:t>
            </a:r>
            <a:r>
              <a:rPr lang="pt-BR" sz="2400" dirty="0">
                <a:solidFill>
                  <a:schemeClr val="tx1"/>
                </a:solidFill>
              </a:rPr>
              <a:t>juntamente com os novos requisitos legais para a gestão de resíduos significa que há uma oportunidade de investimento significativo na gestão de diferentes segmentos da cadeia de  resíduos no Brasil. </a:t>
            </a:r>
            <a:endParaRPr lang="pt-BR" sz="2400" dirty="0" smtClean="0">
              <a:solidFill>
                <a:schemeClr val="tx1"/>
              </a:solidFill>
            </a:endParaRPr>
          </a:p>
          <a:p>
            <a:pPr algn="just"/>
            <a:endParaRPr lang="pt-BR" sz="2400" dirty="0">
              <a:solidFill>
                <a:schemeClr val="tx1"/>
              </a:solidFill>
            </a:endParaRPr>
          </a:p>
          <a:p>
            <a:pPr algn="just"/>
            <a:r>
              <a:rPr lang="pt-BR" sz="2400" dirty="0">
                <a:solidFill>
                  <a:schemeClr val="tx1"/>
                </a:solidFill>
              </a:rPr>
              <a:t>Serão necessários investimentos de mais de US$ 10 bilhões na próxima década para atender a demanda por infraestrutura. </a:t>
            </a:r>
          </a:p>
          <a:p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02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33879" y="-171400"/>
            <a:ext cx="9144000" cy="1143000"/>
          </a:xfrm>
        </p:spPr>
        <p:txBody>
          <a:bodyPr>
            <a:normAutofit/>
          </a:bodyPr>
          <a:lstStyle/>
          <a:p>
            <a:pPr algn="ctr">
              <a:tabLst>
                <a:tab pos="712788" algn="l"/>
              </a:tabLst>
            </a:pPr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EDITAL :  ABRANGÊNCIA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  <p:sp>
        <p:nvSpPr>
          <p:cNvPr id="4" name="Espaço Reservado para Conteúdo 4"/>
          <p:cNvSpPr>
            <a:spLocks noGrp="1"/>
          </p:cNvSpPr>
          <p:nvPr>
            <p:ph idx="1"/>
          </p:nvPr>
        </p:nvSpPr>
        <p:spPr>
          <a:xfrm>
            <a:off x="467544" y="1124744"/>
            <a:ext cx="8229600" cy="4525963"/>
          </a:xfrm>
        </p:spPr>
        <p:txBody>
          <a:bodyPr/>
          <a:lstStyle/>
          <a:p>
            <a:pPr algn="just"/>
            <a:r>
              <a:rPr lang="pt-BR" sz="2400" dirty="0" smtClean="0">
                <a:solidFill>
                  <a:schemeClr val="tx1"/>
                </a:solidFill>
                <a:latin typeface="+mj-lt"/>
              </a:rPr>
              <a:t>Os resíduos objeto da proposta de Acordo Setorial são aqueles oriundos de produtos eletroeletrônicos de uso doméstico e seus componentes cujo adequado funcionamento depende de correntes elétricas com tensão nominal não superior a 220 volts. </a:t>
            </a:r>
          </a:p>
          <a:p>
            <a:pPr algn="just"/>
            <a:endParaRPr lang="pt-BR" sz="2400" dirty="0" smtClean="0">
              <a:solidFill>
                <a:schemeClr val="tx1"/>
              </a:solidFill>
              <a:latin typeface="+mj-lt"/>
            </a:endParaRPr>
          </a:p>
          <a:p>
            <a:pPr algn="just"/>
            <a:r>
              <a:rPr lang="pt-BR" sz="2400" dirty="0" smtClean="0">
                <a:solidFill>
                  <a:schemeClr val="tx1"/>
                </a:solidFill>
                <a:latin typeface="+mj-lt"/>
              </a:rPr>
              <a:t>Os resíduos dos produtos eletroeletrônicos referidos no item 2.1 não abrangem aqueles de origem, uso e/ou aplicação em serviços de saúde</a:t>
            </a:r>
            <a:r>
              <a:rPr lang="pt-BR" sz="2400" dirty="0" smtClean="0">
                <a:latin typeface="+mj-lt"/>
              </a:rPr>
              <a:t>. </a:t>
            </a:r>
          </a:p>
          <a:p>
            <a:pPr marL="342900" lvl="2" indent="-342900" algn="just">
              <a:tabLst>
                <a:tab pos="712788" algn="l"/>
              </a:tabLst>
            </a:pPr>
            <a:endParaRPr lang="pt-BR" sz="2200" b="1" dirty="0" smtClean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64800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 noGrp="1"/>
          </p:cNvSpPr>
          <p:nvPr>
            <p:ph type="title"/>
          </p:nvPr>
        </p:nvSpPr>
        <p:spPr bwMode="auto">
          <a:xfrm>
            <a:off x="467544" y="-1714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000" b="1" dirty="0" smtClean="0">
                <a:latin typeface="Zurich Light Condensed"/>
              </a:rPr>
              <a:t> </a:t>
            </a:r>
            <a:r>
              <a:rPr lang="pt-BR" sz="3600" b="1" dirty="0" smtClean="0">
                <a:latin typeface="Zurich Light Condensed"/>
              </a:rPr>
              <a:t>P  N  R  S </a:t>
            </a:r>
            <a:endParaRPr lang="pt-BR" sz="3600" dirty="0">
              <a:latin typeface="Zurich Light Condensed"/>
            </a:endParaRPr>
          </a:p>
        </p:txBody>
      </p:sp>
      <p:sp>
        <p:nvSpPr>
          <p:cNvPr id="4" name="Rectangle 10"/>
          <p:cNvSpPr txBox="1">
            <a:spLocks noChangeArrowheads="1"/>
          </p:cNvSpPr>
          <p:nvPr/>
        </p:nvSpPr>
        <p:spPr>
          <a:xfrm>
            <a:off x="683568" y="1124744"/>
            <a:ext cx="7489825" cy="3889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000"/>
              </a:lnSpc>
            </a:pPr>
            <a:r>
              <a:rPr lang="pt-BR" altLang="pt-BR" dirty="0" smtClean="0">
                <a:solidFill>
                  <a:schemeClr val="tx1"/>
                </a:solidFill>
              </a:rPr>
              <a:t>Instituída pela </a:t>
            </a:r>
            <a:r>
              <a:rPr lang="pt-BR" altLang="pt-BR" b="1" dirty="0" smtClean="0">
                <a:solidFill>
                  <a:schemeClr val="tx1"/>
                </a:solidFill>
              </a:rPr>
              <a:t>Lei 12.305</a:t>
            </a:r>
            <a:r>
              <a:rPr lang="pt-BR" altLang="pt-BR" dirty="0" smtClean="0">
                <a:solidFill>
                  <a:schemeClr val="tx1"/>
                </a:solidFill>
              </a:rPr>
              <a:t>, de 2 de agosto de 2010, e regulamentada pelo </a:t>
            </a:r>
            <a:r>
              <a:rPr lang="pt-BR" altLang="pt-BR" b="1" dirty="0" smtClean="0">
                <a:solidFill>
                  <a:schemeClr val="tx1"/>
                </a:solidFill>
              </a:rPr>
              <a:t>Decreto nº 7404</a:t>
            </a:r>
            <a:r>
              <a:rPr lang="pt-BR" altLang="pt-BR" dirty="0" smtClean="0">
                <a:solidFill>
                  <a:schemeClr val="tx1"/>
                </a:solidFill>
              </a:rPr>
              <a:t>, de 23 de Dezembro de 2010.  </a:t>
            </a:r>
          </a:p>
          <a:p>
            <a:pPr algn="just">
              <a:lnSpc>
                <a:spcPct val="90000"/>
              </a:lnSpc>
            </a:pPr>
            <a:endParaRPr lang="pt-BR" altLang="pt-BR" dirty="0" smtClean="0">
              <a:solidFill>
                <a:schemeClr val="tx1"/>
              </a:solidFill>
            </a:endParaRPr>
          </a:p>
          <a:p>
            <a:pPr algn="just">
              <a:lnSpc>
                <a:spcPct val="90000"/>
              </a:lnSpc>
            </a:pPr>
            <a:r>
              <a:rPr lang="pt-BR" altLang="pt-BR" dirty="0" smtClean="0">
                <a:solidFill>
                  <a:schemeClr val="tx1"/>
                </a:solidFill>
              </a:rPr>
              <a:t>A PNRS reúne o conjunto de princípios, objetivos, instrumentos, diretrizes, metas e ações com vistas à </a:t>
            </a:r>
            <a:r>
              <a:rPr lang="pt-BR" altLang="pt-BR" b="1" dirty="0" smtClean="0">
                <a:solidFill>
                  <a:schemeClr val="tx1"/>
                </a:solidFill>
              </a:rPr>
              <a:t>gestão integrada </a:t>
            </a:r>
            <a:r>
              <a:rPr lang="pt-BR" altLang="pt-BR" dirty="0" smtClean="0">
                <a:solidFill>
                  <a:schemeClr val="tx1"/>
                </a:solidFill>
              </a:rPr>
              <a:t>e ao </a:t>
            </a:r>
            <a:r>
              <a:rPr lang="pt-BR" altLang="pt-BR" b="1" dirty="0" smtClean="0">
                <a:solidFill>
                  <a:schemeClr val="tx1"/>
                </a:solidFill>
              </a:rPr>
              <a:t>gerenciamento ambientalmente</a:t>
            </a:r>
            <a:r>
              <a:rPr lang="pt-BR" altLang="pt-BR" dirty="0" smtClean="0">
                <a:solidFill>
                  <a:schemeClr val="tx1"/>
                </a:solidFill>
              </a:rPr>
              <a:t> adequado dos resíduos sólidos. </a:t>
            </a:r>
          </a:p>
          <a:p>
            <a:pPr marL="457200" indent="-457200"/>
            <a:endParaRPr lang="pt-BR" altLang="pt-BR" dirty="0" smtClean="0"/>
          </a:p>
        </p:txBody>
      </p:sp>
    </p:spTree>
    <p:extLst>
      <p:ext uri="{BB962C8B-B14F-4D97-AF65-F5344CB8AC3E}">
        <p14:creationId xmlns:p14="http://schemas.microsoft.com/office/powerpoint/2010/main" val="49332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0" y="-171400"/>
            <a:ext cx="9144000" cy="1143000"/>
          </a:xfrm>
        </p:spPr>
        <p:txBody>
          <a:bodyPr>
            <a:normAutofit/>
          </a:bodyPr>
          <a:lstStyle/>
          <a:p>
            <a:pPr algn="ctr">
              <a:tabLst>
                <a:tab pos="712788" algn="l"/>
              </a:tabLst>
            </a:pPr>
            <a:r>
              <a:rPr lang="pt-BR" sz="2800" b="1" dirty="0" smtClean="0">
                <a:solidFill>
                  <a:schemeClr val="tx1"/>
                </a:solidFill>
                <a:latin typeface="Zurich Light Condensed"/>
              </a:rPr>
              <a:t>EDITAL: METAS PARA O QUINTO ANO APÓS </a:t>
            </a:r>
            <a:br>
              <a:rPr lang="pt-BR" sz="2800" b="1" dirty="0" smtClean="0">
                <a:solidFill>
                  <a:schemeClr val="tx1"/>
                </a:solidFill>
                <a:latin typeface="Zurich Light Condensed"/>
              </a:rPr>
            </a:br>
            <a:r>
              <a:rPr lang="pt-BR" sz="2800" b="1" dirty="0" smtClean="0">
                <a:solidFill>
                  <a:schemeClr val="tx1"/>
                </a:solidFill>
                <a:latin typeface="Zurich Light Condensed"/>
              </a:rPr>
              <a:t>A ASSINATURA DO ACORDO SETORIAL</a:t>
            </a:r>
            <a:endParaRPr lang="pt-BR" sz="2800" b="1" dirty="0">
              <a:solidFill>
                <a:schemeClr val="tx1"/>
              </a:solidFill>
              <a:latin typeface="Zurich Light Condensed"/>
            </a:endParaRPr>
          </a:p>
        </p:txBody>
      </p:sp>
      <p:sp>
        <p:nvSpPr>
          <p:cNvPr id="4" name="Espaço Reservado para Conteúdo 4"/>
          <p:cNvSpPr>
            <a:spLocks noGrp="1"/>
          </p:cNvSpPr>
          <p:nvPr>
            <p:ph idx="1"/>
          </p:nvPr>
        </p:nvSpPr>
        <p:spPr>
          <a:xfrm>
            <a:off x="467544" y="1124744"/>
            <a:ext cx="8229600" cy="4525963"/>
          </a:xfrm>
        </p:spPr>
        <p:txBody>
          <a:bodyPr>
            <a:noAutofit/>
          </a:bodyPr>
          <a:lstStyle/>
          <a:p>
            <a:pPr marL="342900" lvl="2" indent="-342900" algn="just">
              <a:tabLst>
                <a:tab pos="712788" algn="l"/>
              </a:tabLst>
            </a:pPr>
            <a:r>
              <a:rPr lang="pt-BR" b="1" dirty="0" smtClean="0">
                <a:solidFill>
                  <a:schemeClr val="tx1"/>
                </a:solidFill>
                <a:latin typeface="+mj-lt"/>
              </a:rPr>
              <a:t>Atingir diretamente 100% </a:t>
            </a:r>
            <a:r>
              <a:rPr lang="pt-BR" b="1" dirty="0">
                <a:solidFill>
                  <a:schemeClr val="tx1"/>
                </a:solidFill>
                <a:latin typeface="+mj-lt"/>
              </a:rPr>
              <a:t>dos municípios com população superior a </a:t>
            </a:r>
            <a:r>
              <a:rPr lang="pt-BR" b="1" dirty="0" smtClean="0">
                <a:solidFill>
                  <a:schemeClr val="tx1"/>
                </a:solidFill>
                <a:latin typeface="+mj-lt"/>
              </a:rPr>
              <a:t>80 mil </a:t>
            </a:r>
            <a:r>
              <a:rPr lang="pt-BR" dirty="0" smtClean="0">
                <a:solidFill>
                  <a:schemeClr val="tx1"/>
                </a:solidFill>
                <a:latin typeface="+mj-lt"/>
              </a:rPr>
              <a:t>habitantes</a:t>
            </a:r>
            <a:r>
              <a:rPr lang="pt-BR" dirty="0">
                <a:solidFill>
                  <a:schemeClr val="tx1"/>
                </a:solidFill>
                <a:latin typeface="+mj-lt"/>
              </a:rPr>
              <a:t>, nos quais a </a:t>
            </a:r>
            <a:r>
              <a:rPr lang="pt-BR" b="1" dirty="0">
                <a:solidFill>
                  <a:schemeClr val="tx1"/>
                </a:solidFill>
                <a:latin typeface="+mj-lt"/>
              </a:rPr>
              <a:t>destinação final ambientalmente adequada </a:t>
            </a:r>
            <a:r>
              <a:rPr lang="pt-BR" dirty="0">
                <a:solidFill>
                  <a:schemeClr val="tx1"/>
                </a:solidFill>
                <a:latin typeface="+mj-lt"/>
              </a:rPr>
              <a:t>deverá abranger </a:t>
            </a:r>
            <a:r>
              <a:rPr lang="pt-BR" dirty="0" smtClean="0">
                <a:solidFill>
                  <a:schemeClr val="tx1"/>
                </a:solidFill>
                <a:latin typeface="+mj-lt"/>
              </a:rPr>
              <a:t>a </a:t>
            </a:r>
            <a:r>
              <a:rPr lang="pt-BR" b="1" dirty="0" smtClean="0">
                <a:solidFill>
                  <a:schemeClr val="tx1"/>
                </a:solidFill>
                <a:latin typeface="+mj-lt"/>
              </a:rPr>
              <a:t>totalidade </a:t>
            </a:r>
            <a:r>
              <a:rPr lang="pt-BR" b="1" dirty="0">
                <a:solidFill>
                  <a:schemeClr val="tx1"/>
                </a:solidFill>
                <a:latin typeface="+mj-lt"/>
              </a:rPr>
              <a:t>dos resíduos </a:t>
            </a:r>
            <a:r>
              <a:rPr lang="pt-BR" b="1" dirty="0" smtClean="0">
                <a:solidFill>
                  <a:schemeClr val="tx1"/>
                </a:solidFill>
                <a:latin typeface="+mj-lt"/>
              </a:rPr>
              <a:t>recebidos</a:t>
            </a:r>
            <a:r>
              <a:rPr lang="pt-BR" dirty="0">
                <a:solidFill>
                  <a:schemeClr val="tx1"/>
                </a:solidFill>
                <a:latin typeface="+mj-lt"/>
              </a:rPr>
              <a:t>.</a:t>
            </a:r>
          </a:p>
          <a:p>
            <a:pPr algn="just">
              <a:tabLst>
                <a:tab pos="712788" algn="l"/>
              </a:tabLst>
            </a:pP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Em </a:t>
            </a:r>
            <a:r>
              <a:rPr lang="pt-BR" sz="2400" dirty="0">
                <a:solidFill>
                  <a:schemeClr val="tx1"/>
                </a:solidFill>
                <a:latin typeface="+mj-lt"/>
              </a:rPr>
              <a:t>cada cidade atendida pela logística reversa em caráter permanente, </a:t>
            </a: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haverá ao </a:t>
            </a:r>
            <a:r>
              <a:rPr lang="pt-BR" sz="2400" dirty="0">
                <a:solidFill>
                  <a:schemeClr val="tx1"/>
                </a:solidFill>
                <a:latin typeface="+mj-lt"/>
              </a:rPr>
              <a:t>menos um </a:t>
            </a:r>
            <a:r>
              <a:rPr lang="pt-BR" sz="2400" b="1" dirty="0">
                <a:solidFill>
                  <a:schemeClr val="tx1"/>
                </a:solidFill>
                <a:latin typeface="+mj-lt"/>
              </a:rPr>
              <a:t>ponto de recolhimento para cada </a:t>
            </a:r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25 mil </a:t>
            </a:r>
            <a:r>
              <a:rPr lang="pt-BR" sz="2400" b="1" dirty="0">
                <a:solidFill>
                  <a:schemeClr val="tx1"/>
                </a:solidFill>
                <a:latin typeface="+mj-lt"/>
              </a:rPr>
              <a:t>habitantes</a:t>
            </a:r>
            <a:r>
              <a:rPr lang="pt-BR" sz="2400" dirty="0">
                <a:solidFill>
                  <a:schemeClr val="tx1"/>
                </a:solidFill>
                <a:latin typeface="+mj-lt"/>
              </a:rPr>
              <a:t>. </a:t>
            </a:r>
            <a:endParaRPr lang="pt-BR" sz="2400" dirty="0" smtClean="0">
              <a:solidFill>
                <a:schemeClr val="tx1"/>
              </a:solidFill>
              <a:latin typeface="+mj-lt"/>
            </a:endParaRPr>
          </a:p>
          <a:p>
            <a:pPr algn="just">
              <a:tabLst>
                <a:tab pos="712788" algn="l"/>
              </a:tabLst>
            </a:pP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Recolhimento </a:t>
            </a:r>
            <a:r>
              <a:rPr lang="pt-BR" sz="2400" dirty="0">
                <a:solidFill>
                  <a:schemeClr val="tx1"/>
                </a:solidFill>
                <a:latin typeface="+mj-lt"/>
              </a:rPr>
              <a:t>e </a:t>
            </a: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destinação </a:t>
            </a:r>
            <a:r>
              <a:rPr lang="pt-BR" sz="2400" dirty="0">
                <a:solidFill>
                  <a:schemeClr val="tx1"/>
                </a:solidFill>
                <a:latin typeface="+mj-lt"/>
              </a:rPr>
              <a:t>final ambientalmente adequada de </a:t>
            </a: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REEE na proporção de </a:t>
            </a:r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17%, em peso, dos produtos </a:t>
            </a:r>
            <a:r>
              <a:rPr lang="pt-BR" sz="2400" b="1" dirty="0">
                <a:solidFill>
                  <a:schemeClr val="tx1"/>
                </a:solidFill>
                <a:latin typeface="+mj-lt"/>
              </a:rPr>
              <a:t>eletroeletrônicos </a:t>
            </a:r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colocados </a:t>
            </a:r>
            <a:r>
              <a:rPr lang="pt-BR" sz="2400" b="1" dirty="0">
                <a:solidFill>
                  <a:schemeClr val="tx1"/>
                </a:solidFill>
                <a:latin typeface="+mj-lt"/>
              </a:rPr>
              <a:t>no mercado nacional no ano anterior ao da assinatura do Acordo </a:t>
            </a:r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Setorial</a:t>
            </a: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.</a:t>
            </a:r>
          </a:p>
          <a:p>
            <a:pPr algn="just">
              <a:tabLst>
                <a:tab pos="712788" algn="l"/>
              </a:tabLst>
            </a:pPr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Revisão</a:t>
            </a:r>
            <a:r>
              <a:rPr lang="pt-BR" sz="2400" dirty="0" smtClean="0">
                <a:solidFill>
                  <a:schemeClr val="tx1"/>
                </a:solidFill>
                <a:latin typeface="+mj-lt"/>
              </a:rPr>
              <a:t> em 5 anos.</a:t>
            </a:r>
          </a:p>
          <a:p>
            <a:pPr algn="just">
              <a:buFont typeface="Arial" pitchFamily="34" charset="0"/>
              <a:buChar char="•"/>
              <a:tabLst>
                <a:tab pos="712788" algn="l"/>
              </a:tabLst>
            </a:pPr>
            <a:endParaRPr lang="pt-BR" sz="2400" dirty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24102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251520" y="116632"/>
            <a:ext cx="86868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3600" b="1" dirty="0" smtClean="0">
                <a:latin typeface="Zurich Light Condensed"/>
              </a:rPr>
              <a:t>DESAFIOS PARA A RECICLAGEM</a:t>
            </a:r>
            <a:endParaRPr lang="pt-BR" sz="3600" b="1" dirty="0">
              <a:latin typeface="Zurich Light Condensed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4594920" y="1698625"/>
            <a:ext cx="4736943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Grandes</a:t>
            </a:r>
            <a:r>
              <a:rPr lang="en-US" sz="1600" dirty="0" smtClean="0">
                <a:latin typeface="+mn-lt"/>
                <a:cs typeface="Arial" charset="0"/>
              </a:rPr>
              <a:t> </a:t>
            </a:r>
            <a:r>
              <a:rPr lang="en-US" sz="1600" dirty="0" err="1" smtClean="0">
                <a:latin typeface="+mn-lt"/>
                <a:cs typeface="Arial" charset="0"/>
              </a:rPr>
              <a:t>distâncias</a:t>
            </a:r>
            <a:endParaRPr lang="en-US" sz="1600" dirty="0">
              <a:latin typeface="+mn-lt"/>
              <a:cs typeface="Arial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Tecnologias</a:t>
            </a:r>
            <a:r>
              <a:rPr lang="en-US" sz="1600" dirty="0" smtClean="0">
                <a:latin typeface="+mn-lt"/>
                <a:cs typeface="Arial" charset="0"/>
              </a:rPr>
              <a:t> </a:t>
            </a:r>
            <a:r>
              <a:rPr lang="en-US" sz="1600" dirty="0" err="1" smtClean="0">
                <a:latin typeface="+mn-lt"/>
                <a:cs typeface="Arial" charset="0"/>
              </a:rPr>
              <a:t>para</a:t>
            </a:r>
            <a:r>
              <a:rPr lang="en-US" sz="1600" dirty="0" smtClean="0">
                <a:latin typeface="+mn-lt"/>
                <a:cs typeface="Arial" charset="0"/>
              </a:rPr>
              <a:t> </a:t>
            </a:r>
            <a:r>
              <a:rPr lang="en-US" sz="1600" dirty="0" err="1" smtClean="0">
                <a:latin typeface="+mn-lt"/>
                <a:cs typeface="Arial" charset="0"/>
              </a:rPr>
              <a:t>reciclagem</a:t>
            </a:r>
            <a:endParaRPr lang="en-US" sz="1600" dirty="0">
              <a:latin typeface="+mn-lt"/>
              <a:cs typeface="Arial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/>
              <a:t>Crescimento</a:t>
            </a:r>
            <a:r>
              <a:rPr lang="en-US" sz="1600" dirty="0" smtClean="0"/>
              <a:t> da </a:t>
            </a:r>
            <a:r>
              <a:rPr lang="en-US" sz="1600" dirty="0" err="1" smtClean="0"/>
              <a:t>geração</a:t>
            </a:r>
            <a:r>
              <a:rPr lang="en-US" sz="1600" dirty="0" smtClean="0"/>
              <a:t> de </a:t>
            </a:r>
            <a:r>
              <a:rPr lang="en-US" sz="1600" dirty="0" err="1" smtClean="0"/>
              <a:t>resíduos</a:t>
            </a:r>
            <a:r>
              <a:rPr lang="en-US" sz="1600" dirty="0" smtClean="0"/>
              <a:t> </a:t>
            </a:r>
            <a:r>
              <a:rPr lang="en-US" sz="1600" dirty="0" err="1" smtClean="0"/>
              <a:t>está</a:t>
            </a:r>
            <a:r>
              <a:rPr lang="en-US" sz="1600" dirty="0" smtClean="0"/>
              <a:t> crescendo        entre 7-10</a:t>
            </a:r>
            <a:r>
              <a:rPr lang="en-US" sz="1600" dirty="0"/>
              <a:t>% </a:t>
            </a:r>
            <a:r>
              <a:rPr lang="en-US" sz="1600" dirty="0" err="1" smtClean="0"/>
              <a:t>ao</a:t>
            </a:r>
            <a:r>
              <a:rPr lang="en-US" sz="1600" dirty="0" smtClean="0"/>
              <a:t> </a:t>
            </a:r>
            <a:r>
              <a:rPr lang="en-US" sz="1600" dirty="0" err="1" smtClean="0"/>
              <a:t>ano</a:t>
            </a:r>
            <a:endParaRPr lang="en-US" sz="1600" dirty="0">
              <a:cs typeface="Arial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Maior</a:t>
            </a:r>
            <a:r>
              <a:rPr lang="en-US" sz="1600" dirty="0" smtClean="0">
                <a:latin typeface="+mn-lt"/>
                <a:cs typeface="Arial" charset="0"/>
              </a:rPr>
              <a:t> </a:t>
            </a:r>
            <a:r>
              <a:rPr lang="en-US" sz="1600" dirty="0" err="1" smtClean="0">
                <a:latin typeface="+mn-lt"/>
                <a:cs typeface="Arial" charset="0"/>
              </a:rPr>
              <a:t>gerador</a:t>
            </a:r>
            <a:r>
              <a:rPr lang="en-US" sz="1600" dirty="0" smtClean="0">
                <a:latin typeface="+mn-lt"/>
                <a:cs typeface="Arial" charset="0"/>
              </a:rPr>
              <a:t> de </a:t>
            </a:r>
            <a:r>
              <a:rPr lang="en-US" sz="1600" dirty="0" err="1" smtClean="0">
                <a:latin typeface="+mn-lt"/>
                <a:cs typeface="Arial" charset="0"/>
              </a:rPr>
              <a:t>resíduos</a:t>
            </a:r>
            <a:r>
              <a:rPr lang="en-US" sz="1600" dirty="0" smtClean="0">
                <a:latin typeface="+mn-lt"/>
                <a:cs typeface="Arial" charset="0"/>
              </a:rPr>
              <a:t> de </a:t>
            </a:r>
            <a:r>
              <a:rPr lang="en-US" sz="1600" dirty="0" err="1" smtClean="0">
                <a:latin typeface="+mn-lt"/>
                <a:cs typeface="Arial" charset="0"/>
              </a:rPr>
              <a:t>computadores</a:t>
            </a:r>
            <a:r>
              <a:rPr lang="en-US" sz="1600" dirty="0" smtClean="0">
                <a:latin typeface="+mn-lt"/>
                <a:cs typeface="Arial" charset="0"/>
              </a:rPr>
              <a:t>                         (</a:t>
            </a:r>
            <a:r>
              <a:rPr lang="en-US" sz="1600" dirty="0">
                <a:latin typeface="+mn-lt"/>
                <a:cs typeface="Arial" charset="0"/>
              </a:rPr>
              <a:t>per capita) </a:t>
            </a:r>
            <a:r>
              <a:rPr lang="en-US" sz="1600" dirty="0" smtClean="0">
                <a:latin typeface="+mn-lt"/>
                <a:cs typeface="Arial" charset="0"/>
              </a:rPr>
              <a:t>entre </a:t>
            </a:r>
            <a:r>
              <a:rPr lang="en-US" sz="1600" dirty="0" err="1" smtClean="0">
                <a:latin typeface="+mn-lt"/>
                <a:cs typeface="Arial" charset="0"/>
              </a:rPr>
              <a:t>os</a:t>
            </a:r>
            <a:r>
              <a:rPr lang="en-US" sz="1600" dirty="0" smtClean="0">
                <a:latin typeface="+mn-lt"/>
                <a:cs typeface="Arial" charset="0"/>
              </a:rPr>
              <a:t> BRICS</a:t>
            </a:r>
            <a:endParaRPr lang="en-US" sz="1600" dirty="0">
              <a:latin typeface="+mn-lt"/>
              <a:cs typeface="Arial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Mais</a:t>
            </a:r>
            <a:r>
              <a:rPr lang="en-US" sz="1600" dirty="0" smtClean="0">
                <a:latin typeface="+mn-lt"/>
                <a:cs typeface="Arial" charset="0"/>
              </a:rPr>
              <a:t> de 900.000 ton/</a:t>
            </a:r>
            <a:r>
              <a:rPr lang="en-US" sz="1600" dirty="0" err="1" smtClean="0">
                <a:latin typeface="+mn-lt"/>
                <a:cs typeface="Arial" charset="0"/>
              </a:rPr>
              <a:t>ano</a:t>
            </a:r>
            <a:r>
              <a:rPr lang="en-US" sz="1600" dirty="0" smtClean="0">
                <a:latin typeface="+mn-lt"/>
                <a:cs typeface="Arial" charset="0"/>
              </a:rPr>
              <a:t> REEE</a:t>
            </a:r>
          </a:p>
          <a:p>
            <a:pPr marL="285750" indent="-285750"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Melhorias</a:t>
            </a:r>
            <a:r>
              <a:rPr lang="en-US" sz="1600" dirty="0" smtClean="0">
                <a:latin typeface="+mn-lt"/>
                <a:cs typeface="Arial" charset="0"/>
              </a:rPr>
              <a:t> no </a:t>
            </a:r>
            <a:r>
              <a:rPr lang="en-US" sz="1600" dirty="0" err="1" smtClean="0">
                <a:latin typeface="+mn-lt"/>
                <a:cs typeface="Arial" charset="0"/>
              </a:rPr>
              <a:t>sistema</a:t>
            </a:r>
            <a:r>
              <a:rPr lang="en-US" sz="1600" dirty="0" smtClean="0">
                <a:latin typeface="+mn-lt"/>
                <a:cs typeface="Arial" charset="0"/>
              </a:rPr>
              <a:t> de </a:t>
            </a:r>
            <a:r>
              <a:rPr lang="en-US" sz="1600" dirty="0" err="1" smtClean="0">
                <a:latin typeface="+mn-lt"/>
                <a:cs typeface="Arial" charset="0"/>
              </a:rPr>
              <a:t>coleta</a:t>
            </a:r>
            <a:r>
              <a:rPr lang="en-US" sz="1600" dirty="0" smtClean="0">
                <a:latin typeface="+mn-lt"/>
                <a:cs typeface="Arial" charset="0"/>
              </a:rPr>
              <a:t>, </a:t>
            </a:r>
            <a:r>
              <a:rPr lang="en-US" sz="1600" dirty="0" err="1" smtClean="0">
                <a:latin typeface="+mn-lt"/>
                <a:cs typeface="Arial" charset="0"/>
              </a:rPr>
              <a:t>triagem</a:t>
            </a:r>
            <a:r>
              <a:rPr lang="en-US" sz="1600" dirty="0" smtClean="0">
                <a:latin typeface="+mn-lt"/>
                <a:cs typeface="Arial" charset="0"/>
              </a:rPr>
              <a:t>, </a:t>
            </a:r>
            <a:r>
              <a:rPr lang="en-US" sz="1600" dirty="0" err="1" smtClean="0">
                <a:latin typeface="+mn-lt"/>
                <a:cs typeface="Arial" charset="0"/>
              </a:rPr>
              <a:t>reciclagem</a:t>
            </a:r>
            <a:r>
              <a:rPr lang="en-US" sz="1600" dirty="0" smtClean="0">
                <a:latin typeface="+mn-lt"/>
                <a:cs typeface="Arial" charset="0"/>
              </a:rPr>
              <a:t> e </a:t>
            </a:r>
            <a:r>
              <a:rPr lang="en-US" sz="1600" dirty="0" err="1" smtClean="0">
                <a:latin typeface="+mn-lt"/>
                <a:cs typeface="Arial" charset="0"/>
              </a:rPr>
              <a:t>tratamento</a:t>
            </a:r>
            <a:r>
              <a:rPr lang="en-US" sz="1600" dirty="0" smtClean="0">
                <a:latin typeface="+mn-lt"/>
                <a:cs typeface="Arial" charset="0"/>
              </a:rPr>
              <a:t> dos </a:t>
            </a:r>
            <a:r>
              <a:rPr lang="en-US" sz="1600" dirty="0" err="1" smtClean="0">
                <a:latin typeface="+mn-lt"/>
                <a:cs typeface="Arial" charset="0"/>
              </a:rPr>
              <a:t>resíduos</a:t>
            </a:r>
            <a:r>
              <a:rPr lang="en-US" sz="1600" dirty="0" smtClean="0">
                <a:latin typeface="+mn-lt"/>
                <a:cs typeface="Arial" charset="0"/>
              </a:rPr>
              <a:t> </a:t>
            </a:r>
            <a:r>
              <a:rPr lang="en-US" sz="1600" dirty="0" err="1" smtClean="0">
                <a:latin typeface="+mn-lt"/>
                <a:cs typeface="Arial" charset="0"/>
              </a:rPr>
              <a:t>sólidos</a:t>
            </a:r>
            <a:endParaRPr lang="en-US" sz="1600" dirty="0" smtClean="0">
              <a:latin typeface="+mn-lt"/>
              <a:cs typeface="Arial" charset="0"/>
            </a:endParaRPr>
          </a:p>
          <a:p>
            <a:pPr marL="285750" indent="-285750"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dirty="0" err="1" smtClean="0">
                <a:latin typeface="+mn-lt"/>
                <a:cs typeface="Arial" charset="0"/>
              </a:rPr>
              <a:t>Disposição</a:t>
            </a:r>
            <a:r>
              <a:rPr lang="en-US" sz="1600" dirty="0" smtClean="0">
                <a:latin typeface="+mn-lt"/>
                <a:cs typeface="Arial" charset="0"/>
              </a:rPr>
              <a:t> final </a:t>
            </a:r>
            <a:r>
              <a:rPr lang="en-US" sz="1600" dirty="0" err="1" smtClean="0">
                <a:latin typeface="+mn-lt"/>
                <a:cs typeface="Arial" charset="0"/>
              </a:rPr>
              <a:t>adequada</a:t>
            </a:r>
            <a:r>
              <a:rPr lang="en-US" sz="1600" dirty="0" smtClean="0">
                <a:latin typeface="+mn-lt"/>
                <a:cs typeface="Arial" charset="0"/>
              </a:rPr>
              <a:t> dos </a:t>
            </a:r>
            <a:r>
              <a:rPr lang="en-US" sz="1600" dirty="0" err="1" smtClean="0">
                <a:latin typeface="+mn-lt"/>
                <a:cs typeface="Arial" charset="0"/>
              </a:rPr>
              <a:t>rejeitos</a:t>
            </a:r>
            <a:endParaRPr lang="en-US" sz="1600" dirty="0">
              <a:latin typeface="+mn-lt"/>
              <a:cs typeface="Arial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  <a:defRPr/>
            </a:pPr>
            <a:endParaRPr lang="en-US" sz="1600" dirty="0">
              <a:latin typeface="+mn-lt"/>
              <a:cs typeface="Arial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5436096" y="1061762"/>
            <a:ext cx="1962397" cy="4234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b="1" dirty="0">
                <a:latin typeface="+mn-lt"/>
                <a:cs typeface="Arial" charset="0"/>
              </a:rPr>
              <a:t>5,565 </a:t>
            </a:r>
            <a:r>
              <a:rPr lang="en-US" sz="1600" b="1" dirty="0" err="1" smtClean="0">
                <a:latin typeface="+mn-lt"/>
                <a:cs typeface="Arial" charset="0"/>
              </a:rPr>
              <a:t>municípios</a:t>
            </a:r>
            <a:r>
              <a:rPr lang="en-US" sz="1600" b="1" dirty="0" smtClean="0">
                <a:latin typeface="+mn-lt"/>
                <a:cs typeface="Arial" charset="0"/>
              </a:rPr>
              <a:t> </a:t>
            </a:r>
            <a:endParaRPr lang="en-US" sz="1600" b="1" dirty="0">
              <a:latin typeface="+mn-lt"/>
              <a:cs typeface="Arial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433601" y="1368568"/>
            <a:ext cx="2570255" cy="4234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1600" b="1" dirty="0" err="1" smtClean="0">
                <a:latin typeface="+mn-lt"/>
                <a:cs typeface="Arial" charset="0"/>
              </a:rPr>
              <a:t>Área</a:t>
            </a:r>
            <a:r>
              <a:rPr lang="en-US" sz="1600" b="1" dirty="0">
                <a:latin typeface="+mn-lt"/>
                <a:cs typeface="Arial" charset="0"/>
              </a:rPr>
              <a:t>: </a:t>
            </a:r>
            <a:r>
              <a:rPr lang="en-US" sz="1600" b="1" dirty="0" smtClean="0">
                <a:latin typeface="+mn-lt"/>
                <a:cs typeface="Arial" charset="0"/>
              </a:rPr>
              <a:t>8,515,767.049 </a:t>
            </a:r>
            <a:r>
              <a:rPr lang="en-US" sz="1600" b="1" dirty="0">
                <a:latin typeface="+mn-lt"/>
                <a:cs typeface="Arial" charset="0"/>
              </a:rPr>
              <a:t>Km²</a:t>
            </a:r>
          </a:p>
        </p:txBody>
      </p:sp>
      <p:grpSp>
        <p:nvGrpSpPr>
          <p:cNvPr id="7" name="Group 107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775" y="1061762"/>
            <a:ext cx="4460875" cy="4576763"/>
            <a:chOff x="353750" y="1003479"/>
            <a:chExt cx="4461465" cy="4577105"/>
          </a:xfrm>
        </p:grpSpPr>
        <p:grpSp>
          <p:nvGrpSpPr>
            <p:cNvPr id="9" name="Group 80"/>
            <p:cNvGrpSpPr/>
            <p:nvPr>
              <p:custDataLst>
                <p:tags r:id="rId22"/>
              </p:custDataLst>
            </p:nvPr>
          </p:nvGrpSpPr>
          <p:grpSpPr>
            <a:xfrm>
              <a:off x="2214787" y="4269574"/>
              <a:ext cx="1095626" cy="1311010"/>
              <a:chOff x="3927324" y="4968302"/>
              <a:chExt cx="1297415" cy="1552468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38" name="Freeform 25"/>
              <p:cNvSpPr>
                <a:spLocks/>
              </p:cNvSpPr>
              <p:nvPr/>
            </p:nvSpPr>
            <p:spPr bwMode="auto">
              <a:xfrm>
                <a:off x="4336419" y="4968302"/>
                <a:ext cx="888320" cy="582296"/>
              </a:xfrm>
              <a:custGeom>
                <a:avLst/>
                <a:gdLst/>
                <a:ahLst/>
                <a:cxnLst>
                  <a:cxn ang="0">
                    <a:pos x="28" y="297"/>
                  </a:cxn>
                  <a:cxn ang="0">
                    <a:pos x="42" y="201"/>
                  </a:cxn>
                  <a:cxn ang="0">
                    <a:pos x="101" y="113"/>
                  </a:cxn>
                  <a:cxn ang="0">
                    <a:pos x="158" y="35"/>
                  </a:cxn>
                  <a:cxn ang="0">
                    <a:pos x="224" y="12"/>
                  </a:cxn>
                  <a:cxn ang="0">
                    <a:pos x="295" y="14"/>
                  </a:cxn>
                  <a:cxn ang="0">
                    <a:pos x="347" y="14"/>
                  </a:cxn>
                  <a:cxn ang="0">
                    <a:pos x="411" y="19"/>
                  </a:cxn>
                  <a:cxn ang="0">
                    <a:pos x="479" y="45"/>
                  </a:cxn>
                  <a:cxn ang="0">
                    <a:pos x="522" y="56"/>
                  </a:cxn>
                  <a:cxn ang="0">
                    <a:pos x="567" y="54"/>
                  </a:cxn>
                  <a:cxn ang="0">
                    <a:pos x="598" y="64"/>
                  </a:cxn>
                  <a:cxn ang="0">
                    <a:pos x="624" y="82"/>
                  </a:cxn>
                  <a:cxn ang="0">
                    <a:pos x="633" y="116"/>
                  </a:cxn>
                  <a:cxn ang="0">
                    <a:pos x="635" y="134"/>
                  </a:cxn>
                  <a:cxn ang="0">
                    <a:pos x="642" y="160"/>
                  </a:cxn>
                  <a:cxn ang="0">
                    <a:pos x="640" y="179"/>
                  </a:cxn>
                  <a:cxn ang="0">
                    <a:pos x="650" y="193"/>
                  </a:cxn>
                  <a:cxn ang="0">
                    <a:pos x="664" y="210"/>
                  </a:cxn>
                  <a:cxn ang="0">
                    <a:pos x="680" y="236"/>
                  </a:cxn>
                  <a:cxn ang="0">
                    <a:pos x="675" y="262"/>
                  </a:cxn>
                  <a:cxn ang="0">
                    <a:pos x="680" y="283"/>
                  </a:cxn>
                  <a:cxn ang="0">
                    <a:pos x="706" y="279"/>
                  </a:cxn>
                  <a:cxn ang="0">
                    <a:pos x="732" y="281"/>
                  </a:cxn>
                  <a:cxn ang="0">
                    <a:pos x="756" y="283"/>
                  </a:cxn>
                  <a:cxn ang="0">
                    <a:pos x="770" y="297"/>
                  </a:cxn>
                  <a:cxn ang="0">
                    <a:pos x="763" y="323"/>
                  </a:cxn>
                  <a:cxn ang="0">
                    <a:pos x="791" y="323"/>
                  </a:cxn>
                  <a:cxn ang="0">
                    <a:pos x="808" y="321"/>
                  </a:cxn>
                  <a:cxn ang="0">
                    <a:pos x="817" y="352"/>
                  </a:cxn>
                  <a:cxn ang="0">
                    <a:pos x="810" y="385"/>
                  </a:cxn>
                  <a:cxn ang="0">
                    <a:pos x="763" y="451"/>
                  </a:cxn>
                  <a:cxn ang="0">
                    <a:pos x="713" y="456"/>
                  </a:cxn>
                  <a:cxn ang="0">
                    <a:pos x="690" y="456"/>
                  </a:cxn>
                  <a:cxn ang="0">
                    <a:pos x="675" y="468"/>
                  </a:cxn>
                  <a:cxn ang="0">
                    <a:pos x="657" y="477"/>
                  </a:cxn>
                  <a:cxn ang="0">
                    <a:pos x="642" y="484"/>
                  </a:cxn>
                  <a:cxn ang="0">
                    <a:pos x="626" y="482"/>
                  </a:cxn>
                  <a:cxn ang="0">
                    <a:pos x="607" y="465"/>
                  </a:cxn>
                  <a:cxn ang="0">
                    <a:pos x="586" y="458"/>
                  </a:cxn>
                  <a:cxn ang="0">
                    <a:pos x="562" y="460"/>
                  </a:cxn>
                  <a:cxn ang="0">
                    <a:pos x="543" y="472"/>
                  </a:cxn>
                  <a:cxn ang="0">
                    <a:pos x="524" y="458"/>
                  </a:cxn>
                  <a:cxn ang="0">
                    <a:pos x="503" y="468"/>
                  </a:cxn>
                  <a:cxn ang="0">
                    <a:pos x="470" y="493"/>
                  </a:cxn>
                  <a:cxn ang="0">
                    <a:pos x="437" y="493"/>
                  </a:cxn>
                  <a:cxn ang="0">
                    <a:pos x="425" y="515"/>
                  </a:cxn>
                  <a:cxn ang="0">
                    <a:pos x="423" y="538"/>
                  </a:cxn>
                  <a:cxn ang="0">
                    <a:pos x="394" y="531"/>
                  </a:cxn>
                  <a:cxn ang="0">
                    <a:pos x="328" y="527"/>
                  </a:cxn>
                  <a:cxn ang="0">
                    <a:pos x="288" y="512"/>
                  </a:cxn>
                  <a:cxn ang="0">
                    <a:pos x="250" y="508"/>
                  </a:cxn>
                  <a:cxn ang="0">
                    <a:pos x="212" y="503"/>
                  </a:cxn>
                  <a:cxn ang="0">
                    <a:pos x="170" y="489"/>
                  </a:cxn>
                  <a:cxn ang="0">
                    <a:pos x="125" y="489"/>
                  </a:cxn>
                  <a:cxn ang="0">
                    <a:pos x="109" y="460"/>
                  </a:cxn>
                  <a:cxn ang="0">
                    <a:pos x="101" y="446"/>
                  </a:cxn>
                  <a:cxn ang="0">
                    <a:pos x="99" y="430"/>
                  </a:cxn>
                  <a:cxn ang="0">
                    <a:pos x="97" y="413"/>
                  </a:cxn>
                  <a:cxn ang="0">
                    <a:pos x="80" y="404"/>
                  </a:cxn>
                  <a:cxn ang="0">
                    <a:pos x="52" y="394"/>
                  </a:cxn>
                  <a:cxn ang="0">
                    <a:pos x="19" y="408"/>
                  </a:cxn>
                </a:cxnLst>
                <a:rect l="0" t="0" r="r" b="b"/>
                <a:pathLst>
                  <a:path w="836" h="548">
                    <a:moveTo>
                      <a:pt x="0" y="382"/>
                    </a:moveTo>
                    <a:lnTo>
                      <a:pt x="2" y="382"/>
                    </a:lnTo>
                    <a:lnTo>
                      <a:pt x="2" y="380"/>
                    </a:lnTo>
                    <a:lnTo>
                      <a:pt x="5" y="375"/>
                    </a:lnTo>
                    <a:lnTo>
                      <a:pt x="5" y="375"/>
                    </a:lnTo>
                    <a:lnTo>
                      <a:pt x="7" y="373"/>
                    </a:lnTo>
                    <a:lnTo>
                      <a:pt x="9" y="371"/>
                    </a:lnTo>
                    <a:lnTo>
                      <a:pt x="12" y="366"/>
                    </a:lnTo>
                    <a:lnTo>
                      <a:pt x="14" y="364"/>
                    </a:lnTo>
                    <a:lnTo>
                      <a:pt x="16" y="361"/>
                    </a:lnTo>
                    <a:lnTo>
                      <a:pt x="16" y="354"/>
                    </a:lnTo>
                    <a:lnTo>
                      <a:pt x="19" y="352"/>
                    </a:lnTo>
                    <a:lnTo>
                      <a:pt x="19" y="349"/>
                    </a:lnTo>
                    <a:lnTo>
                      <a:pt x="21" y="347"/>
                    </a:lnTo>
                    <a:lnTo>
                      <a:pt x="23" y="347"/>
                    </a:lnTo>
                    <a:lnTo>
                      <a:pt x="23" y="345"/>
                    </a:lnTo>
                    <a:lnTo>
                      <a:pt x="23" y="342"/>
                    </a:lnTo>
                    <a:lnTo>
                      <a:pt x="21" y="340"/>
                    </a:lnTo>
                    <a:lnTo>
                      <a:pt x="19" y="338"/>
                    </a:lnTo>
                    <a:lnTo>
                      <a:pt x="19" y="338"/>
                    </a:lnTo>
                    <a:lnTo>
                      <a:pt x="19" y="335"/>
                    </a:lnTo>
                    <a:lnTo>
                      <a:pt x="19" y="333"/>
                    </a:lnTo>
                    <a:lnTo>
                      <a:pt x="19" y="331"/>
                    </a:lnTo>
                    <a:lnTo>
                      <a:pt x="21" y="323"/>
                    </a:lnTo>
                    <a:lnTo>
                      <a:pt x="21" y="319"/>
                    </a:lnTo>
                    <a:lnTo>
                      <a:pt x="23" y="314"/>
                    </a:lnTo>
                    <a:lnTo>
                      <a:pt x="23" y="312"/>
                    </a:lnTo>
                    <a:lnTo>
                      <a:pt x="26" y="305"/>
                    </a:lnTo>
                    <a:lnTo>
                      <a:pt x="28" y="297"/>
                    </a:lnTo>
                    <a:lnTo>
                      <a:pt x="28" y="293"/>
                    </a:lnTo>
                    <a:lnTo>
                      <a:pt x="31" y="293"/>
                    </a:lnTo>
                    <a:lnTo>
                      <a:pt x="33" y="290"/>
                    </a:lnTo>
                    <a:lnTo>
                      <a:pt x="33" y="288"/>
                    </a:lnTo>
                    <a:lnTo>
                      <a:pt x="35" y="283"/>
                    </a:lnTo>
                    <a:lnTo>
                      <a:pt x="35" y="281"/>
                    </a:lnTo>
                    <a:lnTo>
                      <a:pt x="38" y="271"/>
                    </a:lnTo>
                    <a:lnTo>
                      <a:pt x="38" y="269"/>
                    </a:lnTo>
                    <a:lnTo>
                      <a:pt x="35" y="262"/>
                    </a:lnTo>
                    <a:lnTo>
                      <a:pt x="35" y="260"/>
                    </a:lnTo>
                    <a:lnTo>
                      <a:pt x="35" y="253"/>
                    </a:lnTo>
                    <a:lnTo>
                      <a:pt x="40" y="250"/>
                    </a:lnTo>
                    <a:lnTo>
                      <a:pt x="42" y="245"/>
                    </a:lnTo>
                    <a:lnTo>
                      <a:pt x="45" y="243"/>
                    </a:lnTo>
                    <a:lnTo>
                      <a:pt x="45" y="241"/>
                    </a:lnTo>
                    <a:lnTo>
                      <a:pt x="42" y="234"/>
                    </a:lnTo>
                    <a:lnTo>
                      <a:pt x="42" y="231"/>
                    </a:lnTo>
                    <a:lnTo>
                      <a:pt x="38" y="227"/>
                    </a:lnTo>
                    <a:lnTo>
                      <a:pt x="35" y="224"/>
                    </a:lnTo>
                    <a:lnTo>
                      <a:pt x="35" y="222"/>
                    </a:lnTo>
                    <a:lnTo>
                      <a:pt x="35" y="219"/>
                    </a:lnTo>
                    <a:lnTo>
                      <a:pt x="35" y="219"/>
                    </a:lnTo>
                    <a:lnTo>
                      <a:pt x="35" y="215"/>
                    </a:lnTo>
                    <a:lnTo>
                      <a:pt x="35" y="212"/>
                    </a:lnTo>
                    <a:lnTo>
                      <a:pt x="33" y="212"/>
                    </a:lnTo>
                    <a:lnTo>
                      <a:pt x="35" y="208"/>
                    </a:lnTo>
                    <a:lnTo>
                      <a:pt x="38" y="205"/>
                    </a:lnTo>
                    <a:lnTo>
                      <a:pt x="42" y="203"/>
                    </a:lnTo>
                    <a:lnTo>
                      <a:pt x="42" y="201"/>
                    </a:lnTo>
                    <a:lnTo>
                      <a:pt x="42" y="201"/>
                    </a:lnTo>
                    <a:lnTo>
                      <a:pt x="47" y="201"/>
                    </a:lnTo>
                    <a:lnTo>
                      <a:pt x="57" y="193"/>
                    </a:lnTo>
                    <a:lnTo>
                      <a:pt x="61" y="191"/>
                    </a:lnTo>
                    <a:lnTo>
                      <a:pt x="64" y="189"/>
                    </a:lnTo>
                    <a:lnTo>
                      <a:pt x="64" y="186"/>
                    </a:lnTo>
                    <a:lnTo>
                      <a:pt x="66" y="179"/>
                    </a:lnTo>
                    <a:lnTo>
                      <a:pt x="66" y="177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0"/>
                    </a:lnTo>
                    <a:lnTo>
                      <a:pt x="66" y="168"/>
                    </a:lnTo>
                    <a:lnTo>
                      <a:pt x="68" y="163"/>
                    </a:lnTo>
                    <a:lnTo>
                      <a:pt x="71" y="158"/>
                    </a:lnTo>
                    <a:lnTo>
                      <a:pt x="71" y="158"/>
                    </a:lnTo>
                    <a:lnTo>
                      <a:pt x="71" y="153"/>
                    </a:lnTo>
                    <a:lnTo>
                      <a:pt x="73" y="151"/>
                    </a:lnTo>
                    <a:lnTo>
                      <a:pt x="73" y="149"/>
                    </a:lnTo>
                    <a:lnTo>
                      <a:pt x="73" y="144"/>
                    </a:lnTo>
                    <a:lnTo>
                      <a:pt x="75" y="139"/>
                    </a:lnTo>
                    <a:lnTo>
                      <a:pt x="75" y="134"/>
                    </a:lnTo>
                    <a:lnTo>
                      <a:pt x="75" y="130"/>
                    </a:lnTo>
                    <a:lnTo>
                      <a:pt x="80" y="123"/>
                    </a:lnTo>
                    <a:lnTo>
                      <a:pt x="80" y="123"/>
                    </a:lnTo>
                    <a:lnTo>
                      <a:pt x="83" y="123"/>
                    </a:lnTo>
                    <a:lnTo>
                      <a:pt x="83" y="120"/>
                    </a:lnTo>
                    <a:lnTo>
                      <a:pt x="87" y="123"/>
                    </a:lnTo>
                    <a:lnTo>
                      <a:pt x="92" y="118"/>
                    </a:lnTo>
                    <a:lnTo>
                      <a:pt x="101" y="113"/>
                    </a:lnTo>
                    <a:lnTo>
                      <a:pt x="106" y="111"/>
                    </a:lnTo>
                    <a:lnTo>
                      <a:pt x="109" y="111"/>
                    </a:lnTo>
                    <a:lnTo>
                      <a:pt x="111" y="104"/>
                    </a:lnTo>
                    <a:lnTo>
                      <a:pt x="113" y="101"/>
                    </a:lnTo>
                    <a:lnTo>
                      <a:pt x="113" y="99"/>
                    </a:lnTo>
                    <a:lnTo>
                      <a:pt x="116" y="97"/>
                    </a:lnTo>
                    <a:lnTo>
                      <a:pt x="118" y="90"/>
                    </a:lnTo>
                    <a:lnTo>
                      <a:pt x="120" y="85"/>
                    </a:lnTo>
                    <a:lnTo>
                      <a:pt x="120" y="82"/>
                    </a:lnTo>
                    <a:lnTo>
                      <a:pt x="125" y="80"/>
                    </a:lnTo>
                    <a:lnTo>
                      <a:pt x="125" y="64"/>
                    </a:lnTo>
                    <a:lnTo>
                      <a:pt x="125" y="64"/>
                    </a:lnTo>
                    <a:lnTo>
                      <a:pt x="127" y="59"/>
                    </a:lnTo>
                    <a:lnTo>
                      <a:pt x="127" y="56"/>
                    </a:lnTo>
                    <a:lnTo>
                      <a:pt x="130" y="54"/>
                    </a:lnTo>
                    <a:lnTo>
                      <a:pt x="132" y="54"/>
                    </a:lnTo>
                    <a:lnTo>
                      <a:pt x="135" y="52"/>
                    </a:lnTo>
                    <a:lnTo>
                      <a:pt x="135" y="52"/>
                    </a:lnTo>
                    <a:lnTo>
                      <a:pt x="135" y="49"/>
                    </a:lnTo>
                    <a:lnTo>
                      <a:pt x="137" y="47"/>
                    </a:lnTo>
                    <a:lnTo>
                      <a:pt x="139" y="47"/>
                    </a:lnTo>
                    <a:lnTo>
                      <a:pt x="144" y="45"/>
                    </a:lnTo>
                    <a:lnTo>
                      <a:pt x="146" y="42"/>
                    </a:lnTo>
                    <a:lnTo>
                      <a:pt x="149" y="42"/>
                    </a:lnTo>
                    <a:lnTo>
                      <a:pt x="153" y="40"/>
                    </a:lnTo>
                    <a:lnTo>
                      <a:pt x="153" y="38"/>
                    </a:lnTo>
                    <a:lnTo>
                      <a:pt x="153" y="38"/>
                    </a:lnTo>
                    <a:lnTo>
                      <a:pt x="156" y="38"/>
                    </a:lnTo>
                    <a:lnTo>
                      <a:pt x="158" y="35"/>
                    </a:lnTo>
                    <a:lnTo>
                      <a:pt x="158" y="33"/>
                    </a:lnTo>
                    <a:lnTo>
                      <a:pt x="161" y="33"/>
                    </a:lnTo>
                    <a:lnTo>
                      <a:pt x="163" y="33"/>
                    </a:lnTo>
                    <a:lnTo>
                      <a:pt x="165" y="31"/>
                    </a:lnTo>
                    <a:lnTo>
                      <a:pt x="172" y="28"/>
                    </a:lnTo>
                    <a:lnTo>
                      <a:pt x="175" y="28"/>
                    </a:lnTo>
                    <a:lnTo>
                      <a:pt x="175" y="28"/>
                    </a:lnTo>
                    <a:lnTo>
                      <a:pt x="177" y="28"/>
                    </a:lnTo>
                    <a:lnTo>
                      <a:pt x="179" y="28"/>
                    </a:lnTo>
                    <a:lnTo>
                      <a:pt x="179" y="26"/>
                    </a:lnTo>
                    <a:lnTo>
                      <a:pt x="182" y="26"/>
                    </a:lnTo>
                    <a:lnTo>
                      <a:pt x="189" y="16"/>
                    </a:lnTo>
                    <a:lnTo>
                      <a:pt x="189" y="16"/>
                    </a:lnTo>
                    <a:lnTo>
                      <a:pt x="191" y="14"/>
                    </a:lnTo>
                    <a:lnTo>
                      <a:pt x="191" y="16"/>
                    </a:lnTo>
                    <a:lnTo>
                      <a:pt x="194" y="19"/>
                    </a:lnTo>
                    <a:lnTo>
                      <a:pt x="194" y="16"/>
                    </a:lnTo>
                    <a:lnTo>
                      <a:pt x="198" y="14"/>
                    </a:lnTo>
                    <a:lnTo>
                      <a:pt x="201" y="14"/>
                    </a:lnTo>
                    <a:lnTo>
                      <a:pt x="201" y="12"/>
                    </a:lnTo>
                    <a:lnTo>
                      <a:pt x="203" y="12"/>
                    </a:lnTo>
                    <a:lnTo>
                      <a:pt x="203" y="9"/>
                    </a:lnTo>
                    <a:lnTo>
                      <a:pt x="205" y="9"/>
                    </a:lnTo>
                    <a:lnTo>
                      <a:pt x="208" y="7"/>
                    </a:lnTo>
                    <a:lnTo>
                      <a:pt x="208" y="7"/>
                    </a:lnTo>
                    <a:lnTo>
                      <a:pt x="212" y="7"/>
                    </a:lnTo>
                    <a:lnTo>
                      <a:pt x="217" y="7"/>
                    </a:lnTo>
                    <a:lnTo>
                      <a:pt x="222" y="12"/>
                    </a:lnTo>
                    <a:lnTo>
                      <a:pt x="224" y="12"/>
                    </a:lnTo>
                    <a:lnTo>
                      <a:pt x="229" y="12"/>
                    </a:lnTo>
                    <a:lnTo>
                      <a:pt x="231" y="12"/>
                    </a:lnTo>
                    <a:lnTo>
                      <a:pt x="231" y="12"/>
                    </a:lnTo>
                    <a:lnTo>
                      <a:pt x="231" y="12"/>
                    </a:lnTo>
                    <a:lnTo>
                      <a:pt x="236" y="12"/>
                    </a:lnTo>
                    <a:lnTo>
                      <a:pt x="238" y="14"/>
                    </a:lnTo>
                    <a:lnTo>
                      <a:pt x="241" y="14"/>
                    </a:lnTo>
                    <a:lnTo>
                      <a:pt x="248" y="12"/>
                    </a:lnTo>
                    <a:lnTo>
                      <a:pt x="255" y="7"/>
                    </a:lnTo>
                    <a:lnTo>
                      <a:pt x="257" y="7"/>
                    </a:lnTo>
                    <a:lnTo>
                      <a:pt x="257" y="7"/>
                    </a:lnTo>
                    <a:lnTo>
                      <a:pt x="260" y="9"/>
                    </a:lnTo>
                    <a:lnTo>
                      <a:pt x="262" y="12"/>
                    </a:lnTo>
                    <a:lnTo>
                      <a:pt x="264" y="12"/>
                    </a:lnTo>
                    <a:lnTo>
                      <a:pt x="264" y="14"/>
                    </a:lnTo>
                    <a:lnTo>
                      <a:pt x="267" y="14"/>
                    </a:lnTo>
                    <a:lnTo>
                      <a:pt x="269" y="14"/>
                    </a:lnTo>
                    <a:lnTo>
                      <a:pt x="274" y="12"/>
                    </a:lnTo>
                    <a:lnTo>
                      <a:pt x="274" y="12"/>
                    </a:lnTo>
                    <a:lnTo>
                      <a:pt x="274" y="12"/>
                    </a:lnTo>
                    <a:lnTo>
                      <a:pt x="276" y="12"/>
                    </a:lnTo>
                    <a:lnTo>
                      <a:pt x="276" y="12"/>
                    </a:lnTo>
                    <a:lnTo>
                      <a:pt x="279" y="12"/>
                    </a:lnTo>
                    <a:lnTo>
                      <a:pt x="281" y="14"/>
                    </a:lnTo>
                    <a:lnTo>
                      <a:pt x="283" y="14"/>
                    </a:lnTo>
                    <a:lnTo>
                      <a:pt x="290" y="14"/>
                    </a:lnTo>
                    <a:lnTo>
                      <a:pt x="293" y="16"/>
                    </a:lnTo>
                    <a:lnTo>
                      <a:pt x="295" y="14"/>
                    </a:lnTo>
                    <a:lnTo>
                      <a:pt x="295" y="14"/>
                    </a:lnTo>
                    <a:lnTo>
                      <a:pt x="300" y="12"/>
                    </a:lnTo>
                    <a:lnTo>
                      <a:pt x="300" y="14"/>
                    </a:lnTo>
                    <a:lnTo>
                      <a:pt x="302" y="16"/>
                    </a:lnTo>
                    <a:lnTo>
                      <a:pt x="302" y="19"/>
                    </a:lnTo>
                    <a:lnTo>
                      <a:pt x="302" y="21"/>
                    </a:lnTo>
                    <a:lnTo>
                      <a:pt x="302" y="21"/>
                    </a:lnTo>
                    <a:lnTo>
                      <a:pt x="307" y="19"/>
                    </a:lnTo>
                    <a:lnTo>
                      <a:pt x="309" y="16"/>
                    </a:lnTo>
                    <a:lnTo>
                      <a:pt x="312" y="16"/>
                    </a:lnTo>
                    <a:lnTo>
                      <a:pt x="312" y="12"/>
                    </a:lnTo>
                    <a:lnTo>
                      <a:pt x="312" y="12"/>
                    </a:lnTo>
                    <a:lnTo>
                      <a:pt x="312" y="7"/>
                    </a:lnTo>
                    <a:lnTo>
                      <a:pt x="312" y="7"/>
                    </a:lnTo>
                    <a:lnTo>
                      <a:pt x="312" y="5"/>
                    </a:lnTo>
                    <a:lnTo>
                      <a:pt x="314" y="2"/>
                    </a:lnTo>
                    <a:lnTo>
                      <a:pt x="314" y="0"/>
                    </a:lnTo>
                    <a:lnTo>
                      <a:pt x="316" y="0"/>
                    </a:lnTo>
                    <a:lnTo>
                      <a:pt x="319" y="0"/>
                    </a:lnTo>
                    <a:lnTo>
                      <a:pt x="319" y="0"/>
                    </a:lnTo>
                    <a:lnTo>
                      <a:pt x="324" y="2"/>
                    </a:lnTo>
                    <a:lnTo>
                      <a:pt x="328" y="2"/>
                    </a:lnTo>
                    <a:lnTo>
                      <a:pt x="328" y="2"/>
                    </a:lnTo>
                    <a:lnTo>
                      <a:pt x="331" y="5"/>
                    </a:lnTo>
                    <a:lnTo>
                      <a:pt x="335" y="7"/>
                    </a:lnTo>
                    <a:lnTo>
                      <a:pt x="338" y="7"/>
                    </a:lnTo>
                    <a:lnTo>
                      <a:pt x="345" y="12"/>
                    </a:lnTo>
                    <a:lnTo>
                      <a:pt x="345" y="12"/>
                    </a:lnTo>
                    <a:lnTo>
                      <a:pt x="345" y="12"/>
                    </a:lnTo>
                    <a:lnTo>
                      <a:pt x="347" y="14"/>
                    </a:lnTo>
                    <a:lnTo>
                      <a:pt x="349" y="14"/>
                    </a:lnTo>
                    <a:lnTo>
                      <a:pt x="349" y="14"/>
                    </a:lnTo>
                    <a:lnTo>
                      <a:pt x="359" y="12"/>
                    </a:lnTo>
                    <a:lnTo>
                      <a:pt x="361" y="14"/>
                    </a:lnTo>
                    <a:lnTo>
                      <a:pt x="364" y="14"/>
                    </a:lnTo>
                    <a:lnTo>
                      <a:pt x="364" y="14"/>
                    </a:lnTo>
                    <a:lnTo>
                      <a:pt x="366" y="14"/>
                    </a:lnTo>
                    <a:lnTo>
                      <a:pt x="366" y="14"/>
                    </a:lnTo>
                    <a:lnTo>
                      <a:pt x="366" y="19"/>
                    </a:lnTo>
                    <a:lnTo>
                      <a:pt x="366" y="21"/>
                    </a:lnTo>
                    <a:lnTo>
                      <a:pt x="368" y="21"/>
                    </a:lnTo>
                    <a:lnTo>
                      <a:pt x="373" y="19"/>
                    </a:lnTo>
                    <a:lnTo>
                      <a:pt x="373" y="19"/>
                    </a:lnTo>
                    <a:lnTo>
                      <a:pt x="378" y="19"/>
                    </a:lnTo>
                    <a:lnTo>
                      <a:pt x="380" y="19"/>
                    </a:lnTo>
                    <a:lnTo>
                      <a:pt x="383" y="21"/>
                    </a:lnTo>
                    <a:lnTo>
                      <a:pt x="385" y="23"/>
                    </a:lnTo>
                    <a:lnTo>
                      <a:pt x="387" y="23"/>
                    </a:lnTo>
                    <a:lnTo>
                      <a:pt x="387" y="23"/>
                    </a:lnTo>
                    <a:lnTo>
                      <a:pt x="392" y="21"/>
                    </a:lnTo>
                    <a:lnTo>
                      <a:pt x="392" y="23"/>
                    </a:lnTo>
                    <a:lnTo>
                      <a:pt x="394" y="23"/>
                    </a:lnTo>
                    <a:lnTo>
                      <a:pt x="397" y="21"/>
                    </a:lnTo>
                    <a:lnTo>
                      <a:pt x="399" y="21"/>
                    </a:lnTo>
                    <a:lnTo>
                      <a:pt x="401" y="16"/>
                    </a:lnTo>
                    <a:lnTo>
                      <a:pt x="404" y="16"/>
                    </a:lnTo>
                    <a:lnTo>
                      <a:pt x="406" y="19"/>
                    </a:lnTo>
                    <a:lnTo>
                      <a:pt x="409" y="19"/>
                    </a:lnTo>
                    <a:lnTo>
                      <a:pt x="411" y="19"/>
                    </a:lnTo>
                    <a:lnTo>
                      <a:pt x="413" y="19"/>
                    </a:lnTo>
                    <a:lnTo>
                      <a:pt x="416" y="19"/>
                    </a:lnTo>
                    <a:lnTo>
                      <a:pt x="420" y="21"/>
                    </a:lnTo>
                    <a:lnTo>
                      <a:pt x="420" y="21"/>
                    </a:lnTo>
                    <a:lnTo>
                      <a:pt x="423" y="19"/>
                    </a:lnTo>
                    <a:lnTo>
                      <a:pt x="425" y="21"/>
                    </a:lnTo>
                    <a:lnTo>
                      <a:pt x="427" y="21"/>
                    </a:lnTo>
                    <a:lnTo>
                      <a:pt x="427" y="21"/>
                    </a:lnTo>
                    <a:lnTo>
                      <a:pt x="427" y="26"/>
                    </a:lnTo>
                    <a:lnTo>
                      <a:pt x="430" y="26"/>
                    </a:lnTo>
                    <a:lnTo>
                      <a:pt x="432" y="26"/>
                    </a:lnTo>
                    <a:lnTo>
                      <a:pt x="435" y="28"/>
                    </a:lnTo>
                    <a:lnTo>
                      <a:pt x="437" y="28"/>
                    </a:lnTo>
                    <a:lnTo>
                      <a:pt x="439" y="31"/>
                    </a:lnTo>
                    <a:lnTo>
                      <a:pt x="444" y="33"/>
                    </a:lnTo>
                    <a:lnTo>
                      <a:pt x="451" y="33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61" y="35"/>
                    </a:lnTo>
                    <a:lnTo>
                      <a:pt x="463" y="35"/>
                    </a:lnTo>
                    <a:lnTo>
                      <a:pt x="465" y="38"/>
                    </a:lnTo>
                    <a:lnTo>
                      <a:pt x="465" y="38"/>
                    </a:lnTo>
                    <a:lnTo>
                      <a:pt x="468" y="35"/>
                    </a:lnTo>
                    <a:lnTo>
                      <a:pt x="468" y="35"/>
                    </a:lnTo>
                    <a:lnTo>
                      <a:pt x="472" y="35"/>
                    </a:lnTo>
                    <a:lnTo>
                      <a:pt x="472" y="38"/>
                    </a:lnTo>
                    <a:lnTo>
                      <a:pt x="477" y="40"/>
                    </a:lnTo>
                    <a:lnTo>
                      <a:pt x="479" y="45"/>
                    </a:lnTo>
                    <a:lnTo>
                      <a:pt x="479" y="45"/>
                    </a:lnTo>
                    <a:lnTo>
                      <a:pt x="482" y="47"/>
                    </a:lnTo>
                    <a:lnTo>
                      <a:pt x="484" y="49"/>
                    </a:lnTo>
                    <a:lnTo>
                      <a:pt x="484" y="49"/>
                    </a:lnTo>
                    <a:lnTo>
                      <a:pt x="484" y="49"/>
                    </a:lnTo>
                    <a:lnTo>
                      <a:pt x="484" y="54"/>
                    </a:lnTo>
                    <a:lnTo>
                      <a:pt x="484" y="56"/>
                    </a:lnTo>
                    <a:lnTo>
                      <a:pt x="487" y="56"/>
                    </a:lnTo>
                    <a:lnTo>
                      <a:pt x="489" y="56"/>
                    </a:lnTo>
                    <a:lnTo>
                      <a:pt x="489" y="56"/>
                    </a:lnTo>
                    <a:lnTo>
                      <a:pt x="491" y="59"/>
                    </a:lnTo>
                    <a:lnTo>
                      <a:pt x="491" y="59"/>
                    </a:lnTo>
                    <a:lnTo>
                      <a:pt x="494" y="59"/>
                    </a:lnTo>
                    <a:lnTo>
                      <a:pt x="496" y="56"/>
                    </a:lnTo>
                    <a:lnTo>
                      <a:pt x="498" y="52"/>
                    </a:lnTo>
                    <a:lnTo>
                      <a:pt x="498" y="49"/>
                    </a:lnTo>
                    <a:lnTo>
                      <a:pt x="501" y="49"/>
                    </a:lnTo>
                    <a:lnTo>
                      <a:pt x="501" y="49"/>
                    </a:lnTo>
                    <a:lnTo>
                      <a:pt x="503" y="49"/>
                    </a:lnTo>
                    <a:lnTo>
                      <a:pt x="503" y="52"/>
                    </a:lnTo>
                    <a:lnTo>
                      <a:pt x="505" y="52"/>
                    </a:lnTo>
                    <a:lnTo>
                      <a:pt x="508" y="52"/>
                    </a:lnTo>
                    <a:lnTo>
                      <a:pt x="510" y="52"/>
                    </a:lnTo>
                    <a:lnTo>
                      <a:pt x="512" y="49"/>
                    </a:lnTo>
                    <a:lnTo>
                      <a:pt x="515" y="52"/>
                    </a:lnTo>
                    <a:lnTo>
                      <a:pt x="517" y="52"/>
                    </a:lnTo>
                    <a:lnTo>
                      <a:pt x="517" y="52"/>
                    </a:lnTo>
                    <a:lnTo>
                      <a:pt x="520" y="54"/>
                    </a:lnTo>
                    <a:lnTo>
                      <a:pt x="520" y="54"/>
                    </a:lnTo>
                    <a:lnTo>
                      <a:pt x="522" y="56"/>
                    </a:lnTo>
                    <a:lnTo>
                      <a:pt x="522" y="54"/>
                    </a:lnTo>
                    <a:lnTo>
                      <a:pt x="524" y="54"/>
                    </a:lnTo>
                    <a:lnTo>
                      <a:pt x="527" y="56"/>
                    </a:lnTo>
                    <a:lnTo>
                      <a:pt x="529" y="54"/>
                    </a:lnTo>
                    <a:lnTo>
                      <a:pt x="531" y="56"/>
                    </a:lnTo>
                    <a:lnTo>
                      <a:pt x="531" y="54"/>
                    </a:lnTo>
                    <a:lnTo>
                      <a:pt x="531" y="54"/>
                    </a:lnTo>
                    <a:lnTo>
                      <a:pt x="531" y="52"/>
                    </a:lnTo>
                    <a:lnTo>
                      <a:pt x="534" y="52"/>
                    </a:lnTo>
                    <a:lnTo>
                      <a:pt x="534" y="52"/>
                    </a:lnTo>
                    <a:lnTo>
                      <a:pt x="536" y="49"/>
                    </a:lnTo>
                    <a:lnTo>
                      <a:pt x="538" y="52"/>
                    </a:lnTo>
                    <a:lnTo>
                      <a:pt x="538" y="52"/>
                    </a:lnTo>
                    <a:lnTo>
                      <a:pt x="541" y="54"/>
                    </a:lnTo>
                    <a:lnTo>
                      <a:pt x="541" y="56"/>
                    </a:lnTo>
                    <a:lnTo>
                      <a:pt x="543" y="56"/>
                    </a:lnTo>
                    <a:lnTo>
                      <a:pt x="546" y="56"/>
                    </a:lnTo>
                    <a:lnTo>
                      <a:pt x="548" y="54"/>
                    </a:lnTo>
                    <a:lnTo>
                      <a:pt x="548" y="54"/>
                    </a:lnTo>
                    <a:lnTo>
                      <a:pt x="550" y="54"/>
                    </a:lnTo>
                    <a:lnTo>
                      <a:pt x="553" y="54"/>
                    </a:lnTo>
                    <a:lnTo>
                      <a:pt x="555" y="56"/>
                    </a:lnTo>
                    <a:lnTo>
                      <a:pt x="555" y="56"/>
                    </a:lnTo>
                    <a:lnTo>
                      <a:pt x="555" y="56"/>
                    </a:lnTo>
                    <a:lnTo>
                      <a:pt x="557" y="56"/>
                    </a:lnTo>
                    <a:lnTo>
                      <a:pt x="560" y="56"/>
                    </a:lnTo>
                    <a:lnTo>
                      <a:pt x="562" y="56"/>
                    </a:lnTo>
                    <a:lnTo>
                      <a:pt x="564" y="56"/>
                    </a:lnTo>
                    <a:lnTo>
                      <a:pt x="567" y="54"/>
                    </a:lnTo>
                    <a:lnTo>
                      <a:pt x="569" y="54"/>
                    </a:lnTo>
                    <a:lnTo>
                      <a:pt x="569" y="54"/>
                    </a:lnTo>
                    <a:lnTo>
                      <a:pt x="572" y="54"/>
                    </a:lnTo>
                    <a:lnTo>
                      <a:pt x="572" y="52"/>
                    </a:lnTo>
                    <a:lnTo>
                      <a:pt x="574" y="52"/>
                    </a:lnTo>
                    <a:lnTo>
                      <a:pt x="576" y="54"/>
                    </a:lnTo>
                    <a:lnTo>
                      <a:pt x="579" y="52"/>
                    </a:lnTo>
                    <a:lnTo>
                      <a:pt x="579" y="49"/>
                    </a:lnTo>
                    <a:lnTo>
                      <a:pt x="581" y="52"/>
                    </a:lnTo>
                    <a:lnTo>
                      <a:pt x="583" y="52"/>
                    </a:lnTo>
                    <a:lnTo>
                      <a:pt x="583" y="54"/>
                    </a:lnTo>
                    <a:lnTo>
                      <a:pt x="586" y="54"/>
                    </a:lnTo>
                    <a:lnTo>
                      <a:pt x="586" y="54"/>
                    </a:lnTo>
                    <a:lnTo>
                      <a:pt x="586" y="52"/>
                    </a:lnTo>
                    <a:lnTo>
                      <a:pt x="586" y="52"/>
                    </a:lnTo>
                    <a:lnTo>
                      <a:pt x="586" y="49"/>
                    </a:lnTo>
                    <a:lnTo>
                      <a:pt x="586" y="49"/>
                    </a:lnTo>
                    <a:lnTo>
                      <a:pt x="588" y="52"/>
                    </a:lnTo>
                    <a:lnTo>
                      <a:pt x="588" y="52"/>
                    </a:lnTo>
                    <a:lnTo>
                      <a:pt x="590" y="54"/>
                    </a:lnTo>
                    <a:lnTo>
                      <a:pt x="588" y="56"/>
                    </a:lnTo>
                    <a:lnTo>
                      <a:pt x="588" y="56"/>
                    </a:lnTo>
                    <a:lnTo>
                      <a:pt x="588" y="59"/>
                    </a:lnTo>
                    <a:lnTo>
                      <a:pt x="590" y="61"/>
                    </a:lnTo>
                    <a:lnTo>
                      <a:pt x="593" y="61"/>
                    </a:lnTo>
                    <a:lnTo>
                      <a:pt x="595" y="61"/>
                    </a:lnTo>
                    <a:lnTo>
                      <a:pt x="598" y="64"/>
                    </a:lnTo>
                    <a:lnTo>
                      <a:pt x="598" y="64"/>
                    </a:lnTo>
                    <a:lnTo>
                      <a:pt x="598" y="64"/>
                    </a:lnTo>
                    <a:lnTo>
                      <a:pt x="598" y="64"/>
                    </a:lnTo>
                    <a:lnTo>
                      <a:pt x="595" y="66"/>
                    </a:lnTo>
                    <a:lnTo>
                      <a:pt x="595" y="68"/>
                    </a:lnTo>
                    <a:lnTo>
                      <a:pt x="595" y="71"/>
                    </a:lnTo>
                    <a:lnTo>
                      <a:pt x="598" y="71"/>
                    </a:lnTo>
                    <a:lnTo>
                      <a:pt x="600" y="71"/>
                    </a:lnTo>
                    <a:lnTo>
                      <a:pt x="600" y="71"/>
                    </a:lnTo>
                    <a:lnTo>
                      <a:pt x="602" y="71"/>
                    </a:lnTo>
                    <a:lnTo>
                      <a:pt x="602" y="73"/>
                    </a:lnTo>
                    <a:lnTo>
                      <a:pt x="605" y="73"/>
                    </a:lnTo>
                    <a:lnTo>
                      <a:pt x="607" y="71"/>
                    </a:lnTo>
                    <a:lnTo>
                      <a:pt x="607" y="73"/>
                    </a:lnTo>
                    <a:lnTo>
                      <a:pt x="607" y="73"/>
                    </a:lnTo>
                    <a:lnTo>
                      <a:pt x="609" y="73"/>
                    </a:lnTo>
                    <a:lnTo>
                      <a:pt x="609" y="75"/>
                    </a:lnTo>
                    <a:lnTo>
                      <a:pt x="609" y="75"/>
                    </a:lnTo>
                    <a:lnTo>
                      <a:pt x="612" y="75"/>
                    </a:lnTo>
                    <a:lnTo>
                      <a:pt x="612" y="75"/>
                    </a:lnTo>
                    <a:lnTo>
                      <a:pt x="614" y="75"/>
                    </a:lnTo>
                    <a:lnTo>
                      <a:pt x="614" y="78"/>
                    </a:lnTo>
                    <a:lnTo>
                      <a:pt x="616" y="75"/>
                    </a:lnTo>
                    <a:lnTo>
                      <a:pt x="619" y="75"/>
                    </a:lnTo>
                    <a:lnTo>
                      <a:pt x="619" y="78"/>
                    </a:lnTo>
                    <a:lnTo>
                      <a:pt x="621" y="78"/>
                    </a:lnTo>
                    <a:lnTo>
                      <a:pt x="619" y="80"/>
                    </a:lnTo>
                    <a:lnTo>
                      <a:pt x="619" y="80"/>
                    </a:lnTo>
                    <a:lnTo>
                      <a:pt x="621" y="82"/>
                    </a:lnTo>
                    <a:lnTo>
                      <a:pt x="621" y="85"/>
                    </a:lnTo>
                    <a:lnTo>
                      <a:pt x="624" y="82"/>
                    </a:lnTo>
                    <a:lnTo>
                      <a:pt x="624" y="85"/>
                    </a:lnTo>
                    <a:lnTo>
                      <a:pt x="624" y="85"/>
                    </a:lnTo>
                    <a:lnTo>
                      <a:pt x="626" y="85"/>
                    </a:lnTo>
                    <a:lnTo>
                      <a:pt x="626" y="85"/>
                    </a:lnTo>
                    <a:lnTo>
                      <a:pt x="626" y="87"/>
                    </a:lnTo>
                    <a:lnTo>
                      <a:pt x="628" y="90"/>
                    </a:lnTo>
                    <a:lnTo>
                      <a:pt x="628" y="92"/>
                    </a:lnTo>
                    <a:lnTo>
                      <a:pt x="628" y="94"/>
                    </a:lnTo>
                    <a:lnTo>
                      <a:pt x="631" y="94"/>
                    </a:lnTo>
                    <a:lnTo>
                      <a:pt x="631" y="94"/>
                    </a:lnTo>
                    <a:lnTo>
                      <a:pt x="631" y="97"/>
                    </a:lnTo>
                    <a:lnTo>
                      <a:pt x="631" y="97"/>
                    </a:lnTo>
                    <a:lnTo>
                      <a:pt x="633" y="99"/>
                    </a:lnTo>
                    <a:lnTo>
                      <a:pt x="633" y="104"/>
                    </a:lnTo>
                    <a:lnTo>
                      <a:pt x="633" y="104"/>
                    </a:lnTo>
                    <a:lnTo>
                      <a:pt x="633" y="106"/>
                    </a:lnTo>
                    <a:lnTo>
                      <a:pt x="633" y="108"/>
                    </a:lnTo>
                    <a:lnTo>
                      <a:pt x="631" y="106"/>
                    </a:lnTo>
                    <a:lnTo>
                      <a:pt x="631" y="108"/>
                    </a:lnTo>
                    <a:lnTo>
                      <a:pt x="631" y="108"/>
                    </a:lnTo>
                    <a:lnTo>
                      <a:pt x="633" y="108"/>
                    </a:lnTo>
                    <a:lnTo>
                      <a:pt x="635" y="111"/>
                    </a:lnTo>
                    <a:lnTo>
                      <a:pt x="635" y="113"/>
                    </a:lnTo>
                    <a:lnTo>
                      <a:pt x="638" y="113"/>
                    </a:lnTo>
                    <a:lnTo>
                      <a:pt x="635" y="113"/>
                    </a:lnTo>
                    <a:lnTo>
                      <a:pt x="635" y="113"/>
                    </a:lnTo>
                    <a:lnTo>
                      <a:pt x="633" y="113"/>
                    </a:lnTo>
                    <a:lnTo>
                      <a:pt x="633" y="116"/>
                    </a:lnTo>
                    <a:lnTo>
                      <a:pt x="633" y="116"/>
                    </a:lnTo>
                    <a:lnTo>
                      <a:pt x="635" y="116"/>
                    </a:lnTo>
                    <a:lnTo>
                      <a:pt x="635" y="116"/>
                    </a:lnTo>
                    <a:lnTo>
                      <a:pt x="635" y="116"/>
                    </a:lnTo>
                    <a:lnTo>
                      <a:pt x="635" y="116"/>
                    </a:lnTo>
                    <a:lnTo>
                      <a:pt x="635" y="116"/>
                    </a:lnTo>
                    <a:lnTo>
                      <a:pt x="638" y="118"/>
                    </a:lnTo>
                    <a:lnTo>
                      <a:pt x="638" y="118"/>
                    </a:lnTo>
                    <a:lnTo>
                      <a:pt x="638" y="118"/>
                    </a:lnTo>
                    <a:lnTo>
                      <a:pt x="640" y="118"/>
                    </a:lnTo>
                    <a:lnTo>
                      <a:pt x="640" y="120"/>
                    </a:lnTo>
                    <a:lnTo>
                      <a:pt x="640" y="120"/>
                    </a:lnTo>
                    <a:lnTo>
                      <a:pt x="640" y="120"/>
                    </a:lnTo>
                    <a:lnTo>
                      <a:pt x="638" y="120"/>
                    </a:lnTo>
                    <a:lnTo>
                      <a:pt x="638" y="120"/>
                    </a:lnTo>
                    <a:lnTo>
                      <a:pt x="635" y="120"/>
                    </a:lnTo>
                    <a:lnTo>
                      <a:pt x="635" y="123"/>
                    </a:lnTo>
                    <a:lnTo>
                      <a:pt x="635" y="123"/>
                    </a:lnTo>
                    <a:lnTo>
                      <a:pt x="635" y="125"/>
                    </a:lnTo>
                    <a:lnTo>
                      <a:pt x="635" y="125"/>
                    </a:lnTo>
                    <a:lnTo>
                      <a:pt x="635" y="125"/>
                    </a:lnTo>
                    <a:lnTo>
                      <a:pt x="633" y="125"/>
                    </a:lnTo>
                    <a:lnTo>
                      <a:pt x="633" y="127"/>
                    </a:lnTo>
                    <a:lnTo>
                      <a:pt x="633" y="127"/>
                    </a:lnTo>
                    <a:lnTo>
                      <a:pt x="633" y="130"/>
                    </a:lnTo>
                    <a:lnTo>
                      <a:pt x="633" y="130"/>
                    </a:lnTo>
                    <a:lnTo>
                      <a:pt x="633" y="130"/>
                    </a:lnTo>
                    <a:lnTo>
                      <a:pt x="633" y="132"/>
                    </a:lnTo>
                    <a:lnTo>
                      <a:pt x="635" y="132"/>
                    </a:lnTo>
                    <a:lnTo>
                      <a:pt x="635" y="134"/>
                    </a:lnTo>
                    <a:lnTo>
                      <a:pt x="635" y="134"/>
                    </a:lnTo>
                    <a:lnTo>
                      <a:pt x="635" y="137"/>
                    </a:lnTo>
                    <a:lnTo>
                      <a:pt x="635" y="137"/>
                    </a:lnTo>
                    <a:lnTo>
                      <a:pt x="635" y="139"/>
                    </a:lnTo>
                    <a:lnTo>
                      <a:pt x="633" y="142"/>
                    </a:lnTo>
                    <a:lnTo>
                      <a:pt x="633" y="142"/>
                    </a:lnTo>
                    <a:lnTo>
                      <a:pt x="633" y="144"/>
                    </a:lnTo>
                    <a:lnTo>
                      <a:pt x="633" y="144"/>
                    </a:lnTo>
                    <a:lnTo>
                      <a:pt x="633" y="144"/>
                    </a:lnTo>
                    <a:lnTo>
                      <a:pt x="635" y="144"/>
                    </a:lnTo>
                    <a:lnTo>
                      <a:pt x="635" y="146"/>
                    </a:lnTo>
                    <a:lnTo>
                      <a:pt x="633" y="146"/>
                    </a:lnTo>
                    <a:lnTo>
                      <a:pt x="635" y="146"/>
                    </a:lnTo>
                    <a:lnTo>
                      <a:pt x="635" y="149"/>
                    </a:lnTo>
                    <a:lnTo>
                      <a:pt x="638" y="149"/>
                    </a:lnTo>
                    <a:lnTo>
                      <a:pt x="638" y="151"/>
                    </a:lnTo>
                    <a:lnTo>
                      <a:pt x="638" y="151"/>
                    </a:lnTo>
                    <a:lnTo>
                      <a:pt x="638" y="151"/>
                    </a:lnTo>
                    <a:lnTo>
                      <a:pt x="638" y="151"/>
                    </a:lnTo>
                    <a:lnTo>
                      <a:pt x="640" y="151"/>
                    </a:lnTo>
                    <a:lnTo>
                      <a:pt x="640" y="153"/>
                    </a:lnTo>
                    <a:lnTo>
                      <a:pt x="640" y="153"/>
                    </a:lnTo>
                    <a:lnTo>
                      <a:pt x="640" y="153"/>
                    </a:lnTo>
                    <a:lnTo>
                      <a:pt x="642" y="153"/>
                    </a:lnTo>
                    <a:lnTo>
                      <a:pt x="642" y="153"/>
                    </a:lnTo>
                    <a:lnTo>
                      <a:pt x="642" y="156"/>
                    </a:lnTo>
                    <a:lnTo>
                      <a:pt x="642" y="156"/>
                    </a:lnTo>
                    <a:lnTo>
                      <a:pt x="642" y="158"/>
                    </a:lnTo>
                    <a:lnTo>
                      <a:pt x="642" y="160"/>
                    </a:lnTo>
                    <a:lnTo>
                      <a:pt x="642" y="160"/>
                    </a:lnTo>
                    <a:lnTo>
                      <a:pt x="640" y="158"/>
                    </a:lnTo>
                    <a:lnTo>
                      <a:pt x="640" y="160"/>
                    </a:lnTo>
                    <a:lnTo>
                      <a:pt x="640" y="160"/>
                    </a:lnTo>
                    <a:lnTo>
                      <a:pt x="640" y="160"/>
                    </a:lnTo>
                    <a:lnTo>
                      <a:pt x="640" y="163"/>
                    </a:lnTo>
                    <a:lnTo>
                      <a:pt x="640" y="163"/>
                    </a:lnTo>
                    <a:lnTo>
                      <a:pt x="640" y="163"/>
                    </a:lnTo>
                    <a:lnTo>
                      <a:pt x="640" y="165"/>
                    </a:lnTo>
                    <a:lnTo>
                      <a:pt x="640" y="168"/>
                    </a:lnTo>
                    <a:lnTo>
                      <a:pt x="640" y="168"/>
                    </a:lnTo>
                    <a:lnTo>
                      <a:pt x="640" y="170"/>
                    </a:lnTo>
                    <a:lnTo>
                      <a:pt x="640" y="170"/>
                    </a:lnTo>
                    <a:lnTo>
                      <a:pt x="640" y="170"/>
                    </a:lnTo>
                    <a:lnTo>
                      <a:pt x="638" y="172"/>
                    </a:lnTo>
                    <a:lnTo>
                      <a:pt x="635" y="172"/>
                    </a:lnTo>
                    <a:lnTo>
                      <a:pt x="635" y="172"/>
                    </a:lnTo>
                    <a:lnTo>
                      <a:pt x="638" y="172"/>
                    </a:lnTo>
                    <a:lnTo>
                      <a:pt x="635" y="172"/>
                    </a:lnTo>
                    <a:lnTo>
                      <a:pt x="635" y="172"/>
                    </a:lnTo>
                    <a:lnTo>
                      <a:pt x="635" y="172"/>
                    </a:lnTo>
                    <a:lnTo>
                      <a:pt x="635" y="175"/>
                    </a:lnTo>
                    <a:lnTo>
                      <a:pt x="635" y="175"/>
                    </a:lnTo>
                    <a:lnTo>
                      <a:pt x="635" y="175"/>
                    </a:lnTo>
                    <a:lnTo>
                      <a:pt x="635" y="177"/>
                    </a:lnTo>
                    <a:lnTo>
                      <a:pt x="635" y="177"/>
                    </a:lnTo>
                    <a:lnTo>
                      <a:pt x="638" y="179"/>
                    </a:lnTo>
                    <a:lnTo>
                      <a:pt x="640" y="177"/>
                    </a:lnTo>
                    <a:lnTo>
                      <a:pt x="640" y="179"/>
                    </a:lnTo>
                    <a:lnTo>
                      <a:pt x="640" y="182"/>
                    </a:lnTo>
                    <a:lnTo>
                      <a:pt x="640" y="182"/>
                    </a:lnTo>
                    <a:lnTo>
                      <a:pt x="642" y="182"/>
                    </a:lnTo>
                    <a:lnTo>
                      <a:pt x="642" y="184"/>
                    </a:lnTo>
                    <a:lnTo>
                      <a:pt x="642" y="184"/>
                    </a:lnTo>
                    <a:lnTo>
                      <a:pt x="645" y="184"/>
                    </a:lnTo>
                    <a:lnTo>
                      <a:pt x="645" y="184"/>
                    </a:lnTo>
                    <a:lnTo>
                      <a:pt x="645" y="182"/>
                    </a:lnTo>
                    <a:lnTo>
                      <a:pt x="645" y="184"/>
                    </a:lnTo>
                    <a:lnTo>
                      <a:pt x="647" y="184"/>
                    </a:lnTo>
                    <a:lnTo>
                      <a:pt x="647" y="184"/>
                    </a:lnTo>
                    <a:lnTo>
                      <a:pt x="647" y="186"/>
                    </a:lnTo>
                    <a:lnTo>
                      <a:pt x="647" y="186"/>
                    </a:lnTo>
                    <a:lnTo>
                      <a:pt x="645" y="186"/>
                    </a:lnTo>
                    <a:lnTo>
                      <a:pt x="645" y="186"/>
                    </a:lnTo>
                    <a:lnTo>
                      <a:pt x="647" y="186"/>
                    </a:lnTo>
                    <a:lnTo>
                      <a:pt x="647" y="186"/>
                    </a:lnTo>
                    <a:lnTo>
                      <a:pt x="647" y="189"/>
                    </a:lnTo>
                    <a:lnTo>
                      <a:pt x="650" y="189"/>
                    </a:lnTo>
                    <a:lnTo>
                      <a:pt x="650" y="189"/>
                    </a:lnTo>
                    <a:lnTo>
                      <a:pt x="647" y="189"/>
                    </a:lnTo>
                    <a:lnTo>
                      <a:pt x="647" y="189"/>
                    </a:lnTo>
                    <a:lnTo>
                      <a:pt x="647" y="189"/>
                    </a:lnTo>
                    <a:lnTo>
                      <a:pt x="650" y="191"/>
                    </a:lnTo>
                    <a:lnTo>
                      <a:pt x="650" y="191"/>
                    </a:lnTo>
                    <a:lnTo>
                      <a:pt x="650" y="191"/>
                    </a:lnTo>
                    <a:lnTo>
                      <a:pt x="650" y="193"/>
                    </a:lnTo>
                    <a:lnTo>
                      <a:pt x="650" y="193"/>
                    </a:lnTo>
                    <a:lnTo>
                      <a:pt x="650" y="193"/>
                    </a:lnTo>
                    <a:lnTo>
                      <a:pt x="650" y="196"/>
                    </a:lnTo>
                    <a:lnTo>
                      <a:pt x="652" y="196"/>
                    </a:lnTo>
                    <a:lnTo>
                      <a:pt x="650" y="196"/>
                    </a:lnTo>
                    <a:lnTo>
                      <a:pt x="650" y="196"/>
                    </a:lnTo>
                    <a:lnTo>
                      <a:pt x="650" y="196"/>
                    </a:lnTo>
                    <a:lnTo>
                      <a:pt x="650" y="196"/>
                    </a:lnTo>
                    <a:lnTo>
                      <a:pt x="650" y="196"/>
                    </a:lnTo>
                    <a:lnTo>
                      <a:pt x="652" y="196"/>
                    </a:lnTo>
                    <a:lnTo>
                      <a:pt x="652" y="196"/>
                    </a:lnTo>
                    <a:lnTo>
                      <a:pt x="652" y="198"/>
                    </a:lnTo>
                    <a:lnTo>
                      <a:pt x="652" y="198"/>
                    </a:lnTo>
                    <a:lnTo>
                      <a:pt x="652" y="198"/>
                    </a:lnTo>
                    <a:lnTo>
                      <a:pt x="654" y="201"/>
                    </a:lnTo>
                    <a:lnTo>
                      <a:pt x="654" y="201"/>
                    </a:lnTo>
                    <a:lnTo>
                      <a:pt x="657" y="201"/>
                    </a:lnTo>
                    <a:lnTo>
                      <a:pt x="657" y="203"/>
                    </a:lnTo>
                    <a:lnTo>
                      <a:pt x="657" y="203"/>
                    </a:lnTo>
                    <a:lnTo>
                      <a:pt x="657" y="203"/>
                    </a:lnTo>
                    <a:lnTo>
                      <a:pt x="657" y="205"/>
                    </a:lnTo>
                    <a:lnTo>
                      <a:pt x="657" y="205"/>
                    </a:lnTo>
                    <a:lnTo>
                      <a:pt x="659" y="205"/>
                    </a:lnTo>
                    <a:lnTo>
                      <a:pt x="661" y="205"/>
                    </a:lnTo>
                    <a:lnTo>
                      <a:pt x="659" y="208"/>
                    </a:lnTo>
                    <a:lnTo>
                      <a:pt x="661" y="208"/>
                    </a:lnTo>
                    <a:lnTo>
                      <a:pt x="659" y="208"/>
                    </a:lnTo>
                    <a:lnTo>
                      <a:pt x="661" y="208"/>
                    </a:lnTo>
                    <a:lnTo>
                      <a:pt x="661" y="210"/>
                    </a:lnTo>
                    <a:lnTo>
                      <a:pt x="664" y="208"/>
                    </a:lnTo>
                    <a:lnTo>
                      <a:pt x="664" y="210"/>
                    </a:lnTo>
                    <a:lnTo>
                      <a:pt x="664" y="208"/>
                    </a:lnTo>
                    <a:lnTo>
                      <a:pt x="666" y="210"/>
                    </a:lnTo>
                    <a:lnTo>
                      <a:pt x="666" y="210"/>
                    </a:lnTo>
                    <a:lnTo>
                      <a:pt x="668" y="212"/>
                    </a:lnTo>
                    <a:lnTo>
                      <a:pt x="668" y="212"/>
                    </a:lnTo>
                    <a:lnTo>
                      <a:pt x="668" y="212"/>
                    </a:lnTo>
                    <a:lnTo>
                      <a:pt x="671" y="215"/>
                    </a:lnTo>
                    <a:lnTo>
                      <a:pt x="668" y="215"/>
                    </a:lnTo>
                    <a:lnTo>
                      <a:pt x="668" y="217"/>
                    </a:lnTo>
                    <a:lnTo>
                      <a:pt x="668" y="219"/>
                    </a:lnTo>
                    <a:lnTo>
                      <a:pt x="668" y="219"/>
                    </a:lnTo>
                    <a:lnTo>
                      <a:pt x="666" y="222"/>
                    </a:lnTo>
                    <a:lnTo>
                      <a:pt x="668" y="222"/>
                    </a:lnTo>
                    <a:lnTo>
                      <a:pt x="671" y="224"/>
                    </a:lnTo>
                    <a:lnTo>
                      <a:pt x="671" y="227"/>
                    </a:lnTo>
                    <a:lnTo>
                      <a:pt x="673" y="227"/>
                    </a:lnTo>
                    <a:lnTo>
                      <a:pt x="673" y="227"/>
                    </a:lnTo>
                    <a:lnTo>
                      <a:pt x="673" y="227"/>
                    </a:lnTo>
                    <a:lnTo>
                      <a:pt x="673" y="227"/>
                    </a:lnTo>
                    <a:lnTo>
                      <a:pt x="675" y="229"/>
                    </a:lnTo>
                    <a:lnTo>
                      <a:pt x="673" y="229"/>
                    </a:lnTo>
                    <a:lnTo>
                      <a:pt x="675" y="231"/>
                    </a:lnTo>
                    <a:lnTo>
                      <a:pt x="675" y="231"/>
                    </a:lnTo>
                    <a:lnTo>
                      <a:pt x="675" y="234"/>
                    </a:lnTo>
                    <a:lnTo>
                      <a:pt x="675" y="234"/>
                    </a:lnTo>
                    <a:lnTo>
                      <a:pt x="675" y="234"/>
                    </a:lnTo>
                    <a:lnTo>
                      <a:pt x="678" y="234"/>
                    </a:lnTo>
                    <a:lnTo>
                      <a:pt x="678" y="234"/>
                    </a:lnTo>
                    <a:lnTo>
                      <a:pt x="680" y="236"/>
                    </a:lnTo>
                    <a:lnTo>
                      <a:pt x="680" y="236"/>
                    </a:lnTo>
                    <a:lnTo>
                      <a:pt x="680" y="236"/>
                    </a:lnTo>
                    <a:lnTo>
                      <a:pt x="683" y="236"/>
                    </a:lnTo>
                    <a:lnTo>
                      <a:pt x="685" y="238"/>
                    </a:lnTo>
                    <a:lnTo>
                      <a:pt x="685" y="238"/>
                    </a:lnTo>
                    <a:lnTo>
                      <a:pt x="687" y="238"/>
                    </a:lnTo>
                    <a:lnTo>
                      <a:pt x="685" y="241"/>
                    </a:lnTo>
                    <a:lnTo>
                      <a:pt x="683" y="241"/>
                    </a:lnTo>
                    <a:lnTo>
                      <a:pt x="680" y="243"/>
                    </a:lnTo>
                    <a:lnTo>
                      <a:pt x="680" y="245"/>
                    </a:lnTo>
                    <a:lnTo>
                      <a:pt x="680" y="248"/>
                    </a:lnTo>
                    <a:lnTo>
                      <a:pt x="680" y="248"/>
                    </a:lnTo>
                    <a:lnTo>
                      <a:pt x="680" y="245"/>
                    </a:lnTo>
                    <a:lnTo>
                      <a:pt x="683" y="245"/>
                    </a:lnTo>
                    <a:lnTo>
                      <a:pt x="683" y="248"/>
                    </a:lnTo>
                    <a:lnTo>
                      <a:pt x="680" y="250"/>
                    </a:lnTo>
                    <a:lnTo>
                      <a:pt x="680" y="250"/>
                    </a:lnTo>
                    <a:lnTo>
                      <a:pt x="680" y="253"/>
                    </a:lnTo>
                    <a:lnTo>
                      <a:pt x="680" y="253"/>
                    </a:lnTo>
                    <a:lnTo>
                      <a:pt x="680" y="253"/>
                    </a:lnTo>
                    <a:lnTo>
                      <a:pt x="680" y="255"/>
                    </a:lnTo>
                    <a:lnTo>
                      <a:pt x="680" y="255"/>
                    </a:lnTo>
                    <a:lnTo>
                      <a:pt x="680" y="255"/>
                    </a:lnTo>
                    <a:lnTo>
                      <a:pt x="678" y="255"/>
                    </a:lnTo>
                    <a:lnTo>
                      <a:pt x="678" y="257"/>
                    </a:lnTo>
                    <a:lnTo>
                      <a:pt x="678" y="260"/>
                    </a:lnTo>
                    <a:lnTo>
                      <a:pt x="675" y="260"/>
                    </a:lnTo>
                    <a:lnTo>
                      <a:pt x="675" y="260"/>
                    </a:lnTo>
                    <a:lnTo>
                      <a:pt x="675" y="262"/>
                    </a:lnTo>
                    <a:lnTo>
                      <a:pt x="675" y="262"/>
                    </a:lnTo>
                    <a:lnTo>
                      <a:pt x="675" y="264"/>
                    </a:lnTo>
                    <a:lnTo>
                      <a:pt x="675" y="264"/>
                    </a:lnTo>
                    <a:lnTo>
                      <a:pt x="675" y="267"/>
                    </a:lnTo>
                    <a:lnTo>
                      <a:pt x="673" y="264"/>
                    </a:lnTo>
                    <a:lnTo>
                      <a:pt x="673" y="267"/>
                    </a:lnTo>
                    <a:lnTo>
                      <a:pt x="671" y="267"/>
                    </a:lnTo>
                    <a:lnTo>
                      <a:pt x="671" y="267"/>
                    </a:lnTo>
                    <a:lnTo>
                      <a:pt x="671" y="269"/>
                    </a:lnTo>
                    <a:lnTo>
                      <a:pt x="673" y="269"/>
                    </a:lnTo>
                    <a:lnTo>
                      <a:pt x="673" y="271"/>
                    </a:lnTo>
                    <a:lnTo>
                      <a:pt x="671" y="271"/>
                    </a:lnTo>
                    <a:lnTo>
                      <a:pt x="673" y="271"/>
                    </a:lnTo>
                    <a:lnTo>
                      <a:pt x="673" y="271"/>
                    </a:lnTo>
                    <a:lnTo>
                      <a:pt x="671" y="274"/>
                    </a:lnTo>
                    <a:lnTo>
                      <a:pt x="671" y="274"/>
                    </a:lnTo>
                    <a:lnTo>
                      <a:pt x="673" y="274"/>
                    </a:lnTo>
                    <a:lnTo>
                      <a:pt x="671" y="279"/>
                    </a:lnTo>
                    <a:lnTo>
                      <a:pt x="673" y="279"/>
                    </a:lnTo>
                    <a:lnTo>
                      <a:pt x="673" y="279"/>
                    </a:lnTo>
                    <a:lnTo>
                      <a:pt x="673" y="279"/>
                    </a:lnTo>
                    <a:lnTo>
                      <a:pt x="673" y="279"/>
                    </a:lnTo>
                    <a:lnTo>
                      <a:pt x="673" y="281"/>
                    </a:lnTo>
                    <a:lnTo>
                      <a:pt x="673" y="281"/>
                    </a:lnTo>
                    <a:lnTo>
                      <a:pt x="673" y="281"/>
                    </a:lnTo>
                    <a:lnTo>
                      <a:pt x="675" y="281"/>
                    </a:lnTo>
                    <a:lnTo>
                      <a:pt x="678" y="283"/>
                    </a:lnTo>
                    <a:lnTo>
                      <a:pt x="678" y="283"/>
                    </a:lnTo>
                    <a:lnTo>
                      <a:pt x="680" y="283"/>
                    </a:lnTo>
                    <a:lnTo>
                      <a:pt x="680" y="286"/>
                    </a:lnTo>
                    <a:lnTo>
                      <a:pt x="683" y="286"/>
                    </a:lnTo>
                    <a:lnTo>
                      <a:pt x="685" y="286"/>
                    </a:lnTo>
                    <a:lnTo>
                      <a:pt x="685" y="283"/>
                    </a:lnTo>
                    <a:lnTo>
                      <a:pt x="687" y="283"/>
                    </a:lnTo>
                    <a:lnTo>
                      <a:pt x="687" y="283"/>
                    </a:lnTo>
                    <a:lnTo>
                      <a:pt x="687" y="281"/>
                    </a:lnTo>
                    <a:lnTo>
                      <a:pt x="690" y="281"/>
                    </a:lnTo>
                    <a:lnTo>
                      <a:pt x="690" y="281"/>
                    </a:lnTo>
                    <a:lnTo>
                      <a:pt x="692" y="281"/>
                    </a:lnTo>
                    <a:lnTo>
                      <a:pt x="694" y="281"/>
                    </a:lnTo>
                    <a:lnTo>
                      <a:pt x="697" y="283"/>
                    </a:lnTo>
                    <a:lnTo>
                      <a:pt x="697" y="283"/>
                    </a:lnTo>
                    <a:lnTo>
                      <a:pt x="699" y="281"/>
                    </a:lnTo>
                    <a:lnTo>
                      <a:pt x="699" y="281"/>
                    </a:lnTo>
                    <a:lnTo>
                      <a:pt x="699" y="283"/>
                    </a:lnTo>
                    <a:lnTo>
                      <a:pt x="701" y="283"/>
                    </a:lnTo>
                    <a:lnTo>
                      <a:pt x="701" y="281"/>
                    </a:lnTo>
                    <a:lnTo>
                      <a:pt x="701" y="281"/>
                    </a:lnTo>
                    <a:lnTo>
                      <a:pt x="704" y="283"/>
                    </a:lnTo>
                    <a:lnTo>
                      <a:pt x="704" y="283"/>
                    </a:lnTo>
                    <a:lnTo>
                      <a:pt x="704" y="283"/>
                    </a:lnTo>
                    <a:lnTo>
                      <a:pt x="706" y="283"/>
                    </a:lnTo>
                    <a:lnTo>
                      <a:pt x="706" y="281"/>
                    </a:lnTo>
                    <a:lnTo>
                      <a:pt x="706" y="281"/>
                    </a:lnTo>
                    <a:lnTo>
                      <a:pt x="706" y="279"/>
                    </a:lnTo>
                    <a:lnTo>
                      <a:pt x="706" y="279"/>
                    </a:lnTo>
                    <a:lnTo>
                      <a:pt x="709" y="279"/>
                    </a:lnTo>
                    <a:lnTo>
                      <a:pt x="706" y="279"/>
                    </a:lnTo>
                    <a:lnTo>
                      <a:pt x="706" y="279"/>
                    </a:lnTo>
                    <a:lnTo>
                      <a:pt x="706" y="276"/>
                    </a:lnTo>
                    <a:lnTo>
                      <a:pt x="709" y="276"/>
                    </a:lnTo>
                    <a:lnTo>
                      <a:pt x="709" y="279"/>
                    </a:lnTo>
                    <a:lnTo>
                      <a:pt x="711" y="276"/>
                    </a:lnTo>
                    <a:lnTo>
                      <a:pt x="713" y="276"/>
                    </a:lnTo>
                    <a:lnTo>
                      <a:pt x="713" y="279"/>
                    </a:lnTo>
                    <a:lnTo>
                      <a:pt x="711" y="279"/>
                    </a:lnTo>
                    <a:lnTo>
                      <a:pt x="711" y="281"/>
                    </a:lnTo>
                    <a:lnTo>
                      <a:pt x="713" y="279"/>
                    </a:lnTo>
                    <a:lnTo>
                      <a:pt x="713" y="279"/>
                    </a:lnTo>
                    <a:lnTo>
                      <a:pt x="713" y="281"/>
                    </a:lnTo>
                    <a:lnTo>
                      <a:pt x="716" y="281"/>
                    </a:lnTo>
                    <a:lnTo>
                      <a:pt x="716" y="281"/>
                    </a:lnTo>
                    <a:lnTo>
                      <a:pt x="716" y="281"/>
                    </a:lnTo>
                    <a:lnTo>
                      <a:pt x="718" y="283"/>
                    </a:lnTo>
                    <a:lnTo>
                      <a:pt x="718" y="281"/>
                    </a:lnTo>
                    <a:lnTo>
                      <a:pt x="720" y="281"/>
                    </a:lnTo>
                    <a:lnTo>
                      <a:pt x="723" y="281"/>
                    </a:lnTo>
                    <a:lnTo>
                      <a:pt x="723" y="283"/>
                    </a:lnTo>
                    <a:lnTo>
                      <a:pt x="723" y="283"/>
                    </a:lnTo>
                    <a:lnTo>
                      <a:pt x="723" y="281"/>
                    </a:lnTo>
                    <a:lnTo>
                      <a:pt x="725" y="281"/>
                    </a:lnTo>
                    <a:lnTo>
                      <a:pt x="727" y="281"/>
                    </a:lnTo>
                    <a:lnTo>
                      <a:pt x="730" y="281"/>
                    </a:lnTo>
                    <a:lnTo>
                      <a:pt x="732" y="281"/>
                    </a:lnTo>
                    <a:lnTo>
                      <a:pt x="730" y="281"/>
                    </a:lnTo>
                    <a:lnTo>
                      <a:pt x="730" y="279"/>
                    </a:lnTo>
                    <a:lnTo>
                      <a:pt x="732" y="281"/>
                    </a:lnTo>
                    <a:lnTo>
                      <a:pt x="735" y="279"/>
                    </a:lnTo>
                    <a:lnTo>
                      <a:pt x="735" y="281"/>
                    </a:lnTo>
                    <a:lnTo>
                      <a:pt x="735" y="281"/>
                    </a:lnTo>
                    <a:lnTo>
                      <a:pt x="737" y="281"/>
                    </a:lnTo>
                    <a:lnTo>
                      <a:pt x="739" y="283"/>
                    </a:lnTo>
                    <a:lnTo>
                      <a:pt x="739" y="286"/>
                    </a:lnTo>
                    <a:lnTo>
                      <a:pt x="742" y="283"/>
                    </a:lnTo>
                    <a:lnTo>
                      <a:pt x="742" y="283"/>
                    </a:lnTo>
                    <a:lnTo>
                      <a:pt x="744" y="283"/>
                    </a:lnTo>
                    <a:lnTo>
                      <a:pt x="744" y="283"/>
                    </a:lnTo>
                    <a:lnTo>
                      <a:pt x="744" y="283"/>
                    </a:lnTo>
                    <a:lnTo>
                      <a:pt x="746" y="283"/>
                    </a:lnTo>
                    <a:lnTo>
                      <a:pt x="749" y="283"/>
                    </a:lnTo>
                    <a:lnTo>
                      <a:pt x="751" y="283"/>
                    </a:lnTo>
                    <a:lnTo>
                      <a:pt x="751" y="283"/>
                    </a:lnTo>
                    <a:lnTo>
                      <a:pt x="751" y="283"/>
                    </a:lnTo>
                    <a:lnTo>
                      <a:pt x="751" y="281"/>
                    </a:lnTo>
                    <a:lnTo>
                      <a:pt x="751" y="281"/>
                    </a:lnTo>
                    <a:lnTo>
                      <a:pt x="753" y="281"/>
                    </a:lnTo>
                    <a:lnTo>
                      <a:pt x="753" y="283"/>
                    </a:lnTo>
                    <a:lnTo>
                      <a:pt x="753" y="283"/>
                    </a:lnTo>
                    <a:lnTo>
                      <a:pt x="753" y="283"/>
                    </a:lnTo>
                    <a:lnTo>
                      <a:pt x="753" y="283"/>
                    </a:lnTo>
                    <a:lnTo>
                      <a:pt x="753" y="286"/>
                    </a:lnTo>
                    <a:lnTo>
                      <a:pt x="753" y="286"/>
                    </a:lnTo>
                    <a:lnTo>
                      <a:pt x="753" y="286"/>
                    </a:lnTo>
                    <a:lnTo>
                      <a:pt x="756" y="283"/>
                    </a:lnTo>
                    <a:lnTo>
                      <a:pt x="756" y="283"/>
                    </a:lnTo>
                    <a:lnTo>
                      <a:pt x="756" y="283"/>
                    </a:lnTo>
                    <a:lnTo>
                      <a:pt x="758" y="283"/>
                    </a:lnTo>
                    <a:lnTo>
                      <a:pt x="761" y="281"/>
                    </a:lnTo>
                    <a:lnTo>
                      <a:pt x="761" y="281"/>
                    </a:lnTo>
                    <a:lnTo>
                      <a:pt x="763" y="281"/>
                    </a:lnTo>
                    <a:lnTo>
                      <a:pt x="763" y="281"/>
                    </a:lnTo>
                    <a:lnTo>
                      <a:pt x="763" y="283"/>
                    </a:lnTo>
                    <a:lnTo>
                      <a:pt x="765" y="281"/>
                    </a:lnTo>
                    <a:lnTo>
                      <a:pt x="765" y="283"/>
                    </a:lnTo>
                    <a:lnTo>
                      <a:pt x="768" y="283"/>
                    </a:lnTo>
                    <a:lnTo>
                      <a:pt x="768" y="286"/>
                    </a:lnTo>
                    <a:lnTo>
                      <a:pt x="768" y="288"/>
                    </a:lnTo>
                    <a:lnTo>
                      <a:pt x="770" y="288"/>
                    </a:lnTo>
                    <a:lnTo>
                      <a:pt x="770" y="288"/>
                    </a:lnTo>
                    <a:lnTo>
                      <a:pt x="770" y="288"/>
                    </a:lnTo>
                    <a:lnTo>
                      <a:pt x="770" y="288"/>
                    </a:lnTo>
                    <a:lnTo>
                      <a:pt x="770" y="288"/>
                    </a:lnTo>
                    <a:lnTo>
                      <a:pt x="772" y="290"/>
                    </a:lnTo>
                    <a:lnTo>
                      <a:pt x="772" y="290"/>
                    </a:lnTo>
                    <a:lnTo>
                      <a:pt x="772" y="290"/>
                    </a:lnTo>
                    <a:lnTo>
                      <a:pt x="775" y="290"/>
                    </a:lnTo>
                    <a:lnTo>
                      <a:pt x="775" y="290"/>
                    </a:lnTo>
                    <a:lnTo>
                      <a:pt x="775" y="290"/>
                    </a:lnTo>
                    <a:lnTo>
                      <a:pt x="775" y="290"/>
                    </a:lnTo>
                    <a:lnTo>
                      <a:pt x="775" y="293"/>
                    </a:lnTo>
                    <a:lnTo>
                      <a:pt x="775" y="293"/>
                    </a:lnTo>
                    <a:lnTo>
                      <a:pt x="772" y="293"/>
                    </a:lnTo>
                    <a:lnTo>
                      <a:pt x="772" y="295"/>
                    </a:lnTo>
                    <a:lnTo>
                      <a:pt x="772" y="297"/>
                    </a:lnTo>
                    <a:lnTo>
                      <a:pt x="770" y="297"/>
                    </a:lnTo>
                    <a:lnTo>
                      <a:pt x="768" y="300"/>
                    </a:lnTo>
                    <a:lnTo>
                      <a:pt x="768" y="300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8" y="305"/>
                    </a:lnTo>
                    <a:lnTo>
                      <a:pt x="768" y="307"/>
                    </a:lnTo>
                    <a:lnTo>
                      <a:pt x="768" y="307"/>
                    </a:lnTo>
                    <a:lnTo>
                      <a:pt x="770" y="307"/>
                    </a:lnTo>
                    <a:lnTo>
                      <a:pt x="770" y="307"/>
                    </a:lnTo>
                    <a:lnTo>
                      <a:pt x="770" y="309"/>
                    </a:lnTo>
                    <a:lnTo>
                      <a:pt x="768" y="309"/>
                    </a:lnTo>
                    <a:lnTo>
                      <a:pt x="768" y="309"/>
                    </a:lnTo>
                    <a:lnTo>
                      <a:pt x="768" y="309"/>
                    </a:lnTo>
                    <a:lnTo>
                      <a:pt x="768" y="312"/>
                    </a:lnTo>
                    <a:lnTo>
                      <a:pt x="768" y="312"/>
                    </a:lnTo>
                    <a:lnTo>
                      <a:pt x="768" y="312"/>
                    </a:lnTo>
                    <a:lnTo>
                      <a:pt x="768" y="312"/>
                    </a:lnTo>
                    <a:lnTo>
                      <a:pt x="768" y="314"/>
                    </a:lnTo>
                    <a:lnTo>
                      <a:pt x="768" y="314"/>
                    </a:lnTo>
                    <a:lnTo>
                      <a:pt x="768" y="316"/>
                    </a:lnTo>
                    <a:lnTo>
                      <a:pt x="768" y="316"/>
                    </a:lnTo>
                    <a:lnTo>
                      <a:pt x="768" y="316"/>
                    </a:lnTo>
                    <a:lnTo>
                      <a:pt x="768" y="319"/>
                    </a:lnTo>
                    <a:lnTo>
                      <a:pt x="768" y="319"/>
                    </a:lnTo>
                    <a:lnTo>
                      <a:pt x="768" y="319"/>
                    </a:lnTo>
                    <a:lnTo>
                      <a:pt x="768" y="321"/>
                    </a:lnTo>
                    <a:lnTo>
                      <a:pt x="765" y="321"/>
                    </a:lnTo>
                    <a:lnTo>
                      <a:pt x="763" y="323"/>
                    </a:lnTo>
                    <a:lnTo>
                      <a:pt x="763" y="323"/>
                    </a:lnTo>
                    <a:lnTo>
                      <a:pt x="763" y="323"/>
                    </a:lnTo>
                    <a:lnTo>
                      <a:pt x="763" y="326"/>
                    </a:lnTo>
                    <a:lnTo>
                      <a:pt x="763" y="326"/>
                    </a:lnTo>
                    <a:lnTo>
                      <a:pt x="763" y="326"/>
                    </a:lnTo>
                    <a:lnTo>
                      <a:pt x="763" y="328"/>
                    </a:lnTo>
                    <a:lnTo>
                      <a:pt x="763" y="328"/>
                    </a:lnTo>
                    <a:lnTo>
                      <a:pt x="763" y="328"/>
                    </a:lnTo>
                    <a:lnTo>
                      <a:pt x="765" y="328"/>
                    </a:lnTo>
                    <a:lnTo>
                      <a:pt x="765" y="331"/>
                    </a:lnTo>
                    <a:lnTo>
                      <a:pt x="768" y="331"/>
                    </a:lnTo>
                    <a:lnTo>
                      <a:pt x="768" y="333"/>
                    </a:lnTo>
                    <a:lnTo>
                      <a:pt x="768" y="333"/>
                    </a:lnTo>
                    <a:lnTo>
                      <a:pt x="768" y="335"/>
                    </a:lnTo>
                    <a:lnTo>
                      <a:pt x="768" y="335"/>
                    </a:lnTo>
                    <a:lnTo>
                      <a:pt x="770" y="335"/>
                    </a:lnTo>
                    <a:lnTo>
                      <a:pt x="770" y="338"/>
                    </a:lnTo>
                    <a:lnTo>
                      <a:pt x="772" y="338"/>
                    </a:lnTo>
                    <a:lnTo>
                      <a:pt x="772" y="335"/>
                    </a:lnTo>
                    <a:lnTo>
                      <a:pt x="772" y="335"/>
                    </a:lnTo>
                    <a:lnTo>
                      <a:pt x="775" y="333"/>
                    </a:lnTo>
                    <a:lnTo>
                      <a:pt x="777" y="333"/>
                    </a:lnTo>
                    <a:lnTo>
                      <a:pt x="777" y="333"/>
                    </a:lnTo>
                    <a:lnTo>
                      <a:pt x="777" y="331"/>
                    </a:lnTo>
                    <a:lnTo>
                      <a:pt x="779" y="326"/>
                    </a:lnTo>
                    <a:lnTo>
                      <a:pt x="784" y="323"/>
                    </a:lnTo>
                    <a:lnTo>
                      <a:pt x="787" y="323"/>
                    </a:lnTo>
                    <a:lnTo>
                      <a:pt x="787" y="321"/>
                    </a:lnTo>
                    <a:lnTo>
                      <a:pt x="789" y="323"/>
                    </a:lnTo>
                    <a:lnTo>
                      <a:pt x="791" y="323"/>
                    </a:lnTo>
                    <a:lnTo>
                      <a:pt x="791" y="326"/>
                    </a:lnTo>
                    <a:lnTo>
                      <a:pt x="791" y="326"/>
                    </a:lnTo>
                    <a:lnTo>
                      <a:pt x="794" y="328"/>
                    </a:lnTo>
                    <a:lnTo>
                      <a:pt x="794" y="328"/>
                    </a:lnTo>
                    <a:lnTo>
                      <a:pt x="794" y="328"/>
                    </a:lnTo>
                    <a:lnTo>
                      <a:pt x="796" y="328"/>
                    </a:lnTo>
                    <a:lnTo>
                      <a:pt x="796" y="331"/>
                    </a:lnTo>
                    <a:lnTo>
                      <a:pt x="796" y="328"/>
                    </a:lnTo>
                    <a:lnTo>
                      <a:pt x="798" y="328"/>
                    </a:lnTo>
                    <a:lnTo>
                      <a:pt x="798" y="333"/>
                    </a:lnTo>
                    <a:lnTo>
                      <a:pt x="796" y="333"/>
                    </a:lnTo>
                    <a:lnTo>
                      <a:pt x="796" y="333"/>
                    </a:lnTo>
                    <a:lnTo>
                      <a:pt x="798" y="333"/>
                    </a:lnTo>
                    <a:lnTo>
                      <a:pt x="798" y="331"/>
                    </a:lnTo>
                    <a:lnTo>
                      <a:pt x="801" y="328"/>
                    </a:lnTo>
                    <a:lnTo>
                      <a:pt x="801" y="328"/>
                    </a:lnTo>
                    <a:lnTo>
                      <a:pt x="801" y="328"/>
                    </a:lnTo>
                    <a:lnTo>
                      <a:pt x="803" y="328"/>
                    </a:lnTo>
                    <a:lnTo>
                      <a:pt x="803" y="328"/>
                    </a:lnTo>
                    <a:lnTo>
                      <a:pt x="803" y="328"/>
                    </a:lnTo>
                    <a:lnTo>
                      <a:pt x="803" y="326"/>
                    </a:lnTo>
                    <a:lnTo>
                      <a:pt x="805" y="326"/>
                    </a:lnTo>
                    <a:lnTo>
                      <a:pt x="805" y="326"/>
                    </a:lnTo>
                    <a:lnTo>
                      <a:pt x="805" y="323"/>
                    </a:lnTo>
                    <a:lnTo>
                      <a:pt x="805" y="323"/>
                    </a:lnTo>
                    <a:lnTo>
                      <a:pt x="805" y="323"/>
                    </a:lnTo>
                    <a:lnTo>
                      <a:pt x="805" y="323"/>
                    </a:lnTo>
                    <a:lnTo>
                      <a:pt x="805" y="321"/>
                    </a:lnTo>
                    <a:lnTo>
                      <a:pt x="808" y="321"/>
                    </a:lnTo>
                    <a:lnTo>
                      <a:pt x="808" y="323"/>
                    </a:lnTo>
                    <a:lnTo>
                      <a:pt x="808" y="323"/>
                    </a:lnTo>
                    <a:lnTo>
                      <a:pt x="810" y="326"/>
                    </a:lnTo>
                    <a:lnTo>
                      <a:pt x="810" y="326"/>
                    </a:lnTo>
                    <a:lnTo>
                      <a:pt x="810" y="326"/>
                    </a:lnTo>
                    <a:lnTo>
                      <a:pt x="810" y="326"/>
                    </a:lnTo>
                    <a:lnTo>
                      <a:pt x="810" y="328"/>
                    </a:lnTo>
                    <a:lnTo>
                      <a:pt x="810" y="328"/>
                    </a:lnTo>
                    <a:lnTo>
                      <a:pt x="812" y="328"/>
                    </a:lnTo>
                    <a:lnTo>
                      <a:pt x="812" y="328"/>
                    </a:lnTo>
                    <a:lnTo>
                      <a:pt x="810" y="331"/>
                    </a:lnTo>
                    <a:lnTo>
                      <a:pt x="812" y="333"/>
                    </a:lnTo>
                    <a:lnTo>
                      <a:pt x="810" y="335"/>
                    </a:lnTo>
                    <a:lnTo>
                      <a:pt x="812" y="335"/>
                    </a:lnTo>
                    <a:lnTo>
                      <a:pt x="812" y="335"/>
                    </a:lnTo>
                    <a:lnTo>
                      <a:pt x="815" y="338"/>
                    </a:lnTo>
                    <a:lnTo>
                      <a:pt x="815" y="340"/>
                    </a:lnTo>
                    <a:lnTo>
                      <a:pt x="815" y="342"/>
                    </a:lnTo>
                    <a:lnTo>
                      <a:pt x="815" y="342"/>
                    </a:lnTo>
                    <a:lnTo>
                      <a:pt x="817" y="342"/>
                    </a:lnTo>
                    <a:lnTo>
                      <a:pt x="820" y="345"/>
                    </a:lnTo>
                    <a:lnTo>
                      <a:pt x="817" y="345"/>
                    </a:lnTo>
                    <a:lnTo>
                      <a:pt x="817" y="345"/>
                    </a:lnTo>
                    <a:lnTo>
                      <a:pt x="817" y="347"/>
                    </a:lnTo>
                    <a:lnTo>
                      <a:pt x="817" y="347"/>
                    </a:lnTo>
                    <a:lnTo>
                      <a:pt x="815" y="349"/>
                    </a:lnTo>
                    <a:lnTo>
                      <a:pt x="815" y="352"/>
                    </a:lnTo>
                    <a:lnTo>
                      <a:pt x="817" y="352"/>
                    </a:lnTo>
                    <a:lnTo>
                      <a:pt x="817" y="352"/>
                    </a:lnTo>
                    <a:lnTo>
                      <a:pt x="820" y="354"/>
                    </a:lnTo>
                    <a:lnTo>
                      <a:pt x="820" y="354"/>
                    </a:lnTo>
                    <a:lnTo>
                      <a:pt x="824" y="356"/>
                    </a:lnTo>
                    <a:lnTo>
                      <a:pt x="827" y="356"/>
                    </a:lnTo>
                    <a:lnTo>
                      <a:pt x="827" y="356"/>
                    </a:lnTo>
                    <a:lnTo>
                      <a:pt x="829" y="356"/>
                    </a:lnTo>
                    <a:lnTo>
                      <a:pt x="829" y="356"/>
                    </a:lnTo>
                    <a:lnTo>
                      <a:pt x="831" y="356"/>
                    </a:lnTo>
                    <a:lnTo>
                      <a:pt x="831" y="354"/>
                    </a:lnTo>
                    <a:lnTo>
                      <a:pt x="831" y="354"/>
                    </a:lnTo>
                    <a:lnTo>
                      <a:pt x="831" y="354"/>
                    </a:lnTo>
                    <a:lnTo>
                      <a:pt x="834" y="354"/>
                    </a:lnTo>
                    <a:lnTo>
                      <a:pt x="834" y="354"/>
                    </a:lnTo>
                    <a:lnTo>
                      <a:pt x="834" y="354"/>
                    </a:lnTo>
                    <a:lnTo>
                      <a:pt x="836" y="354"/>
                    </a:lnTo>
                    <a:lnTo>
                      <a:pt x="834" y="354"/>
                    </a:lnTo>
                    <a:lnTo>
                      <a:pt x="836" y="354"/>
                    </a:lnTo>
                    <a:lnTo>
                      <a:pt x="827" y="361"/>
                    </a:lnTo>
                    <a:lnTo>
                      <a:pt x="827" y="364"/>
                    </a:lnTo>
                    <a:lnTo>
                      <a:pt x="827" y="366"/>
                    </a:lnTo>
                    <a:lnTo>
                      <a:pt x="827" y="366"/>
                    </a:lnTo>
                    <a:lnTo>
                      <a:pt x="827" y="366"/>
                    </a:lnTo>
                    <a:lnTo>
                      <a:pt x="822" y="371"/>
                    </a:lnTo>
                    <a:lnTo>
                      <a:pt x="820" y="373"/>
                    </a:lnTo>
                    <a:lnTo>
                      <a:pt x="815" y="378"/>
                    </a:lnTo>
                    <a:lnTo>
                      <a:pt x="812" y="380"/>
                    </a:lnTo>
                    <a:lnTo>
                      <a:pt x="812" y="385"/>
                    </a:lnTo>
                    <a:lnTo>
                      <a:pt x="810" y="385"/>
                    </a:lnTo>
                    <a:lnTo>
                      <a:pt x="810" y="385"/>
                    </a:lnTo>
                    <a:lnTo>
                      <a:pt x="805" y="387"/>
                    </a:lnTo>
                    <a:lnTo>
                      <a:pt x="803" y="390"/>
                    </a:lnTo>
                    <a:lnTo>
                      <a:pt x="798" y="390"/>
                    </a:lnTo>
                    <a:lnTo>
                      <a:pt x="803" y="392"/>
                    </a:lnTo>
                    <a:lnTo>
                      <a:pt x="801" y="397"/>
                    </a:lnTo>
                    <a:lnTo>
                      <a:pt x="801" y="397"/>
                    </a:lnTo>
                    <a:lnTo>
                      <a:pt x="801" y="399"/>
                    </a:lnTo>
                    <a:lnTo>
                      <a:pt x="801" y="399"/>
                    </a:lnTo>
                    <a:lnTo>
                      <a:pt x="801" y="399"/>
                    </a:lnTo>
                    <a:lnTo>
                      <a:pt x="798" y="399"/>
                    </a:lnTo>
                    <a:lnTo>
                      <a:pt x="798" y="401"/>
                    </a:lnTo>
                    <a:lnTo>
                      <a:pt x="794" y="401"/>
                    </a:lnTo>
                    <a:lnTo>
                      <a:pt x="791" y="401"/>
                    </a:lnTo>
                    <a:lnTo>
                      <a:pt x="787" y="406"/>
                    </a:lnTo>
                    <a:lnTo>
                      <a:pt x="782" y="411"/>
                    </a:lnTo>
                    <a:lnTo>
                      <a:pt x="779" y="418"/>
                    </a:lnTo>
                    <a:lnTo>
                      <a:pt x="772" y="430"/>
                    </a:lnTo>
                    <a:lnTo>
                      <a:pt x="770" y="434"/>
                    </a:lnTo>
                    <a:lnTo>
                      <a:pt x="770" y="437"/>
                    </a:lnTo>
                    <a:lnTo>
                      <a:pt x="770" y="434"/>
                    </a:lnTo>
                    <a:lnTo>
                      <a:pt x="770" y="437"/>
                    </a:lnTo>
                    <a:lnTo>
                      <a:pt x="768" y="437"/>
                    </a:lnTo>
                    <a:lnTo>
                      <a:pt x="768" y="437"/>
                    </a:lnTo>
                    <a:lnTo>
                      <a:pt x="768" y="439"/>
                    </a:lnTo>
                    <a:lnTo>
                      <a:pt x="768" y="439"/>
                    </a:lnTo>
                    <a:lnTo>
                      <a:pt x="768" y="442"/>
                    </a:lnTo>
                    <a:lnTo>
                      <a:pt x="765" y="444"/>
                    </a:lnTo>
                    <a:lnTo>
                      <a:pt x="763" y="451"/>
                    </a:lnTo>
                    <a:lnTo>
                      <a:pt x="763" y="451"/>
                    </a:lnTo>
                    <a:lnTo>
                      <a:pt x="763" y="453"/>
                    </a:lnTo>
                    <a:lnTo>
                      <a:pt x="763" y="453"/>
                    </a:lnTo>
                    <a:lnTo>
                      <a:pt x="763" y="453"/>
                    </a:lnTo>
                    <a:lnTo>
                      <a:pt x="761" y="453"/>
                    </a:lnTo>
                    <a:lnTo>
                      <a:pt x="761" y="453"/>
                    </a:lnTo>
                    <a:lnTo>
                      <a:pt x="761" y="453"/>
                    </a:lnTo>
                    <a:lnTo>
                      <a:pt x="761" y="453"/>
                    </a:lnTo>
                    <a:lnTo>
                      <a:pt x="761" y="453"/>
                    </a:lnTo>
                    <a:lnTo>
                      <a:pt x="758" y="453"/>
                    </a:lnTo>
                    <a:lnTo>
                      <a:pt x="758" y="451"/>
                    </a:lnTo>
                    <a:lnTo>
                      <a:pt x="758" y="451"/>
                    </a:lnTo>
                    <a:lnTo>
                      <a:pt x="756" y="449"/>
                    </a:lnTo>
                    <a:lnTo>
                      <a:pt x="753" y="451"/>
                    </a:lnTo>
                    <a:lnTo>
                      <a:pt x="753" y="453"/>
                    </a:lnTo>
                    <a:lnTo>
                      <a:pt x="753" y="453"/>
                    </a:lnTo>
                    <a:lnTo>
                      <a:pt x="753" y="453"/>
                    </a:lnTo>
                    <a:lnTo>
                      <a:pt x="753" y="453"/>
                    </a:lnTo>
                    <a:lnTo>
                      <a:pt x="749" y="453"/>
                    </a:lnTo>
                    <a:lnTo>
                      <a:pt x="735" y="453"/>
                    </a:lnTo>
                    <a:lnTo>
                      <a:pt x="716" y="453"/>
                    </a:lnTo>
                    <a:lnTo>
                      <a:pt x="718" y="453"/>
                    </a:lnTo>
                    <a:lnTo>
                      <a:pt x="718" y="453"/>
                    </a:lnTo>
                    <a:lnTo>
                      <a:pt x="716" y="453"/>
                    </a:lnTo>
                    <a:lnTo>
                      <a:pt x="716" y="453"/>
                    </a:lnTo>
                    <a:lnTo>
                      <a:pt x="716" y="453"/>
                    </a:lnTo>
                    <a:lnTo>
                      <a:pt x="716" y="453"/>
                    </a:lnTo>
                    <a:lnTo>
                      <a:pt x="713" y="456"/>
                    </a:lnTo>
                    <a:lnTo>
                      <a:pt x="713" y="456"/>
                    </a:lnTo>
                    <a:lnTo>
                      <a:pt x="713" y="456"/>
                    </a:lnTo>
                    <a:lnTo>
                      <a:pt x="713" y="456"/>
                    </a:lnTo>
                    <a:lnTo>
                      <a:pt x="711" y="456"/>
                    </a:lnTo>
                    <a:lnTo>
                      <a:pt x="711" y="458"/>
                    </a:lnTo>
                    <a:lnTo>
                      <a:pt x="709" y="458"/>
                    </a:lnTo>
                    <a:lnTo>
                      <a:pt x="709" y="458"/>
                    </a:lnTo>
                    <a:lnTo>
                      <a:pt x="709" y="456"/>
                    </a:lnTo>
                    <a:lnTo>
                      <a:pt x="706" y="456"/>
                    </a:lnTo>
                    <a:lnTo>
                      <a:pt x="706" y="458"/>
                    </a:lnTo>
                    <a:lnTo>
                      <a:pt x="706" y="458"/>
                    </a:lnTo>
                    <a:lnTo>
                      <a:pt x="704" y="458"/>
                    </a:lnTo>
                    <a:lnTo>
                      <a:pt x="704" y="456"/>
                    </a:lnTo>
                    <a:lnTo>
                      <a:pt x="704" y="456"/>
                    </a:lnTo>
                    <a:lnTo>
                      <a:pt x="701" y="456"/>
                    </a:lnTo>
                    <a:lnTo>
                      <a:pt x="699" y="456"/>
                    </a:lnTo>
                    <a:lnTo>
                      <a:pt x="699" y="456"/>
                    </a:lnTo>
                    <a:lnTo>
                      <a:pt x="699" y="456"/>
                    </a:lnTo>
                    <a:lnTo>
                      <a:pt x="699" y="456"/>
                    </a:lnTo>
                    <a:lnTo>
                      <a:pt x="697" y="456"/>
                    </a:lnTo>
                    <a:lnTo>
                      <a:pt x="697" y="456"/>
                    </a:lnTo>
                    <a:lnTo>
                      <a:pt x="694" y="456"/>
                    </a:lnTo>
                    <a:lnTo>
                      <a:pt x="697" y="456"/>
                    </a:lnTo>
                    <a:lnTo>
                      <a:pt x="694" y="456"/>
                    </a:lnTo>
                    <a:lnTo>
                      <a:pt x="694" y="458"/>
                    </a:lnTo>
                    <a:lnTo>
                      <a:pt x="694" y="456"/>
                    </a:lnTo>
                    <a:lnTo>
                      <a:pt x="694" y="456"/>
                    </a:lnTo>
                    <a:lnTo>
                      <a:pt x="694" y="458"/>
                    </a:lnTo>
                    <a:lnTo>
                      <a:pt x="692" y="456"/>
                    </a:lnTo>
                    <a:lnTo>
                      <a:pt x="692" y="456"/>
                    </a:lnTo>
                    <a:lnTo>
                      <a:pt x="690" y="456"/>
                    </a:lnTo>
                    <a:lnTo>
                      <a:pt x="690" y="456"/>
                    </a:lnTo>
                    <a:lnTo>
                      <a:pt x="690" y="456"/>
                    </a:lnTo>
                    <a:lnTo>
                      <a:pt x="687" y="456"/>
                    </a:lnTo>
                    <a:lnTo>
                      <a:pt x="687" y="458"/>
                    </a:lnTo>
                    <a:lnTo>
                      <a:pt x="685" y="458"/>
                    </a:lnTo>
                    <a:lnTo>
                      <a:pt x="685" y="458"/>
                    </a:lnTo>
                    <a:lnTo>
                      <a:pt x="683" y="458"/>
                    </a:lnTo>
                    <a:lnTo>
                      <a:pt x="683" y="458"/>
                    </a:lnTo>
                    <a:lnTo>
                      <a:pt x="680" y="458"/>
                    </a:lnTo>
                    <a:lnTo>
                      <a:pt x="683" y="460"/>
                    </a:lnTo>
                    <a:lnTo>
                      <a:pt x="680" y="460"/>
                    </a:lnTo>
                    <a:lnTo>
                      <a:pt x="680" y="463"/>
                    </a:lnTo>
                    <a:lnTo>
                      <a:pt x="680" y="463"/>
                    </a:lnTo>
                    <a:lnTo>
                      <a:pt x="680" y="463"/>
                    </a:lnTo>
                    <a:lnTo>
                      <a:pt x="680" y="465"/>
                    </a:lnTo>
                    <a:lnTo>
                      <a:pt x="678" y="465"/>
                    </a:lnTo>
                    <a:lnTo>
                      <a:pt x="678" y="465"/>
                    </a:lnTo>
                    <a:lnTo>
                      <a:pt x="678" y="465"/>
                    </a:lnTo>
                    <a:lnTo>
                      <a:pt x="678" y="465"/>
                    </a:lnTo>
                    <a:lnTo>
                      <a:pt x="678" y="465"/>
                    </a:lnTo>
                    <a:lnTo>
                      <a:pt x="678" y="465"/>
                    </a:lnTo>
                    <a:lnTo>
                      <a:pt x="675" y="465"/>
                    </a:lnTo>
                    <a:lnTo>
                      <a:pt x="675" y="465"/>
                    </a:lnTo>
                    <a:lnTo>
                      <a:pt x="675" y="465"/>
                    </a:lnTo>
                    <a:lnTo>
                      <a:pt x="675" y="468"/>
                    </a:lnTo>
                    <a:lnTo>
                      <a:pt x="675" y="468"/>
                    </a:lnTo>
                    <a:lnTo>
                      <a:pt x="675" y="468"/>
                    </a:lnTo>
                    <a:lnTo>
                      <a:pt x="675" y="468"/>
                    </a:lnTo>
                    <a:lnTo>
                      <a:pt x="675" y="468"/>
                    </a:lnTo>
                    <a:lnTo>
                      <a:pt x="673" y="468"/>
                    </a:lnTo>
                    <a:lnTo>
                      <a:pt x="675" y="470"/>
                    </a:lnTo>
                    <a:lnTo>
                      <a:pt x="673" y="470"/>
                    </a:lnTo>
                    <a:lnTo>
                      <a:pt x="673" y="470"/>
                    </a:lnTo>
                    <a:lnTo>
                      <a:pt x="673" y="470"/>
                    </a:lnTo>
                    <a:lnTo>
                      <a:pt x="671" y="470"/>
                    </a:lnTo>
                    <a:lnTo>
                      <a:pt x="668" y="472"/>
                    </a:lnTo>
                    <a:lnTo>
                      <a:pt x="668" y="472"/>
                    </a:lnTo>
                    <a:lnTo>
                      <a:pt x="668" y="472"/>
                    </a:lnTo>
                    <a:lnTo>
                      <a:pt x="668" y="472"/>
                    </a:lnTo>
                    <a:lnTo>
                      <a:pt x="666" y="472"/>
                    </a:lnTo>
                    <a:lnTo>
                      <a:pt x="666" y="475"/>
                    </a:lnTo>
                    <a:lnTo>
                      <a:pt x="666" y="472"/>
                    </a:lnTo>
                    <a:lnTo>
                      <a:pt x="666" y="475"/>
                    </a:lnTo>
                    <a:lnTo>
                      <a:pt x="666" y="475"/>
                    </a:lnTo>
                    <a:lnTo>
                      <a:pt x="666" y="475"/>
                    </a:lnTo>
                    <a:lnTo>
                      <a:pt x="664" y="475"/>
                    </a:lnTo>
                    <a:lnTo>
                      <a:pt x="664" y="475"/>
                    </a:lnTo>
                    <a:lnTo>
                      <a:pt x="664" y="475"/>
                    </a:lnTo>
                    <a:lnTo>
                      <a:pt x="661" y="475"/>
                    </a:lnTo>
                    <a:lnTo>
                      <a:pt x="661" y="477"/>
                    </a:lnTo>
                    <a:lnTo>
                      <a:pt x="661" y="475"/>
                    </a:lnTo>
                    <a:lnTo>
                      <a:pt x="661" y="475"/>
                    </a:lnTo>
                    <a:lnTo>
                      <a:pt x="661" y="477"/>
                    </a:lnTo>
                    <a:lnTo>
                      <a:pt x="659" y="475"/>
                    </a:lnTo>
                    <a:lnTo>
                      <a:pt x="659" y="477"/>
                    </a:lnTo>
                    <a:lnTo>
                      <a:pt x="659" y="477"/>
                    </a:lnTo>
                    <a:lnTo>
                      <a:pt x="659" y="477"/>
                    </a:lnTo>
                    <a:lnTo>
                      <a:pt x="657" y="477"/>
                    </a:lnTo>
                    <a:lnTo>
                      <a:pt x="657" y="477"/>
                    </a:lnTo>
                    <a:lnTo>
                      <a:pt x="657" y="477"/>
                    </a:lnTo>
                    <a:lnTo>
                      <a:pt x="654" y="477"/>
                    </a:lnTo>
                    <a:lnTo>
                      <a:pt x="654" y="477"/>
                    </a:lnTo>
                    <a:lnTo>
                      <a:pt x="652" y="477"/>
                    </a:lnTo>
                    <a:lnTo>
                      <a:pt x="652" y="479"/>
                    </a:lnTo>
                    <a:lnTo>
                      <a:pt x="650" y="479"/>
                    </a:lnTo>
                    <a:lnTo>
                      <a:pt x="650" y="479"/>
                    </a:lnTo>
                    <a:lnTo>
                      <a:pt x="650" y="482"/>
                    </a:lnTo>
                    <a:lnTo>
                      <a:pt x="650" y="482"/>
                    </a:lnTo>
                    <a:lnTo>
                      <a:pt x="650" y="482"/>
                    </a:lnTo>
                    <a:lnTo>
                      <a:pt x="650" y="482"/>
                    </a:lnTo>
                    <a:lnTo>
                      <a:pt x="650" y="484"/>
                    </a:lnTo>
                    <a:lnTo>
                      <a:pt x="650" y="482"/>
                    </a:lnTo>
                    <a:lnTo>
                      <a:pt x="650" y="484"/>
                    </a:lnTo>
                    <a:lnTo>
                      <a:pt x="650" y="484"/>
                    </a:lnTo>
                    <a:lnTo>
                      <a:pt x="647" y="484"/>
                    </a:lnTo>
                    <a:lnTo>
                      <a:pt x="647" y="484"/>
                    </a:lnTo>
                    <a:lnTo>
                      <a:pt x="647" y="484"/>
                    </a:lnTo>
                    <a:lnTo>
                      <a:pt x="645" y="484"/>
                    </a:lnTo>
                    <a:lnTo>
                      <a:pt x="645" y="484"/>
                    </a:lnTo>
                    <a:lnTo>
                      <a:pt x="645" y="484"/>
                    </a:lnTo>
                    <a:lnTo>
                      <a:pt x="645" y="484"/>
                    </a:lnTo>
                    <a:lnTo>
                      <a:pt x="642" y="484"/>
                    </a:lnTo>
                    <a:lnTo>
                      <a:pt x="642" y="484"/>
                    </a:lnTo>
                    <a:lnTo>
                      <a:pt x="645" y="484"/>
                    </a:lnTo>
                    <a:lnTo>
                      <a:pt x="642" y="484"/>
                    </a:lnTo>
                    <a:lnTo>
                      <a:pt x="642" y="484"/>
                    </a:lnTo>
                    <a:lnTo>
                      <a:pt x="642" y="484"/>
                    </a:lnTo>
                    <a:lnTo>
                      <a:pt x="642" y="484"/>
                    </a:lnTo>
                    <a:lnTo>
                      <a:pt x="642" y="486"/>
                    </a:lnTo>
                    <a:lnTo>
                      <a:pt x="640" y="486"/>
                    </a:lnTo>
                    <a:lnTo>
                      <a:pt x="638" y="484"/>
                    </a:lnTo>
                    <a:lnTo>
                      <a:pt x="638" y="484"/>
                    </a:lnTo>
                    <a:lnTo>
                      <a:pt x="638" y="484"/>
                    </a:lnTo>
                    <a:lnTo>
                      <a:pt x="638" y="484"/>
                    </a:lnTo>
                    <a:lnTo>
                      <a:pt x="635" y="484"/>
                    </a:lnTo>
                    <a:lnTo>
                      <a:pt x="635" y="484"/>
                    </a:lnTo>
                    <a:lnTo>
                      <a:pt x="635" y="484"/>
                    </a:lnTo>
                    <a:lnTo>
                      <a:pt x="635" y="484"/>
                    </a:lnTo>
                    <a:lnTo>
                      <a:pt x="633" y="484"/>
                    </a:lnTo>
                    <a:lnTo>
                      <a:pt x="633" y="482"/>
                    </a:lnTo>
                    <a:lnTo>
                      <a:pt x="633" y="484"/>
                    </a:lnTo>
                    <a:lnTo>
                      <a:pt x="633" y="484"/>
                    </a:lnTo>
                    <a:lnTo>
                      <a:pt x="631" y="482"/>
                    </a:lnTo>
                    <a:lnTo>
                      <a:pt x="633" y="482"/>
                    </a:lnTo>
                    <a:lnTo>
                      <a:pt x="633" y="479"/>
                    </a:lnTo>
                    <a:lnTo>
                      <a:pt x="631" y="479"/>
                    </a:lnTo>
                    <a:lnTo>
                      <a:pt x="631" y="482"/>
                    </a:lnTo>
                    <a:lnTo>
                      <a:pt x="631" y="482"/>
                    </a:lnTo>
                    <a:lnTo>
                      <a:pt x="631" y="482"/>
                    </a:lnTo>
                    <a:lnTo>
                      <a:pt x="631" y="482"/>
                    </a:lnTo>
                    <a:lnTo>
                      <a:pt x="628" y="482"/>
                    </a:lnTo>
                    <a:lnTo>
                      <a:pt x="628" y="479"/>
                    </a:lnTo>
                    <a:lnTo>
                      <a:pt x="628" y="479"/>
                    </a:lnTo>
                    <a:lnTo>
                      <a:pt x="628" y="482"/>
                    </a:lnTo>
                    <a:lnTo>
                      <a:pt x="626" y="479"/>
                    </a:lnTo>
                    <a:lnTo>
                      <a:pt x="626" y="482"/>
                    </a:lnTo>
                    <a:lnTo>
                      <a:pt x="626" y="479"/>
                    </a:lnTo>
                    <a:lnTo>
                      <a:pt x="624" y="479"/>
                    </a:lnTo>
                    <a:lnTo>
                      <a:pt x="626" y="477"/>
                    </a:lnTo>
                    <a:lnTo>
                      <a:pt x="624" y="477"/>
                    </a:lnTo>
                    <a:lnTo>
                      <a:pt x="624" y="477"/>
                    </a:lnTo>
                    <a:lnTo>
                      <a:pt x="621" y="475"/>
                    </a:lnTo>
                    <a:lnTo>
                      <a:pt x="621" y="477"/>
                    </a:lnTo>
                    <a:lnTo>
                      <a:pt x="619" y="477"/>
                    </a:lnTo>
                    <a:lnTo>
                      <a:pt x="619" y="475"/>
                    </a:lnTo>
                    <a:lnTo>
                      <a:pt x="621" y="475"/>
                    </a:lnTo>
                    <a:lnTo>
                      <a:pt x="619" y="475"/>
                    </a:lnTo>
                    <a:lnTo>
                      <a:pt x="616" y="475"/>
                    </a:lnTo>
                    <a:lnTo>
                      <a:pt x="616" y="472"/>
                    </a:lnTo>
                    <a:lnTo>
                      <a:pt x="614" y="470"/>
                    </a:lnTo>
                    <a:lnTo>
                      <a:pt x="614" y="468"/>
                    </a:lnTo>
                    <a:lnTo>
                      <a:pt x="614" y="468"/>
                    </a:lnTo>
                    <a:lnTo>
                      <a:pt x="614" y="470"/>
                    </a:lnTo>
                    <a:lnTo>
                      <a:pt x="614" y="470"/>
                    </a:lnTo>
                    <a:lnTo>
                      <a:pt x="614" y="472"/>
                    </a:lnTo>
                    <a:lnTo>
                      <a:pt x="614" y="472"/>
                    </a:lnTo>
                    <a:lnTo>
                      <a:pt x="612" y="468"/>
                    </a:lnTo>
                    <a:lnTo>
                      <a:pt x="612" y="470"/>
                    </a:lnTo>
                    <a:lnTo>
                      <a:pt x="612" y="470"/>
                    </a:lnTo>
                    <a:lnTo>
                      <a:pt x="609" y="470"/>
                    </a:lnTo>
                    <a:lnTo>
                      <a:pt x="609" y="468"/>
                    </a:lnTo>
                    <a:lnTo>
                      <a:pt x="607" y="468"/>
                    </a:lnTo>
                    <a:lnTo>
                      <a:pt x="607" y="468"/>
                    </a:lnTo>
                    <a:lnTo>
                      <a:pt x="607" y="465"/>
                    </a:lnTo>
                    <a:lnTo>
                      <a:pt x="607" y="465"/>
                    </a:lnTo>
                    <a:lnTo>
                      <a:pt x="605" y="465"/>
                    </a:lnTo>
                    <a:lnTo>
                      <a:pt x="605" y="465"/>
                    </a:lnTo>
                    <a:lnTo>
                      <a:pt x="607" y="465"/>
                    </a:lnTo>
                    <a:lnTo>
                      <a:pt x="607" y="463"/>
                    </a:lnTo>
                    <a:lnTo>
                      <a:pt x="605" y="463"/>
                    </a:lnTo>
                    <a:lnTo>
                      <a:pt x="605" y="463"/>
                    </a:lnTo>
                    <a:lnTo>
                      <a:pt x="605" y="463"/>
                    </a:lnTo>
                    <a:lnTo>
                      <a:pt x="605" y="463"/>
                    </a:lnTo>
                    <a:lnTo>
                      <a:pt x="602" y="463"/>
                    </a:lnTo>
                    <a:lnTo>
                      <a:pt x="602" y="463"/>
                    </a:lnTo>
                    <a:lnTo>
                      <a:pt x="602" y="460"/>
                    </a:lnTo>
                    <a:lnTo>
                      <a:pt x="602" y="460"/>
                    </a:lnTo>
                    <a:lnTo>
                      <a:pt x="598" y="458"/>
                    </a:lnTo>
                    <a:lnTo>
                      <a:pt x="598" y="460"/>
                    </a:lnTo>
                    <a:lnTo>
                      <a:pt x="598" y="458"/>
                    </a:lnTo>
                    <a:lnTo>
                      <a:pt x="595" y="458"/>
                    </a:lnTo>
                    <a:lnTo>
                      <a:pt x="593" y="458"/>
                    </a:lnTo>
                    <a:lnTo>
                      <a:pt x="593" y="458"/>
                    </a:lnTo>
                    <a:lnTo>
                      <a:pt x="593" y="458"/>
                    </a:lnTo>
                    <a:lnTo>
                      <a:pt x="593" y="456"/>
                    </a:lnTo>
                    <a:lnTo>
                      <a:pt x="590" y="458"/>
                    </a:lnTo>
                    <a:lnTo>
                      <a:pt x="590" y="458"/>
                    </a:lnTo>
                    <a:lnTo>
                      <a:pt x="593" y="458"/>
                    </a:lnTo>
                    <a:lnTo>
                      <a:pt x="588" y="463"/>
                    </a:lnTo>
                    <a:lnTo>
                      <a:pt x="588" y="460"/>
                    </a:lnTo>
                    <a:lnTo>
                      <a:pt x="588" y="458"/>
                    </a:lnTo>
                    <a:lnTo>
                      <a:pt x="588" y="458"/>
                    </a:lnTo>
                    <a:lnTo>
                      <a:pt x="586" y="456"/>
                    </a:lnTo>
                    <a:lnTo>
                      <a:pt x="586" y="458"/>
                    </a:lnTo>
                    <a:lnTo>
                      <a:pt x="583" y="458"/>
                    </a:lnTo>
                    <a:lnTo>
                      <a:pt x="583" y="458"/>
                    </a:lnTo>
                    <a:lnTo>
                      <a:pt x="586" y="460"/>
                    </a:lnTo>
                    <a:lnTo>
                      <a:pt x="583" y="460"/>
                    </a:lnTo>
                    <a:lnTo>
                      <a:pt x="581" y="458"/>
                    </a:lnTo>
                    <a:lnTo>
                      <a:pt x="581" y="458"/>
                    </a:lnTo>
                    <a:lnTo>
                      <a:pt x="579" y="458"/>
                    </a:lnTo>
                    <a:lnTo>
                      <a:pt x="579" y="460"/>
                    </a:lnTo>
                    <a:lnTo>
                      <a:pt x="576" y="460"/>
                    </a:lnTo>
                    <a:lnTo>
                      <a:pt x="576" y="460"/>
                    </a:lnTo>
                    <a:lnTo>
                      <a:pt x="576" y="460"/>
                    </a:lnTo>
                    <a:lnTo>
                      <a:pt x="576" y="463"/>
                    </a:lnTo>
                    <a:lnTo>
                      <a:pt x="576" y="460"/>
                    </a:lnTo>
                    <a:lnTo>
                      <a:pt x="574" y="458"/>
                    </a:lnTo>
                    <a:lnTo>
                      <a:pt x="574" y="460"/>
                    </a:lnTo>
                    <a:lnTo>
                      <a:pt x="572" y="463"/>
                    </a:lnTo>
                    <a:lnTo>
                      <a:pt x="569" y="463"/>
                    </a:lnTo>
                    <a:lnTo>
                      <a:pt x="569" y="463"/>
                    </a:lnTo>
                    <a:lnTo>
                      <a:pt x="567" y="460"/>
                    </a:lnTo>
                    <a:lnTo>
                      <a:pt x="567" y="463"/>
                    </a:lnTo>
                    <a:lnTo>
                      <a:pt x="567" y="463"/>
                    </a:lnTo>
                    <a:lnTo>
                      <a:pt x="567" y="458"/>
                    </a:lnTo>
                    <a:lnTo>
                      <a:pt x="567" y="458"/>
                    </a:lnTo>
                    <a:lnTo>
                      <a:pt x="564" y="458"/>
                    </a:lnTo>
                    <a:lnTo>
                      <a:pt x="562" y="458"/>
                    </a:lnTo>
                    <a:lnTo>
                      <a:pt x="562" y="458"/>
                    </a:lnTo>
                    <a:lnTo>
                      <a:pt x="562" y="460"/>
                    </a:lnTo>
                    <a:lnTo>
                      <a:pt x="562" y="460"/>
                    </a:lnTo>
                    <a:lnTo>
                      <a:pt x="562" y="460"/>
                    </a:lnTo>
                    <a:lnTo>
                      <a:pt x="564" y="460"/>
                    </a:lnTo>
                    <a:lnTo>
                      <a:pt x="564" y="460"/>
                    </a:lnTo>
                    <a:lnTo>
                      <a:pt x="564" y="460"/>
                    </a:lnTo>
                    <a:lnTo>
                      <a:pt x="564" y="463"/>
                    </a:lnTo>
                    <a:lnTo>
                      <a:pt x="562" y="463"/>
                    </a:lnTo>
                    <a:lnTo>
                      <a:pt x="562" y="465"/>
                    </a:lnTo>
                    <a:lnTo>
                      <a:pt x="562" y="465"/>
                    </a:lnTo>
                    <a:lnTo>
                      <a:pt x="560" y="465"/>
                    </a:lnTo>
                    <a:lnTo>
                      <a:pt x="560" y="463"/>
                    </a:lnTo>
                    <a:lnTo>
                      <a:pt x="560" y="463"/>
                    </a:lnTo>
                    <a:lnTo>
                      <a:pt x="557" y="463"/>
                    </a:lnTo>
                    <a:lnTo>
                      <a:pt x="557" y="463"/>
                    </a:lnTo>
                    <a:lnTo>
                      <a:pt x="557" y="463"/>
                    </a:lnTo>
                    <a:lnTo>
                      <a:pt x="555" y="463"/>
                    </a:lnTo>
                    <a:lnTo>
                      <a:pt x="555" y="460"/>
                    </a:lnTo>
                    <a:lnTo>
                      <a:pt x="553" y="458"/>
                    </a:lnTo>
                    <a:lnTo>
                      <a:pt x="553" y="460"/>
                    </a:lnTo>
                    <a:lnTo>
                      <a:pt x="553" y="463"/>
                    </a:lnTo>
                    <a:lnTo>
                      <a:pt x="550" y="460"/>
                    </a:lnTo>
                    <a:lnTo>
                      <a:pt x="550" y="463"/>
                    </a:lnTo>
                    <a:lnTo>
                      <a:pt x="548" y="463"/>
                    </a:lnTo>
                    <a:lnTo>
                      <a:pt x="543" y="465"/>
                    </a:lnTo>
                    <a:lnTo>
                      <a:pt x="543" y="465"/>
                    </a:lnTo>
                    <a:lnTo>
                      <a:pt x="543" y="465"/>
                    </a:lnTo>
                    <a:lnTo>
                      <a:pt x="543" y="468"/>
                    </a:lnTo>
                    <a:lnTo>
                      <a:pt x="543" y="468"/>
                    </a:lnTo>
                    <a:lnTo>
                      <a:pt x="543" y="470"/>
                    </a:lnTo>
                    <a:lnTo>
                      <a:pt x="543" y="470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1" y="472"/>
                    </a:lnTo>
                    <a:lnTo>
                      <a:pt x="541" y="472"/>
                    </a:lnTo>
                    <a:lnTo>
                      <a:pt x="538" y="470"/>
                    </a:lnTo>
                    <a:lnTo>
                      <a:pt x="538" y="470"/>
                    </a:lnTo>
                    <a:lnTo>
                      <a:pt x="538" y="470"/>
                    </a:lnTo>
                    <a:lnTo>
                      <a:pt x="538" y="470"/>
                    </a:lnTo>
                    <a:lnTo>
                      <a:pt x="538" y="468"/>
                    </a:lnTo>
                    <a:lnTo>
                      <a:pt x="538" y="465"/>
                    </a:lnTo>
                    <a:lnTo>
                      <a:pt x="534" y="463"/>
                    </a:lnTo>
                    <a:lnTo>
                      <a:pt x="534" y="463"/>
                    </a:lnTo>
                    <a:lnTo>
                      <a:pt x="534" y="463"/>
                    </a:lnTo>
                    <a:lnTo>
                      <a:pt x="531" y="463"/>
                    </a:lnTo>
                    <a:lnTo>
                      <a:pt x="531" y="463"/>
                    </a:lnTo>
                    <a:lnTo>
                      <a:pt x="529" y="463"/>
                    </a:lnTo>
                    <a:lnTo>
                      <a:pt x="529" y="463"/>
                    </a:lnTo>
                    <a:lnTo>
                      <a:pt x="529" y="460"/>
                    </a:lnTo>
                    <a:lnTo>
                      <a:pt x="529" y="460"/>
                    </a:lnTo>
                    <a:lnTo>
                      <a:pt x="527" y="458"/>
                    </a:lnTo>
                    <a:lnTo>
                      <a:pt x="527" y="460"/>
                    </a:lnTo>
                    <a:lnTo>
                      <a:pt x="527" y="458"/>
                    </a:lnTo>
                    <a:lnTo>
                      <a:pt x="524" y="458"/>
                    </a:lnTo>
                    <a:lnTo>
                      <a:pt x="524" y="458"/>
                    </a:lnTo>
                    <a:lnTo>
                      <a:pt x="524" y="458"/>
                    </a:lnTo>
                    <a:lnTo>
                      <a:pt x="524" y="460"/>
                    </a:lnTo>
                    <a:lnTo>
                      <a:pt x="524" y="458"/>
                    </a:lnTo>
                    <a:lnTo>
                      <a:pt x="524" y="458"/>
                    </a:lnTo>
                    <a:lnTo>
                      <a:pt x="522" y="458"/>
                    </a:lnTo>
                    <a:lnTo>
                      <a:pt x="522" y="458"/>
                    </a:lnTo>
                    <a:lnTo>
                      <a:pt x="522" y="458"/>
                    </a:lnTo>
                    <a:lnTo>
                      <a:pt x="520" y="458"/>
                    </a:lnTo>
                    <a:lnTo>
                      <a:pt x="520" y="458"/>
                    </a:lnTo>
                    <a:lnTo>
                      <a:pt x="515" y="460"/>
                    </a:lnTo>
                    <a:lnTo>
                      <a:pt x="515" y="460"/>
                    </a:lnTo>
                    <a:lnTo>
                      <a:pt x="515" y="458"/>
                    </a:lnTo>
                    <a:lnTo>
                      <a:pt x="515" y="458"/>
                    </a:lnTo>
                    <a:lnTo>
                      <a:pt x="512" y="456"/>
                    </a:lnTo>
                    <a:lnTo>
                      <a:pt x="512" y="456"/>
                    </a:lnTo>
                    <a:lnTo>
                      <a:pt x="510" y="458"/>
                    </a:lnTo>
                    <a:lnTo>
                      <a:pt x="510" y="460"/>
                    </a:lnTo>
                    <a:lnTo>
                      <a:pt x="510" y="463"/>
                    </a:lnTo>
                    <a:lnTo>
                      <a:pt x="512" y="463"/>
                    </a:lnTo>
                    <a:lnTo>
                      <a:pt x="512" y="460"/>
                    </a:lnTo>
                    <a:lnTo>
                      <a:pt x="515" y="460"/>
                    </a:lnTo>
                    <a:lnTo>
                      <a:pt x="515" y="460"/>
                    </a:lnTo>
                    <a:lnTo>
                      <a:pt x="515" y="463"/>
                    </a:lnTo>
                    <a:lnTo>
                      <a:pt x="515" y="463"/>
                    </a:lnTo>
                    <a:lnTo>
                      <a:pt x="512" y="463"/>
                    </a:lnTo>
                    <a:lnTo>
                      <a:pt x="510" y="465"/>
                    </a:lnTo>
                    <a:lnTo>
                      <a:pt x="510" y="465"/>
                    </a:lnTo>
                    <a:lnTo>
                      <a:pt x="505" y="463"/>
                    </a:lnTo>
                    <a:lnTo>
                      <a:pt x="503" y="465"/>
                    </a:lnTo>
                    <a:lnTo>
                      <a:pt x="503" y="468"/>
                    </a:lnTo>
                    <a:lnTo>
                      <a:pt x="501" y="468"/>
                    </a:lnTo>
                    <a:lnTo>
                      <a:pt x="503" y="472"/>
                    </a:lnTo>
                    <a:lnTo>
                      <a:pt x="503" y="472"/>
                    </a:lnTo>
                    <a:lnTo>
                      <a:pt x="501" y="472"/>
                    </a:lnTo>
                    <a:lnTo>
                      <a:pt x="498" y="475"/>
                    </a:lnTo>
                    <a:lnTo>
                      <a:pt x="498" y="475"/>
                    </a:lnTo>
                    <a:lnTo>
                      <a:pt x="498" y="477"/>
                    </a:lnTo>
                    <a:lnTo>
                      <a:pt x="496" y="479"/>
                    </a:lnTo>
                    <a:lnTo>
                      <a:pt x="496" y="479"/>
                    </a:lnTo>
                    <a:lnTo>
                      <a:pt x="491" y="482"/>
                    </a:lnTo>
                    <a:lnTo>
                      <a:pt x="494" y="486"/>
                    </a:lnTo>
                    <a:lnTo>
                      <a:pt x="494" y="486"/>
                    </a:lnTo>
                    <a:lnTo>
                      <a:pt x="491" y="486"/>
                    </a:lnTo>
                    <a:lnTo>
                      <a:pt x="489" y="486"/>
                    </a:lnTo>
                    <a:lnTo>
                      <a:pt x="489" y="484"/>
                    </a:lnTo>
                    <a:lnTo>
                      <a:pt x="489" y="484"/>
                    </a:lnTo>
                    <a:lnTo>
                      <a:pt x="484" y="484"/>
                    </a:lnTo>
                    <a:lnTo>
                      <a:pt x="484" y="486"/>
                    </a:lnTo>
                    <a:lnTo>
                      <a:pt x="482" y="486"/>
                    </a:lnTo>
                    <a:lnTo>
                      <a:pt x="479" y="486"/>
                    </a:lnTo>
                    <a:lnTo>
                      <a:pt x="479" y="491"/>
                    </a:lnTo>
                    <a:lnTo>
                      <a:pt x="479" y="491"/>
                    </a:lnTo>
                    <a:lnTo>
                      <a:pt x="477" y="491"/>
                    </a:lnTo>
                    <a:lnTo>
                      <a:pt x="475" y="486"/>
                    </a:lnTo>
                    <a:lnTo>
                      <a:pt x="475" y="486"/>
                    </a:lnTo>
                    <a:lnTo>
                      <a:pt x="475" y="489"/>
                    </a:lnTo>
                    <a:lnTo>
                      <a:pt x="472" y="491"/>
                    </a:lnTo>
                    <a:lnTo>
                      <a:pt x="472" y="493"/>
                    </a:lnTo>
                    <a:lnTo>
                      <a:pt x="470" y="493"/>
                    </a:lnTo>
                    <a:lnTo>
                      <a:pt x="470" y="493"/>
                    </a:lnTo>
                    <a:lnTo>
                      <a:pt x="470" y="489"/>
                    </a:lnTo>
                    <a:lnTo>
                      <a:pt x="468" y="486"/>
                    </a:lnTo>
                    <a:lnTo>
                      <a:pt x="465" y="486"/>
                    </a:lnTo>
                    <a:lnTo>
                      <a:pt x="465" y="486"/>
                    </a:lnTo>
                    <a:lnTo>
                      <a:pt x="468" y="491"/>
                    </a:lnTo>
                    <a:lnTo>
                      <a:pt x="465" y="491"/>
                    </a:lnTo>
                    <a:lnTo>
                      <a:pt x="465" y="491"/>
                    </a:lnTo>
                    <a:lnTo>
                      <a:pt x="465" y="491"/>
                    </a:lnTo>
                    <a:lnTo>
                      <a:pt x="461" y="491"/>
                    </a:lnTo>
                    <a:lnTo>
                      <a:pt x="461" y="486"/>
                    </a:lnTo>
                    <a:lnTo>
                      <a:pt x="458" y="486"/>
                    </a:lnTo>
                    <a:lnTo>
                      <a:pt x="458" y="484"/>
                    </a:lnTo>
                    <a:lnTo>
                      <a:pt x="451" y="486"/>
                    </a:lnTo>
                    <a:lnTo>
                      <a:pt x="451" y="486"/>
                    </a:lnTo>
                    <a:lnTo>
                      <a:pt x="449" y="484"/>
                    </a:lnTo>
                    <a:lnTo>
                      <a:pt x="446" y="486"/>
                    </a:lnTo>
                    <a:lnTo>
                      <a:pt x="446" y="486"/>
                    </a:lnTo>
                    <a:lnTo>
                      <a:pt x="446" y="489"/>
                    </a:lnTo>
                    <a:lnTo>
                      <a:pt x="446" y="491"/>
                    </a:lnTo>
                    <a:lnTo>
                      <a:pt x="444" y="491"/>
                    </a:lnTo>
                    <a:lnTo>
                      <a:pt x="442" y="491"/>
                    </a:lnTo>
                    <a:lnTo>
                      <a:pt x="442" y="491"/>
                    </a:lnTo>
                    <a:lnTo>
                      <a:pt x="442" y="493"/>
                    </a:lnTo>
                    <a:lnTo>
                      <a:pt x="439" y="493"/>
                    </a:lnTo>
                    <a:lnTo>
                      <a:pt x="439" y="491"/>
                    </a:lnTo>
                    <a:lnTo>
                      <a:pt x="437" y="493"/>
                    </a:lnTo>
                    <a:lnTo>
                      <a:pt x="437" y="493"/>
                    </a:lnTo>
                    <a:lnTo>
                      <a:pt x="437" y="493"/>
                    </a:lnTo>
                    <a:lnTo>
                      <a:pt x="435" y="493"/>
                    </a:lnTo>
                    <a:lnTo>
                      <a:pt x="432" y="493"/>
                    </a:lnTo>
                    <a:lnTo>
                      <a:pt x="432" y="493"/>
                    </a:lnTo>
                    <a:lnTo>
                      <a:pt x="432" y="493"/>
                    </a:lnTo>
                    <a:lnTo>
                      <a:pt x="430" y="496"/>
                    </a:lnTo>
                    <a:lnTo>
                      <a:pt x="430" y="498"/>
                    </a:lnTo>
                    <a:lnTo>
                      <a:pt x="427" y="498"/>
                    </a:lnTo>
                    <a:lnTo>
                      <a:pt x="427" y="498"/>
                    </a:lnTo>
                    <a:lnTo>
                      <a:pt x="427" y="498"/>
                    </a:lnTo>
                    <a:lnTo>
                      <a:pt x="425" y="501"/>
                    </a:lnTo>
                    <a:lnTo>
                      <a:pt x="427" y="501"/>
                    </a:lnTo>
                    <a:lnTo>
                      <a:pt x="427" y="501"/>
                    </a:lnTo>
                    <a:lnTo>
                      <a:pt x="425" y="503"/>
                    </a:lnTo>
                    <a:lnTo>
                      <a:pt x="425" y="503"/>
                    </a:lnTo>
                    <a:lnTo>
                      <a:pt x="427" y="505"/>
                    </a:lnTo>
                    <a:lnTo>
                      <a:pt x="423" y="505"/>
                    </a:lnTo>
                    <a:lnTo>
                      <a:pt x="423" y="508"/>
                    </a:lnTo>
                    <a:lnTo>
                      <a:pt x="423" y="508"/>
                    </a:lnTo>
                    <a:lnTo>
                      <a:pt x="420" y="508"/>
                    </a:lnTo>
                    <a:lnTo>
                      <a:pt x="420" y="508"/>
                    </a:lnTo>
                    <a:lnTo>
                      <a:pt x="423" y="510"/>
                    </a:lnTo>
                    <a:lnTo>
                      <a:pt x="420" y="510"/>
                    </a:lnTo>
                    <a:lnTo>
                      <a:pt x="420" y="510"/>
                    </a:lnTo>
                    <a:lnTo>
                      <a:pt x="420" y="512"/>
                    </a:lnTo>
                    <a:lnTo>
                      <a:pt x="423" y="512"/>
                    </a:lnTo>
                    <a:lnTo>
                      <a:pt x="423" y="515"/>
                    </a:lnTo>
                    <a:lnTo>
                      <a:pt x="423" y="515"/>
                    </a:lnTo>
                    <a:lnTo>
                      <a:pt x="423" y="515"/>
                    </a:lnTo>
                    <a:lnTo>
                      <a:pt x="425" y="515"/>
                    </a:lnTo>
                    <a:lnTo>
                      <a:pt x="427" y="517"/>
                    </a:lnTo>
                    <a:lnTo>
                      <a:pt x="425" y="517"/>
                    </a:lnTo>
                    <a:lnTo>
                      <a:pt x="427" y="517"/>
                    </a:lnTo>
                    <a:lnTo>
                      <a:pt x="425" y="519"/>
                    </a:lnTo>
                    <a:lnTo>
                      <a:pt x="425" y="519"/>
                    </a:lnTo>
                    <a:lnTo>
                      <a:pt x="423" y="519"/>
                    </a:lnTo>
                    <a:lnTo>
                      <a:pt x="423" y="519"/>
                    </a:lnTo>
                    <a:lnTo>
                      <a:pt x="423" y="522"/>
                    </a:lnTo>
                    <a:lnTo>
                      <a:pt x="425" y="522"/>
                    </a:lnTo>
                    <a:lnTo>
                      <a:pt x="425" y="524"/>
                    </a:lnTo>
                    <a:lnTo>
                      <a:pt x="427" y="524"/>
                    </a:lnTo>
                    <a:lnTo>
                      <a:pt x="427" y="527"/>
                    </a:lnTo>
                    <a:lnTo>
                      <a:pt x="427" y="527"/>
                    </a:lnTo>
                    <a:lnTo>
                      <a:pt x="427" y="527"/>
                    </a:lnTo>
                    <a:lnTo>
                      <a:pt x="430" y="527"/>
                    </a:lnTo>
                    <a:lnTo>
                      <a:pt x="430" y="529"/>
                    </a:lnTo>
                    <a:lnTo>
                      <a:pt x="430" y="529"/>
                    </a:lnTo>
                    <a:lnTo>
                      <a:pt x="430" y="529"/>
                    </a:lnTo>
                    <a:lnTo>
                      <a:pt x="430" y="531"/>
                    </a:lnTo>
                    <a:lnTo>
                      <a:pt x="430" y="531"/>
                    </a:lnTo>
                    <a:lnTo>
                      <a:pt x="430" y="534"/>
                    </a:lnTo>
                    <a:lnTo>
                      <a:pt x="427" y="534"/>
                    </a:lnTo>
                    <a:lnTo>
                      <a:pt x="430" y="536"/>
                    </a:lnTo>
                    <a:lnTo>
                      <a:pt x="427" y="536"/>
                    </a:lnTo>
                    <a:lnTo>
                      <a:pt x="427" y="538"/>
                    </a:lnTo>
                    <a:lnTo>
                      <a:pt x="425" y="538"/>
                    </a:lnTo>
                    <a:lnTo>
                      <a:pt x="425" y="538"/>
                    </a:lnTo>
                    <a:lnTo>
                      <a:pt x="423" y="538"/>
                    </a:lnTo>
                    <a:lnTo>
                      <a:pt x="423" y="538"/>
                    </a:lnTo>
                    <a:lnTo>
                      <a:pt x="423" y="538"/>
                    </a:lnTo>
                    <a:lnTo>
                      <a:pt x="423" y="541"/>
                    </a:lnTo>
                    <a:lnTo>
                      <a:pt x="420" y="541"/>
                    </a:lnTo>
                    <a:lnTo>
                      <a:pt x="418" y="541"/>
                    </a:lnTo>
                    <a:lnTo>
                      <a:pt x="416" y="541"/>
                    </a:lnTo>
                    <a:lnTo>
                      <a:pt x="416" y="541"/>
                    </a:lnTo>
                    <a:lnTo>
                      <a:pt x="416" y="541"/>
                    </a:lnTo>
                    <a:lnTo>
                      <a:pt x="413" y="541"/>
                    </a:lnTo>
                    <a:lnTo>
                      <a:pt x="411" y="541"/>
                    </a:lnTo>
                    <a:lnTo>
                      <a:pt x="411" y="541"/>
                    </a:lnTo>
                    <a:lnTo>
                      <a:pt x="409" y="541"/>
                    </a:lnTo>
                    <a:lnTo>
                      <a:pt x="406" y="543"/>
                    </a:lnTo>
                    <a:lnTo>
                      <a:pt x="409" y="545"/>
                    </a:lnTo>
                    <a:lnTo>
                      <a:pt x="409" y="548"/>
                    </a:lnTo>
                    <a:lnTo>
                      <a:pt x="406" y="548"/>
                    </a:lnTo>
                    <a:lnTo>
                      <a:pt x="406" y="548"/>
                    </a:lnTo>
                    <a:lnTo>
                      <a:pt x="406" y="548"/>
                    </a:lnTo>
                    <a:lnTo>
                      <a:pt x="404" y="545"/>
                    </a:lnTo>
                    <a:lnTo>
                      <a:pt x="401" y="543"/>
                    </a:lnTo>
                    <a:lnTo>
                      <a:pt x="401" y="541"/>
                    </a:lnTo>
                    <a:lnTo>
                      <a:pt x="401" y="538"/>
                    </a:lnTo>
                    <a:lnTo>
                      <a:pt x="399" y="538"/>
                    </a:lnTo>
                    <a:lnTo>
                      <a:pt x="399" y="536"/>
                    </a:lnTo>
                    <a:lnTo>
                      <a:pt x="397" y="536"/>
                    </a:lnTo>
                    <a:lnTo>
                      <a:pt x="397" y="536"/>
                    </a:lnTo>
                    <a:lnTo>
                      <a:pt x="397" y="536"/>
                    </a:lnTo>
                    <a:lnTo>
                      <a:pt x="397" y="534"/>
                    </a:lnTo>
                    <a:lnTo>
                      <a:pt x="394" y="531"/>
                    </a:lnTo>
                    <a:lnTo>
                      <a:pt x="394" y="531"/>
                    </a:lnTo>
                    <a:lnTo>
                      <a:pt x="392" y="531"/>
                    </a:lnTo>
                    <a:lnTo>
                      <a:pt x="385" y="531"/>
                    </a:lnTo>
                    <a:lnTo>
                      <a:pt x="383" y="531"/>
                    </a:lnTo>
                    <a:lnTo>
                      <a:pt x="380" y="531"/>
                    </a:lnTo>
                    <a:lnTo>
                      <a:pt x="378" y="531"/>
                    </a:lnTo>
                    <a:lnTo>
                      <a:pt x="375" y="531"/>
                    </a:lnTo>
                    <a:lnTo>
                      <a:pt x="373" y="529"/>
                    </a:lnTo>
                    <a:lnTo>
                      <a:pt x="371" y="531"/>
                    </a:lnTo>
                    <a:lnTo>
                      <a:pt x="368" y="531"/>
                    </a:lnTo>
                    <a:lnTo>
                      <a:pt x="366" y="531"/>
                    </a:lnTo>
                    <a:lnTo>
                      <a:pt x="359" y="531"/>
                    </a:lnTo>
                    <a:lnTo>
                      <a:pt x="357" y="531"/>
                    </a:lnTo>
                    <a:lnTo>
                      <a:pt x="354" y="531"/>
                    </a:lnTo>
                    <a:lnTo>
                      <a:pt x="352" y="534"/>
                    </a:lnTo>
                    <a:lnTo>
                      <a:pt x="349" y="531"/>
                    </a:lnTo>
                    <a:lnTo>
                      <a:pt x="347" y="534"/>
                    </a:lnTo>
                    <a:lnTo>
                      <a:pt x="347" y="534"/>
                    </a:lnTo>
                    <a:lnTo>
                      <a:pt x="347" y="534"/>
                    </a:lnTo>
                    <a:lnTo>
                      <a:pt x="347" y="531"/>
                    </a:lnTo>
                    <a:lnTo>
                      <a:pt x="345" y="531"/>
                    </a:lnTo>
                    <a:lnTo>
                      <a:pt x="340" y="531"/>
                    </a:lnTo>
                    <a:lnTo>
                      <a:pt x="338" y="529"/>
                    </a:lnTo>
                    <a:lnTo>
                      <a:pt x="338" y="531"/>
                    </a:lnTo>
                    <a:lnTo>
                      <a:pt x="335" y="529"/>
                    </a:lnTo>
                    <a:lnTo>
                      <a:pt x="333" y="529"/>
                    </a:lnTo>
                    <a:lnTo>
                      <a:pt x="333" y="529"/>
                    </a:lnTo>
                    <a:lnTo>
                      <a:pt x="331" y="529"/>
                    </a:lnTo>
                    <a:lnTo>
                      <a:pt x="328" y="529"/>
                    </a:lnTo>
                    <a:lnTo>
                      <a:pt x="328" y="527"/>
                    </a:lnTo>
                    <a:lnTo>
                      <a:pt x="328" y="527"/>
                    </a:lnTo>
                    <a:lnTo>
                      <a:pt x="328" y="527"/>
                    </a:lnTo>
                    <a:lnTo>
                      <a:pt x="326" y="527"/>
                    </a:lnTo>
                    <a:lnTo>
                      <a:pt x="324" y="524"/>
                    </a:lnTo>
                    <a:lnTo>
                      <a:pt x="324" y="524"/>
                    </a:lnTo>
                    <a:lnTo>
                      <a:pt x="324" y="524"/>
                    </a:lnTo>
                    <a:lnTo>
                      <a:pt x="321" y="524"/>
                    </a:lnTo>
                    <a:lnTo>
                      <a:pt x="321" y="522"/>
                    </a:lnTo>
                    <a:lnTo>
                      <a:pt x="319" y="522"/>
                    </a:lnTo>
                    <a:lnTo>
                      <a:pt x="319" y="522"/>
                    </a:lnTo>
                    <a:lnTo>
                      <a:pt x="319" y="519"/>
                    </a:lnTo>
                    <a:lnTo>
                      <a:pt x="316" y="517"/>
                    </a:lnTo>
                    <a:lnTo>
                      <a:pt x="314" y="517"/>
                    </a:lnTo>
                    <a:lnTo>
                      <a:pt x="314" y="517"/>
                    </a:lnTo>
                    <a:lnTo>
                      <a:pt x="312" y="517"/>
                    </a:lnTo>
                    <a:lnTo>
                      <a:pt x="312" y="517"/>
                    </a:lnTo>
                    <a:lnTo>
                      <a:pt x="307" y="512"/>
                    </a:lnTo>
                    <a:lnTo>
                      <a:pt x="305" y="515"/>
                    </a:lnTo>
                    <a:lnTo>
                      <a:pt x="302" y="517"/>
                    </a:lnTo>
                    <a:lnTo>
                      <a:pt x="300" y="517"/>
                    </a:lnTo>
                    <a:lnTo>
                      <a:pt x="300" y="515"/>
                    </a:lnTo>
                    <a:lnTo>
                      <a:pt x="300" y="515"/>
                    </a:lnTo>
                    <a:lnTo>
                      <a:pt x="298" y="515"/>
                    </a:lnTo>
                    <a:lnTo>
                      <a:pt x="295" y="517"/>
                    </a:lnTo>
                    <a:lnTo>
                      <a:pt x="295" y="517"/>
                    </a:lnTo>
                    <a:lnTo>
                      <a:pt x="295" y="515"/>
                    </a:lnTo>
                    <a:lnTo>
                      <a:pt x="293" y="512"/>
                    </a:lnTo>
                    <a:lnTo>
                      <a:pt x="290" y="512"/>
                    </a:lnTo>
                    <a:lnTo>
                      <a:pt x="288" y="512"/>
                    </a:lnTo>
                    <a:lnTo>
                      <a:pt x="288" y="512"/>
                    </a:lnTo>
                    <a:lnTo>
                      <a:pt x="286" y="512"/>
                    </a:lnTo>
                    <a:lnTo>
                      <a:pt x="286" y="512"/>
                    </a:lnTo>
                    <a:lnTo>
                      <a:pt x="283" y="512"/>
                    </a:lnTo>
                    <a:lnTo>
                      <a:pt x="283" y="512"/>
                    </a:lnTo>
                    <a:lnTo>
                      <a:pt x="281" y="512"/>
                    </a:lnTo>
                    <a:lnTo>
                      <a:pt x="281" y="510"/>
                    </a:lnTo>
                    <a:lnTo>
                      <a:pt x="281" y="512"/>
                    </a:lnTo>
                    <a:lnTo>
                      <a:pt x="279" y="512"/>
                    </a:lnTo>
                    <a:lnTo>
                      <a:pt x="276" y="512"/>
                    </a:lnTo>
                    <a:lnTo>
                      <a:pt x="274" y="512"/>
                    </a:lnTo>
                    <a:lnTo>
                      <a:pt x="274" y="512"/>
                    </a:lnTo>
                    <a:lnTo>
                      <a:pt x="274" y="512"/>
                    </a:lnTo>
                    <a:lnTo>
                      <a:pt x="272" y="512"/>
                    </a:lnTo>
                    <a:lnTo>
                      <a:pt x="272" y="510"/>
                    </a:lnTo>
                    <a:lnTo>
                      <a:pt x="269" y="510"/>
                    </a:lnTo>
                    <a:lnTo>
                      <a:pt x="264" y="508"/>
                    </a:lnTo>
                    <a:lnTo>
                      <a:pt x="262" y="508"/>
                    </a:lnTo>
                    <a:lnTo>
                      <a:pt x="262" y="510"/>
                    </a:lnTo>
                    <a:lnTo>
                      <a:pt x="260" y="508"/>
                    </a:lnTo>
                    <a:lnTo>
                      <a:pt x="260" y="510"/>
                    </a:lnTo>
                    <a:lnTo>
                      <a:pt x="257" y="508"/>
                    </a:lnTo>
                    <a:lnTo>
                      <a:pt x="255" y="510"/>
                    </a:lnTo>
                    <a:lnTo>
                      <a:pt x="255" y="510"/>
                    </a:lnTo>
                    <a:lnTo>
                      <a:pt x="255" y="510"/>
                    </a:lnTo>
                    <a:lnTo>
                      <a:pt x="253" y="510"/>
                    </a:lnTo>
                    <a:lnTo>
                      <a:pt x="253" y="508"/>
                    </a:lnTo>
                    <a:lnTo>
                      <a:pt x="253" y="508"/>
                    </a:lnTo>
                    <a:lnTo>
                      <a:pt x="250" y="508"/>
                    </a:lnTo>
                    <a:lnTo>
                      <a:pt x="250" y="505"/>
                    </a:lnTo>
                    <a:lnTo>
                      <a:pt x="250" y="505"/>
                    </a:lnTo>
                    <a:lnTo>
                      <a:pt x="248" y="503"/>
                    </a:lnTo>
                    <a:lnTo>
                      <a:pt x="246" y="501"/>
                    </a:lnTo>
                    <a:lnTo>
                      <a:pt x="243" y="503"/>
                    </a:lnTo>
                    <a:lnTo>
                      <a:pt x="241" y="503"/>
                    </a:lnTo>
                    <a:lnTo>
                      <a:pt x="241" y="501"/>
                    </a:lnTo>
                    <a:lnTo>
                      <a:pt x="241" y="503"/>
                    </a:lnTo>
                    <a:lnTo>
                      <a:pt x="238" y="501"/>
                    </a:lnTo>
                    <a:lnTo>
                      <a:pt x="238" y="501"/>
                    </a:lnTo>
                    <a:lnTo>
                      <a:pt x="236" y="501"/>
                    </a:lnTo>
                    <a:lnTo>
                      <a:pt x="236" y="501"/>
                    </a:lnTo>
                    <a:lnTo>
                      <a:pt x="236" y="501"/>
                    </a:lnTo>
                    <a:lnTo>
                      <a:pt x="234" y="501"/>
                    </a:lnTo>
                    <a:lnTo>
                      <a:pt x="231" y="501"/>
                    </a:lnTo>
                    <a:lnTo>
                      <a:pt x="231" y="501"/>
                    </a:lnTo>
                    <a:lnTo>
                      <a:pt x="229" y="501"/>
                    </a:lnTo>
                    <a:lnTo>
                      <a:pt x="229" y="501"/>
                    </a:lnTo>
                    <a:lnTo>
                      <a:pt x="229" y="501"/>
                    </a:lnTo>
                    <a:lnTo>
                      <a:pt x="227" y="501"/>
                    </a:lnTo>
                    <a:lnTo>
                      <a:pt x="224" y="501"/>
                    </a:lnTo>
                    <a:lnTo>
                      <a:pt x="224" y="501"/>
                    </a:lnTo>
                    <a:lnTo>
                      <a:pt x="220" y="503"/>
                    </a:lnTo>
                    <a:lnTo>
                      <a:pt x="220" y="503"/>
                    </a:lnTo>
                    <a:lnTo>
                      <a:pt x="220" y="503"/>
                    </a:lnTo>
                    <a:lnTo>
                      <a:pt x="217" y="503"/>
                    </a:lnTo>
                    <a:lnTo>
                      <a:pt x="217" y="503"/>
                    </a:lnTo>
                    <a:lnTo>
                      <a:pt x="215" y="501"/>
                    </a:lnTo>
                    <a:lnTo>
                      <a:pt x="212" y="503"/>
                    </a:lnTo>
                    <a:lnTo>
                      <a:pt x="212" y="503"/>
                    </a:lnTo>
                    <a:lnTo>
                      <a:pt x="210" y="503"/>
                    </a:lnTo>
                    <a:lnTo>
                      <a:pt x="205" y="501"/>
                    </a:lnTo>
                    <a:lnTo>
                      <a:pt x="201" y="503"/>
                    </a:lnTo>
                    <a:lnTo>
                      <a:pt x="198" y="505"/>
                    </a:lnTo>
                    <a:lnTo>
                      <a:pt x="194" y="508"/>
                    </a:lnTo>
                    <a:lnTo>
                      <a:pt x="194" y="508"/>
                    </a:lnTo>
                    <a:lnTo>
                      <a:pt x="191" y="505"/>
                    </a:lnTo>
                    <a:lnTo>
                      <a:pt x="191" y="505"/>
                    </a:lnTo>
                    <a:lnTo>
                      <a:pt x="191" y="505"/>
                    </a:lnTo>
                    <a:lnTo>
                      <a:pt x="189" y="503"/>
                    </a:lnTo>
                    <a:lnTo>
                      <a:pt x="189" y="503"/>
                    </a:lnTo>
                    <a:lnTo>
                      <a:pt x="186" y="503"/>
                    </a:lnTo>
                    <a:lnTo>
                      <a:pt x="186" y="501"/>
                    </a:lnTo>
                    <a:lnTo>
                      <a:pt x="184" y="501"/>
                    </a:lnTo>
                    <a:lnTo>
                      <a:pt x="184" y="501"/>
                    </a:lnTo>
                    <a:lnTo>
                      <a:pt x="184" y="501"/>
                    </a:lnTo>
                    <a:lnTo>
                      <a:pt x="182" y="501"/>
                    </a:lnTo>
                    <a:lnTo>
                      <a:pt x="182" y="501"/>
                    </a:lnTo>
                    <a:lnTo>
                      <a:pt x="179" y="498"/>
                    </a:lnTo>
                    <a:lnTo>
                      <a:pt x="179" y="498"/>
                    </a:lnTo>
                    <a:lnTo>
                      <a:pt x="179" y="498"/>
                    </a:lnTo>
                    <a:lnTo>
                      <a:pt x="175" y="496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91"/>
                    </a:lnTo>
                    <a:lnTo>
                      <a:pt x="170" y="489"/>
                    </a:lnTo>
                    <a:lnTo>
                      <a:pt x="170" y="489"/>
                    </a:lnTo>
                    <a:lnTo>
                      <a:pt x="170" y="486"/>
                    </a:lnTo>
                    <a:lnTo>
                      <a:pt x="165" y="489"/>
                    </a:lnTo>
                    <a:lnTo>
                      <a:pt x="165" y="489"/>
                    </a:lnTo>
                    <a:lnTo>
                      <a:pt x="163" y="489"/>
                    </a:lnTo>
                    <a:lnTo>
                      <a:pt x="163" y="489"/>
                    </a:lnTo>
                    <a:lnTo>
                      <a:pt x="163" y="486"/>
                    </a:lnTo>
                    <a:lnTo>
                      <a:pt x="161" y="486"/>
                    </a:lnTo>
                    <a:lnTo>
                      <a:pt x="161" y="486"/>
                    </a:lnTo>
                    <a:lnTo>
                      <a:pt x="161" y="489"/>
                    </a:lnTo>
                    <a:lnTo>
                      <a:pt x="158" y="486"/>
                    </a:lnTo>
                    <a:lnTo>
                      <a:pt x="158" y="489"/>
                    </a:lnTo>
                    <a:lnTo>
                      <a:pt x="156" y="486"/>
                    </a:lnTo>
                    <a:lnTo>
                      <a:pt x="156" y="486"/>
                    </a:lnTo>
                    <a:lnTo>
                      <a:pt x="151" y="491"/>
                    </a:lnTo>
                    <a:lnTo>
                      <a:pt x="149" y="491"/>
                    </a:lnTo>
                    <a:lnTo>
                      <a:pt x="149" y="491"/>
                    </a:lnTo>
                    <a:lnTo>
                      <a:pt x="146" y="493"/>
                    </a:lnTo>
                    <a:lnTo>
                      <a:pt x="144" y="493"/>
                    </a:lnTo>
                    <a:lnTo>
                      <a:pt x="144" y="493"/>
                    </a:lnTo>
                    <a:lnTo>
                      <a:pt x="142" y="493"/>
                    </a:lnTo>
                    <a:lnTo>
                      <a:pt x="137" y="493"/>
                    </a:lnTo>
                    <a:lnTo>
                      <a:pt x="135" y="493"/>
                    </a:lnTo>
                    <a:lnTo>
                      <a:pt x="135" y="493"/>
                    </a:lnTo>
                    <a:lnTo>
                      <a:pt x="132" y="491"/>
                    </a:lnTo>
                    <a:lnTo>
                      <a:pt x="130" y="491"/>
                    </a:lnTo>
                    <a:lnTo>
                      <a:pt x="130" y="489"/>
                    </a:lnTo>
                    <a:lnTo>
                      <a:pt x="127" y="489"/>
                    </a:lnTo>
                    <a:lnTo>
                      <a:pt x="125" y="489"/>
                    </a:lnTo>
                    <a:lnTo>
                      <a:pt x="125" y="489"/>
                    </a:lnTo>
                    <a:lnTo>
                      <a:pt x="123" y="489"/>
                    </a:lnTo>
                    <a:lnTo>
                      <a:pt x="123" y="486"/>
                    </a:lnTo>
                    <a:lnTo>
                      <a:pt x="123" y="486"/>
                    </a:lnTo>
                    <a:lnTo>
                      <a:pt x="123" y="486"/>
                    </a:lnTo>
                    <a:lnTo>
                      <a:pt x="120" y="486"/>
                    </a:lnTo>
                    <a:lnTo>
                      <a:pt x="123" y="484"/>
                    </a:lnTo>
                    <a:lnTo>
                      <a:pt x="120" y="482"/>
                    </a:lnTo>
                    <a:lnTo>
                      <a:pt x="120" y="482"/>
                    </a:lnTo>
                    <a:lnTo>
                      <a:pt x="120" y="482"/>
                    </a:lnTo>
                    <a:lnTo>
                      <a:pt x="118" y="477"/>
                    </a:lnTo>
                    <a:lnTo>
                      <a:pt x="118" y="477"/>
                    </a:lnTo>
                    <a:lnTo>
                      <a:pt x="116" y="475"/>
                    </a:lnTo>
                    <a:lnTo>
                      <a:pt x="116" y="475"/>
                    </a:lnTo>
                    <a:lnTo>
                      <a:pt x="113" y="472"/>
                    </a:lnTo>
                    <a:lnTo>
                      <a:pt x="113" y="472"/>
                    </a:lnTo>
                    <a:lnTo>
                      <a:pt x="111" y="470"/>
                    </a:lnTo>
                    <a:lnTo>
                      <a:pt x="111" y="470"/>
                    </a:lnTo>
                    <a:lnTo>
                      <a:pt x="111" y="468"/>
                    </a:lnTo>
                    <a:lnTo>
                      <a:pt x="111" y="468"/>
                    </a:lnTo>
                    <a:lnTo>
                      <a:pt x="111" y="465"/>
                    </a:lnTo>
                    <a:lnTo>
                      <a:pt x="111" y="465"/>
                    </a:lnTo>
                    <a:lnTo>
                      <a:pt x="111" y="463"/>
                    </a:lnTo>
                    <a:lnTo>
                      <a:pt x="111" y="463"/>
                    </a:lnTo>
                    <a:lnTo>
                      <a:pt x="111" y="460"/>
                    </a:lnTo>
                    <a:lnTo>
                      <a:pt x="111" y="460"/>
                    </a:lnTo>
                    <a:lnTo>
                      <a:pt x="109" y="460"/>
                    </a:lnTo>
                    <a:lnTo>
                      <a:pt x="109" y="460"/>
                    </a:lnTo>
                    <a:lnTo>
                      <a:pt x="109" y="460"/>
                    </a:lnTo>
                    <a:lnTo>
                      <a:pt x="109" y="460"/>
                    </a:lnTo>
                    <a:lnTo>
                      <a:pt x="109" y="458"/>
                    </a:lnTo>
                    <a:lnTo>
                      <a:pt x="109" y="460"/>
                    </a:lnTo>
                    <a:lnTo>
                      <a:pt x="106" y="458"/>
                    </a:lnTo>
                    <a:lnTo>
                      <a:pt x="106" y="458"/>
                    </a:lnTo>
                    <a:lnTo>
                      <a:pt x="106" y="458"/>
                    </a:lnTo>
                    <a:lnTo>
                      <a:pt x="106" y="458"/>
                    </a:lnTo>
                    <a:lnTo>
                      <a:pt x="106" y="458"/>
                    </a:lnTo>
                    <a:lnTo>
                      <a:pt x="106" y="456"/>
                    </a:lnTo>
                    <a:lnTo>
                      <a:pt x="104" y="456"/>
                    </a:lnTo>
                    <a:lnTo>
                      <a:pt x="104" y="456"/>
                    </a:lnTo>
                    <a:lnTo>
                      <a:pt x="104" y="456"/>
                    </a:lnTo>
                    <a:lnTo>
                      <a:pt x="101" y="456"/>
                    </a:lnTo>
                    <a:lnTo>
                      <a:pt x="101" y="453"/>
                    </a:lnTo>
                    <a:lnTo>
                      <a:pt x="101" y="453"/>
                    </a:lnTo>
                    <a:lnTo>
                      <a:pt x="101" y="453"/>
                    </a:lnTo>
                    <a:lnTo>
                      <a:pt x="101" y="453"/>
                    </a:lnTo>
                    <a:lnTo>
                      <a:pt x="101" y="453"/>
                    </a:lnTo>
                    <a:lnTo>
                      <a:pt x="101" y="453"/>
                    </a:lnTo>
                    <a:lnTo>
                      <a:pt x="99" y="451"/>
                    </a:lnTo>
                    <a:lnTo>
                      <a:pt x="99" y="451"/>
                    </a:lnTo>
                    <a:lnTo>
                      <a:pt x="99" y="451"/>
                    </a:lnTo>
                    <a:lnTo>
                      <a:pt x="99" y="449"/>
                    </a:lnTo>
                    <a:lnTo>
                      <a:pt x="97" y="446"/>
                    </a:lnTo>
                    <a:lnTo>
                      <a:pt x="99" y="446"/>
                    </a:lnTo>
                    <a:lnTo>
                      <a:pt x="99" y="446"/>
                    </a:lnTo>
                    <a:lnTo>
                      <a:pt x="99" y="444"/>
                    </a:lnTo>
                    <a:lnTo>
                      <a:pt x="99" y="446"/>
                    </a:lnTo>
                    <a:lnTo>
                      <a:pt x="101" y="446"/>
                    </a:lnTo>
                    <a:lnTo>
                      <a:pt x="99" y="444"/>
                    </a:lnTo>
                    <a:lnTo>
                      <a:pt x="101" y="444"/>
                    </a:lnTo>
                    <a:lnTo>
                      <a:pt x="99" y="444"/>
                    </a:lnTo>
                    <a:lnTo>
                      <a:pt x="99" y="444"/>
                    </a:lnTo>
                    <a:lnTo>
                      <a:pt x="99" y="444"/>
                    </a:lnTo>
                    <a:lnTo>
                      <a:pt x="99" y="444"/>
                    </a:lnTo>
                    <a:lnTo>
                      <a:pt x="101" y="442"/>
                    </a:lnTo>
                    <a:lnTo>
                      <a:pt x="99" y="442"/>
                    </a:lnTo>
                    <a:lnTo>
                      <a:pt x="99" y="442"/>
                    </a:lnTo>
                    <a:lnTo>
                      <a:pt x="99" y="442"/>
                    </a:lnTo>
                    <a:lnTo>
                      <a:pt x="99" y="439"/>
                    </a:lnTo>
                    <a:lnTo>
                      <a:pt x="97" y="442"/>
                    </a:lnTo>
                    <a:lnTo>
                      <a:pt x="97" y="439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9" y="437"/>
                    </a:lnTo>
                    <a:lnTo>
                      <a:pt x="97" y="437"/>
                    </a:lnTo>
                    <a:lnTo>
                      <a:pt x="99" y="437"/>
                    </a:lnTo>
                    <a:lnTo>
                      <a:pt x="99" y="437"/>
                    </a:lnTo>
                    <a:lnTo>
                      <a:pt x="97" y="434"/>
                    </a:lnTo>
                    <a:lnTo>
                      <a:pt x="97" y="434"/>
                    </a:lnTo>
                    <a:lnTo>
                      <a:pt x="97" y="434"/>
                    </a:lnTo>
                    <a:lnTo>
                      <a:pt x="97" y="432"/>
                    </a:lnTo>
                    <a:lnTo>
                      <a:pt x="99" y="432"/>
                    </a:lnTo>
                    <a:lnTo>
                      <a:pt x="99" y="432"/>
                    </a:lnTo>
                    <a:lnTo>
                      <a:pt x="99" y="430"/>
                    </a:lnTo>
                    <a:lnTo>
                      <a:pt x="101" y="432"/>
                    </a:lnTo>
                    <a:lnTo>
                      <a:pt x="101" y="430"/>
                    </a:lnTo>
                    <a:lnTo>
                      <a:pt x="99" y="430"/>
                    </a:lnTo>
                    <a:lnTo>
                      <a:pt x="99" y="430"/>
                    </a:lnTo>
                    <a:lnTo>
                      <a:pt x="99" y="427"/>
                    </a:lnTo>
                    <a:lnTo>
                      <a:pt x="97" y="427"/>
                    </a:lnTo>
                    <a:lnTo>
                      <a:pt x="99" y="427"/>
                    </a:lnTo>
                    <a:lnTo>
                      <a:pt x="99" y="427"/>
                    </a:lnTo>
                    <a:lnTo>
                      <a:pt x="97" y="425"/>
                    </a:lnTo>
                    <a:lnTo>
                      <a:pt x="97" y="425"/>
                    </a:lnTo>
                    <a:lnTo>
                      <a:pt x="97" y="425"/>
                    </a:lnTo>
                    <a:lnTo>
                      <a:pt x="99" y="425"/>
                    </a:lnTo>
                    <a:lnTo>
                      <a:pt x="97" y="423"/>
                    </a:lnTo>
                    <a:lnTo>
                      <a:pt x="99" y="423"/>
                    </a:lnTo>
                    <a:lnTo>
                      <a:pt x="97" y="420"/>
                    </a:lnTo>
                    <a:lnTo>
                      <a:pt x="94" y="423"/>
                    </a:lnTo>
                    <a:lnTo>
                      <a:pt x="97" y="420"/>
                    </a:lnTo>
                    <a:lnTo>
                      <a:pt x="97" y="418"/>
                    </a:lnTo>
                    <a:lnTo>
                      <a:pt x="94" y="418"/>
                    </a:lnTo>
                    <a:lnTo>
                      <a:pt x="94" y="418"/>
                    </a:lnTo>
                    <a:lnTo>
                      <a:pt x="92" y="418"/>
                    </a:lnTo>
                    <a:lnTo>
                      <a:pt x="94" y="418"/>
                    </a:lnTo>
                    <a:lnTo>
                      <a:pt x="94" y="416"/>
                    </a:lnTo>
                    <a:lnTo>
                      <a:pt x="97" y="416"/>
                    </a:lnTo>
                    <a:lnTo>
                      <a:pt x="97" y="418"/>
                    </a:lnTo>
                    <a:lnTo>
                      <a:pt x="97" y="416"/>
                    </a:lnTo>
                    <a:lnTo>
                      <a:pt x="97" y="416"/>
                    </a:lnTo>
                    <a:lnTo>
                      <a:pt x="97" y="416"/>
                    </a:lnTo>
                    <a:lnTo>
                      <a:pt x="97" y="413"/>
                    </a:lnTo>
                    <a:lnTo>
                      <a:pt x="97" y="413"/>
                    </a:lnTo>
                    <a:lnTo>
                      <a:pt x="94" y="411"/>
                    </a:lnTo>
                    <a:lnTo>
                      <a:pt x="92" y="411"/>
                    </a:lnTo>
                    <a:lnTo>
                      <a:pt x="92" y="411"/>
                    </a:lnTo>
                    <a:lnTo>
                      <a:pt x="92" y="408"/>
                    </a:lnTo>
                    <a:lnTo>
                      <a:pt x="92" y="408"/>
                    </a:lnTo>
                    <a:lnTo>
                      <a:pt x="92" y="408"/>
                    </a:lnTo>
                    <a:lnTo>
                      <a:pt x="92" y="408"/>
                    </a:lnTo>
                    <a:lnTo>
                      <a:pt x="92" y="408"/>
                    </a:lnTo>
                    <a:lnTo>
                      <a:pt x="92" y="406"/>
                    </a:lnTo>
                    <a:lnTo>
                      <a:pt x="92" y="406"/>
                    </a:lnTo>
                    <a:lnTo>
                      <a:pt x="90" y="408"/>
                    </a:lnTo>
                    <a:lnTo>
                      <a:pt x="90" y="406"/>
                    </a:lnTo>
                    <a:lnTo>
                      <a:pt x="87" y="408"/>
                    </a:lnTo>
                    <a:lnTo>
                      <a:pt x="87" y="406"/>
                    </a:lnTo>
                    <a:lnTo>
                      <a:pt x="90" y="406"/>
                    </a:lnTo>
                    <a:lnTo>
                      <a:pt x="87" y="404"/>
                    </a:lnTo>
                    <a:lnTo>
                      <a:pt x="87" y="406"/>
                    </a:lnTo>
                    <a:lnTo>
                      <a:pt x="85" y="406"/>
                    </a:lnTo>
                    <a:lnTo>
                      <a:pt x="85" y="404"/>
                    </a:lnTo>
                    <a:lnTo>
                      <a:pt x="85" y="404"/>
                    </a:lnTo>
                    <a:lnTo>
                      <a:pt x="85" y="406"/>
                    </a:lnTo>
                    <a:lnTo>
                      <a:pt x="83" y="406"/>
                    </a:lnTo>
                    <a:lnTo>
                      <a:pt x="85" y="408"/>
                    </a:lnTo>
                    <a:lnTo>
                      <a:pt x="83" y="408"/>
                    </a:lnTo>
                    <a:lnTo>
                      <a:pt x="83" y="408"/>
                    </a:lnTo>
                    <a:lnTo>
                      <a:pt x="83" y="406"/>
                    </a:lnTo>
                    <a:lnTo>
                      <a:pt x="83" y="404"/>
                    </a:lnTo>
                    <a:lnTo>
                      <a:pt x="80" y="404"/>
                    </a:lnTo>
                    <a:lnTo>
                      <a:pt x="80" y="404"/>
                    </a:lnTo>
                    <a:lnTo>
                      <a:pt x="80" y="404"/>
                    </a:lnTo>
                    <a:lnTo>
                      <a:pt x="80" y="404"/>
                    </a:lnTo>
                    <a:lnTo>
                      <a:pt x="78" y="401"/>
                    </a:lnTo>
                    <a:lnTo>
                      <a:pt x="78" y="401"/>
                    </a:lnTo>
                    <a:lnTo>
                      <a:pt x="75" y="399"/>
                    </a:lnTo>
                    <a:lnTo>
                      <a:pt x="75" y="399"/>
                    </a:lnTo>
                    <a:lnTo>
                      <a:pt x="73" y="399"/>
                    </a:lnTo>
                    <a:lnTo>
                      <a:pt x="73" y="401"/>
                    </a:lnTo>
                    <a:lnTo>
                      <a:pt x="71" y="401"/>
                    </a:lnTo>
                    <a:lnTo>
                      <a:pt x="71" y="399"/>
                    </a:lnTo>
                    <a:lnTo>
                      <a:pt x="68" y="399"/>
                    </a:lnTo>
                    <a:lnTo>
                      <a:pt x="66" y="399"/>
                    </a:lnTo>
                    <a:lnTo>
                      <a:pt x="66" y="401"/>
                    </a:lnTo>
                    <a:lnTo>
                      <a:pt x="66" y="404"/>
                    </a:lnTo>
                    <a:lnTo>
                      <a:pt x="66" y="404"/>
                    </a:lnTo>
                    <a:lnTo>
                      <a:pt x="66" y="406"/>
                    </a:lnTo>
                    <a:lnTo>
                      <a:pt x="64" y="404"/>
                    </a:lnTo>
                    <a:lnTo>
                      <a:pt x="61" y="399"/>
                    </a:lnTo>
                    <a:lnTo>
                      <a:pt x="61" y="397"/>
                    </a:lnTo>
                    <a:lnTo>
                      <a:pt x="66" y="392"/>
                    </a:lnTo>
                    <a:lnTo>
                      <a:pt x="66" y="390"/>
                    </a:lnTo>
                    <a:lnTo>
                      <a:pt x="64" y="390"/>
                    </a:lnTo>
                    <a:lnTo>
                      <a:pt x="64" y="390"/>
                    </a:lnTo>
                    <a:lnTo>
                      <a:pt x="59" y="392"/>
                    </a:lnTo>
                    <a:lnTo>
                      <a:pt x="57" y="394"/>
                    </a:lnTo>
                    <a:lnTo>
                      <a:pt x="57" y="394"/>
                    </a:lnTo>
                    <a:lnTo>
                      <a:pt x="54" y="394"/>
                    </a:lnTo>
                    <a:lnTo>
                      <a:pt x="52" y="394"/>
                    </a:lnTo>
                    <a:lnTo>
                      <a:pt x="52" y="397"/>
                    </a:lnTo>
                    <a:lnTo>
                      <a:pt x="52" y="397"/>
                    </a:lnTo>
                    <a:lnTo>
                      <a:pt x="54" y="399"/>
                    </a:lnTo>
                    <a:lnTo>
                      <a:pt x="54" y="399"/>
                    </a:lnTo>
                    <a:lnTo>
                      <a:pt x="57" y="401"/>
                    </a:lnTo>
                    <a:lnTo>
                      <a:pt x="54" y="401"/>
                    </a:lnTo>
                    <a:lnTo>
                      <a:pt x="52" y="401"/>
                    </a:lnTo>
                    <a:lnTo>
                      <a:pt x="49" y="399"/>
                    </a:lnTo>
                    <a:lnTo>
                      <a:pt x="47" y="399"/>
                    </a:lnTo>
                    <a:lnTo>
                      <a:pt x="47" y="399"/>
                    </a:lnTo>
                    <a:lnTo>
                      <a:pt x="47" y="401"/>
                    </a:lnTo>
                    <a:lnTo>
                      <a:pt x="45" y="401"/>
                    </a:lnTo>
                    <a:lnTo>
                      <a:pt x="45" y="401"/>
                    </a:lnTo>
                    <a:lnTo>
                      <a:pt x="42" y="397"/>
                    </a:lnTo>
                    <a:lnTo>
                      <a:pt x="40" y="397"/>
                    </a:lnTo>
                    <a:lnTo>
                      <a:pt x="35" y="399"/>
                    </a:lnTo>
                    <a:lnTo>
                      <a:pt x="33" y="404"/>
                    </a:lnTo>
                    <a:lnTo>
                      <a:pt x="33" y="404"/>
                    </a:lnTo>
                    <a:lnTo>
                      <a:pt x="31" y="401"/>
                    </a:lnTo>
                    <a:lnTo>
                      <a:pt x="28" y="404"/>
                    </a:lnTo>
                    <a:lnTo>
                      <a:pt x="28" y="404"/>
                    </a:lnTo>
                    <a:lnTo>
                      <a:pt x="28" y="406"/>
                    </a:lnTo>
                    <a:lnTo>
                      <a:pt x="28" y="408"/>
                    </a:lnTo>
                    <a:lnTo>
                      <a:pt x="23" y="411"/>
                    </a:lnTo>
                    <a:lnTo>
                      <a:pt x="23" y="416"/>
                    </a:lnTo>
                    <a:lnTo>
                      <a:pt x="23" y="416"/>
                    </a:lnTo>
                    <a:lnTo>
                      <a:pt x="23" y="416"/>
                    </a:lnTo>
                    <a:lnTo>
                      <a:pt x="21" y="411"/>
                    </a:lnTo>
                    <a:lnTo>
                      <a:pt x="19" y="408"/>
                    </a:lnTo>
                    <a:lnTo>
                      <a:pt x="16" y="406"/>
                    </a:lnTo>
                    <a:lnTo>
                      <a:pt x="14" y="404"/>
                    </a:lnTo>
                    <a:lnTo>
                      <a:pt x="12" y="406"/>
                    </a:lnTo>
                    <a:lnTo>
                      <a:pt x="9" y="406"/>
                    </a:lnTo>
                    <a:lnTo>
                      <a:pt x="9" y="404"/>
                    </a:lnTo>
                    <a:lnTo>
                      <a:pt x="9" y="404"/>
                    </a:lnTo>
                    <a:lnTo>
                      <a:pt x="9" y="401"/>
                    </a:lnTo>
                    <a:lnTo>
                      <a:pt x="7" y="401"/>
                    </a:lnTo>
                    <a:lnTo>
                      <a:pt x="7" y="401"/>
                    </a:lnTo>
                    <a:lnTo>
                      <a:pt x="2" y="401"/>
                    </a:lnTo>
                    <a:lnTo>
                      <a:pt x="2" y="394"/>
                    </a:lnTo>
                    <a:lnTo>
                      <a:pt x="2" y="392"/>
                    </a:lnTo>
                    <a:lnTo>
                      <a:pt x="2" y="387"/>
                    </a:lnTo>
                    <a:lnTo>
                      <a:pt x="0" y="385"/>
                    </a:lnTo>
                    <a:lnTo>
                      <a:pt x="0" y="385"/>
                    </a:lnTo>
                    <a:lnTo>
                      <a:pt x="0" y="382"/>
                    </a:lnTo>
                    <a:lnTo>
                      <a:pt x="0" y="382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9" name="Freeform 31"/>
              <p:cNvSpPr>
                <a:spLocks/>
              </p:cNvSpPr>
              <p:nvPr/>
            </p:nvSpPr>
            <p:spPr bwMode="auto">
              <a:xfrm>
                <a:off x="3927324" y="5594197"/>
                <a:ext cx="1072147" cy="926573"/>
              </a:xfrm>
              <a:custGeom>
                <a:avLst/>
                <a:gdLst/>
                <a:ahLst/>
                <a:cxnLst>
                  <a:cxn ang="0">
                    <a:pos x="127" y="274"/>
                  </a:cxn>
                  <a:cxn ang="0">
                    <a:pos x="210" y="196"/>
                  </a:cxn>
                  <a:cxn ang="0">
                    <a:pos x="238" y="156"/>
                  </a:cxn>
                  <a:cxn ang="0">
                    <a:pos x="279" y="133"/>
                  </a:cxn>
                  <a:cxn ang="0">
                    <a:pos x="321" y="100"/>
                  </a:cxn>
                  <a:cxn ang="0">
                    <a:pos x="357" y="64"/>
                  </a:cxn>
                  <a:cxn ang="0">
                    <a:pos x="394" y="55"/>
                  </a:cxn>
                  <a:cxn ang="0">
                    <a:pos x="430" y="45"/>
                  </a:cxn>
                  <a:cxn ang="0">
                    <a:pos x="468" y="15"/>
                  </a:cxn>
                  <a:cxn ang="0">
                    <a:pos x="505" y="12"/>
                  </a:cxn>
                  <a:cxn ang="0">
                    <a:pos x="538" y="3"/>
                  </a:cxn>
                  <a:cxn ang="0">
                    <a:pos x="567" y="8"/>
                  </a:cxn>
                  <a:cxn ang="0">
                    <a:pos x="588" y="15"/>
                  </a:cxn>
                  <a:cxn ang="0">
                    <a:pos x="621" y="17"/>
                  </a:cxn>
                  <a:cxn ang="0">
                    <a:pos x="657" y="24"/>
                  </a:cxn>
                  <a:cxn ang="0">
                    <a:pos x="678" y="31"/>
                  </a:cxn>
                  <a:cxn ang="0">
                    <a:pos x="697" y="31"/>
                  </a:cxn>
                  <a:cxn ang="0">
                    <a:pos x="716" y="43"/>
                  </a:cxn>
                  <a:cxn ang="0">
                    <a:pos x="744" y="57"/>
                  </a:cxn>
                  <a:cxn ang="0">
                    <a:pos x="770" y="57"/>
                  </a:cxn>
                  <a:cxn ang="0">
                    <a:pos x="796" y="71"/>
                  </a:cxn>
                  <a:cxn ang="0">
                    <a:pos x="831" y="97"/>
                  </a:cxn>
                  <a:cxn ang="0">
                    <a:pos x="857" y="128"/>
                  </a:cxn>
                  <a:cxn ang="0">
                    <a:pos x="881" y="154"/>
                  </a:cxn>
                  <a:cxn ang="0">
                    <a:pos x="923" y="178"/>
                  </a:cxn>
                  <a:cxn ang="0">
                    <a:pos x="947" y="180"/>
                  </a:cxn>
                  <a:cxn ang="0">
                    <a:pos x="973" y="178"/>
                  </a:cxn>
                  <a:cxn ang="0">
                    <a:pos x="994" y="182"/>
                  </a:cxn>
                  <a:cxn ang="0">
                    <a:pos x="1006" y="196"/>
                  </a:cxn>
                  <a:cxn ang="0">
                    <a:pos x="992" y="211"/>
                  </a:cxn>
                  <a:cxn ang="0">
                    <a:pos x="978" y="220"/>
                  </a:cxn>
                  <a:cxn ang="0">
                    <a:pos x="978" y="237"/>
                  </a:cxn>
                  <a:cxn ang="0">
                    <a:pos x="975" y="256"/>
                  </a:cxn>
                  <a:cxn ang="0">
                    <a:pos x="968" y="267"/>
                  </a:cxn>
                  <a:cxn ang="0">
                    <a:pos x="959" y="277"/>
                  </a:cxn>
                  <a:cxn ang="0">
                    <a:pos x="949" y="284"/>
                  </a:cxn>
                  <a:cxn ang="0">
                    <a:pos x="966" y="296"/>
                  </a:cxn>
                  <a:cxn ang="0">
                    <a:pos x="987" y="282"/>
                  </a:cxn>
                  <a:cxn ang="0">
                    <a:pos x="1004" y="296"/>
                  </a:cxn>
                  <a:cxn ang="0">
                    <a:pos x="883" y="508"/>
                  </a:cxn>
                  <a:cxn ang="0">
                    <a:pos x="692" y="671"/>
                  </a:cxn>
                  <a:cxn ang="0">
                    <a:pos x="534" y="865"/>
                  </a:cxn>
                  <a:cxn ang="0">
                    <a:pos x="569" y="749"/>
                  </a:cxn>
                  <a:cxn ang="0">
                    <a:pos x="531" y="709"/>
                  </a:cxn>
                  <a:cxn ang="0">
                    <a:pos x="503" y="676"/>
                  </a:cxn>
                  <a:cxn ang="0">
                    <a:pos x="484" y="650"/>
                  </a:cxn>
                  <a:cxn ang="0">
                    <a:pos x="460" y="631"/>
                  </a:cxn>
                  <a:cxn ang="0">
                    <a:pos x="404" y="589"/>
                  </a:cxn>
                  <a:cxn ang="0">
                    <a:pos x="354" y="567"/>
                  </a:cxn>
                  <a:cxn ang="0">
                    <a:pos x="335" y="548"/>
                  </a:cxn>
                  <a:cxn ang="0">
                    <a:pos x="305" y="546"/>
                  </a:cxn>
                  <a:cxn ang="0">
                    <a:pos x="290" y="520"/>
                  </a:cxn>
                  <a:cxn ang="0">
                    <a:pos x="267" y="496"/>
                  </a:cxn>
                  <a:cxn ang="0">
                    <a:pos x="248" y="506"/>
                  </a:cxn>
                  <a:cxn ang="0">
                    <a:pos x="217" y="522"/>
                  </a:cxn>
                  <a:cxn ang="0">
                    <a:pos x="203" y="482"/>
                  </a:cxn>
                  <a:cxn ang="0">
                    <a:pos x="179" y="459"/>
                  </a:cxn>
                  <a:cxn ang="0">
                    <a:pos x="160" y="447"/>
                  </a:cxn>
                  <a:cxn ang="0">
                    <a:pos x="137" y="421"/>
                  </a:cxn>
                  <a:cxn ang="0">
                    <a:pos x="108" y="402"/>
                  </a:cxn>
                  <a:cxn ang="0">
                    <a:pos x="73" y="393"/>
                  </a:cxn>
                  <a:cxn ang="0">
                    <a:pos x="49" y="416"/>
                  </a:cxn>
                  <a:cxn ang="0">
                    <a:pos x="5" y="407"/>
                  </a:cxn>
                </a:cxnLst>
                <a:rect l="0" t="0" r="r" b="b"/>
                <a:pathLst>
                  <a:path w="1009" h="872">
                    <a:moveTo>
                      <a:pt x="40" y="378"/>
                    </a:moveTo>
                    <a:lnTo>
                      <a:pt x="42" y="374"/>
                    </a:lnTo>
                    <a:lnTo>
                      <a:pt x="40" y="367"/>
                    </a:lnTo>
                    <a:lnTo>
                      <a:pt x="40" y="367"/>
                    </a:lnTo>
                    <a:lnTo>
                      <a:pt x="45" y="359"/>
                    </a:lnTo>
                    <a:lnTo>
                      <a:pt x="52" y="355"/>
                    </a:lnTo>
                    <a:lnTo>
                      <a:pt x="54" y="352"/>
                    </a:lnTo>
                    <a:lnTo>
                      <a:pt x="61" y="352"/>
                    </a:lnTo>
                    <a:lnTo>
                      <a:pt x="66" y="352"/>
                    </a:lnTo>
                    <a:lnTo>
                      <a:pt x="66" y="350"/>
                    </a:lnTo>
                    <a:lnTo>
                      <a:pt x="71" y="348"/>
                    </a:lnTo>
                    <a:lnTo>
                      <a:pt x="75" y="343"/>
                    </a:lnTo>
                    <a:lnTo>
                      <a:pt x="83" y="333"/>
                    </a:lnTo>
                    <a:lnTo>
                      <a:pt x="87" y="329"/>
                    </a:lnTo>
                    <a:lnTo>
                      <a:pt x="90" y="326"/>
                    </a:lnTo>
                    <a:lnTo>
                      <a:pt x="94" y="319"/>
                    </a:lnTo>
                    <a:lnTo>
                      <a:pt x="99" y="317"/>
                    </a:lnTo>
                    <a:lnTo>
                      <a:pt x="104" y="315"/>
                    </a:lnTo>
                    <a:lnTo>
                      <a:pt x="106" y="312"/>
                    </a:lnTo>
                    <a:lnTo>
                      <a:pt x="108" y="312"/>
                    </a:lnTo>
                    <a:lnTo>
                      <a:pt x="111" y="308"/>
                    </a:lnTo>
                    <a:lnTo>
                      <a:pt x="111" y="305"/>
                    </a:lnTo>
                    <a:lnTo>
                      <a:pt x="111" y="303"/>
                    </a:lnTo>
                    <a:lnTo>
                      <a:pt x="111" y="300"/>
                    </a:lnTo>
                    <a:lnTo>
                      <a:pt x="113" y="298"/>
                    </a:lnTo>
                    <a:lnTo>
                      <a:pt x="118" y="298"/>
                    </a:lnTo>
                    <a:lnTo>
                      <a:pt x="120" y="298"/>
                    </a:lnTo>
                    <a:lnTo>
                      <a:pt x="125" y="286"/>
                    </a:lnTo>
                    <a:lnTo>
                      <a:pt x="127" y="284"/>
                    </a:lnTo>
                    <a:lnTo>
                      <a:pt x="125" y="282"/>
                    </a:lnTo>
                    <a:lnTo>
                      <a:pt x="127" y="274"/>
                    </a:lnTo>
                    <a:lnTo>
                      <a:pt x="132" y="272"/>
                    </a:lnTo>
                    <a:lnTo>
                      <a:pt x="134" y="265"/>
                    </a:lnTo>
                    <a:lnTo>
                      <a:pt x="137" y="265"/>
                    </a:lnTo>
                    <a:lnTo>
                      <a:pt x="142" y="265"/>
                    </a:lnTo>
                    <a:lnTo>
                      <a:pt x="144" y="263"/>
                    </a:lnTo>
                    <a:lnTo>
                      <a:pt x="146" y="263"/>
                    </a:lnTo>
                    <a:lnTo>
                      <a:pt x="153" y="260"/>
                    </a:lnTo>
                    <a:lnTo>
                      <a:pt x="156" y="260"/>
                    </a:lnTo>
                    <a:lnTo>
                      <a:pt x="156" y="256"/>
                    </a:lnTo>
                    <a:lnTo>
                      <a:pt x="158" y="253"/>
                    </a:lnTo>
                    <a:lnTo>
                      <a:pt x="156" y="251"/>
                    </a:lnTo>
                    <a:lnTo>
                      <a:pt x="156" y="246"/>
                    </a:lnTo>
                    <a:lnTo>
                      <a:pt x="158" y="246"/>
                    </a:lnTo>
                    <a:lnTo>
                      <a:pt x="160" y="244"/>
                    </a:lnTo>
                    <a:lnTo>
                      <a:pt x="165" y="244"/>
                    </a:lnTo>
                    <a:lnTo>
                      <a:pt x="168" y="241"/>
                    </a:lnTo>
                    <a:lnTo>
                      <a:pt x="170" y="237"/>
                    </a:lnTo>
                    <a:lnTo>
                      <a:pt x="172" y="237"/>
                    </a:lnTo>
                    <a:lnTo>
                      <a:pt x="172" y="232"/>
                    </a:lnTo>
                    <a:lnTo>
                      <a:pt x="170" y="227"/>
                    </a:lnTo>
                    <a:lnTo>
                      <a:pt x="172" y="225"/>
                    </a:lnTo>
                    <a:lnTo>
                      <a:pt x="172" y="222"/>
                    </a:lnTo>
                    <a:lnTo>
                      <a:pt x="175" y="220"/>
                    </a:lnTo>
                    <a:lnTo>
                      <a:pt x="184" y="220"/>
                    </a:lnTo>
                    <a:lnTo>
                      <a:pt x="189" y="218"/>
                    </a:lnTo>
                    <a:lnTo>
                      <a:pt x="191" y="213"/>
                    </a:lnTo>
                    <a:lnTo>
                      <a:pt x="194" y="211"/>
                    </a:lnTo>
                    <a:lnTo>
                      <a:pt x="203" y="201"/>
                    </a:lnTo>
                    <a:lnTo>
                      <a:pt x="208" y="199"/>
                    </a:lnTo>
                    <a:lnTo>
                      <a:pt x="208" y="199"/>
                    </a:lnTo>
                    <a:lnTo>
                      <a:pt x="210" y="196"/>
                    </a:lnTo>
                    <a:lnTo>
                      <a:pt x="208" y="194"/>
                    </a:lnTo>
                    <a:lnTo>
                      <a:pt x="205" y="192"/>
                    </a:lnTo>
                    <a:lnTo>
                      <a:pt x="205" y="189"/>
                    </a:lnTo>
                    <a:lnTo>
                      <a:pt x="205" y="189"/>
                    </a:lnTo>
                    <a:lnTo>
                      <a:pt x="208" y="187"/>
                    </a:lnTo>
                    <a:lnTo>
                      <a:pt x="210" y="185"/>
                    </a:lnTo>
                    <a:lnTo>
                      <a:pt x="215" y="185"/>
                    </a:lnTo>
                    <a:lnTo>
                      <a:pt x="220" y="182"/>
                    </a:lnTo>
                    <a:lnTo>
                      <a:pt x="224" y="182"/>
                    </a:lnTo>
                    <a:lnTo>
                      <a:pt x="224" y="182"/>
                    </a:lnTo>
                    <a:lnTo>
                      <a:pt x="224" y="180"/>
                    </a:lnTo>
                    <a:lnTo>
                      <a:pt x="222" y="175"/>
                    </a:lnTo>
                    <a:lnTo>
                      <a:pt x="222" y="173"/>
                    </a:lnTo>
                    <a:lnTo>
                      <a:pt x="222" y="173"/>
                    </a:lnTo>
                    <a:lnTo>
                      <a:pt x="224" y="168"/>
                    </a:lnTo>
                    <a:lnTo>
                      <a:pt x="229" y="166"/>
                    </a:lnTo>
                    <a:lnTo>
                      <a:pt x="231" y="168"/>
                    </a:lnTo>
                    <a:lnTo>
                      <a:pt x="238" y="168"/>
                    </a:lnTo>
                    <a:lnTo>
                      <a:pt x="243" y="168"/>
                    </a:lnTo>
                    <a:lnTo>
                      <a:pt x="243" y="171"/>
                    </a:lnTo>
                    <a:lnTo>
                      <a:pt x="243" y="173"/>
                    </a:lnTo>
                    <a:lnTo>
                      <a:pt x="245" y="173"/>
                    </a:lnTo>
                    <a:lnTo>
                      <a:pt x="245" y="175"/>
                    </a:lnTo>
                    <a:lnTo>
                      <a:pt x="248" y="175"/>
                    </a:lnTo>
                    <a:lnTo>
                      <a:pt x="248" y="173"/>
                    </a:lnTo>
                    <a:lnTo>
                      <a:pt x="248" y="171"/>
                    </a:lnTo>
                    <a:lnTo>
                      <a:pt x="250" y="163"/>
                    </a:lnTo>
                    <a:lnTo>
                      <a:pt x="250" y="163"/>
                    </a:lnTo>
                    <a:lnTo>
                      <a:pt x="245" y="161"/>
                    </a:lnTo>
                    <a:lnTo>
                      <a:pt x="243" y="159"/>
                    </a:lnTo>
                    <a:lnTo>
                      <a:pt x="238" y="156"/>
                    </a:lnTo>
                    <a:lnTo>
                      <a:pt x="236" y="154"/>
                    </a:lnTo>
                    <a:lnTo>
                      <a:pt x="238" y="152"/>
                    </a:lnTo>
                    <a:lnTo>
                      <a:pt x="243" y="149"/>
                    </a:lnTo>
                    <a:lnTo>
                      <a:pt x="248" y="149"/>
                    </a:lnTo>
                    <a:lnTo>
                      <a:pt x="253" y="145"/>
                    </a:lnTo>
                    <a:lnTo>
                      <a:pt x="253" y="145"/>
                    </a:lnTo>
                    <a:lnTo>
                      <a:pt x="255" y="142"/>
                    </a:lnTo>
                    <a:lnTo>
                      <a:pt x="255" y="142"/>
                    </a:lnTo>
                    <a:lnTo>
                      <a:pt x="257" y="142"/>
                    </a:lnTo>
                    <a:lnTo>
                      <a:pt x="255" y="140"/>
                    </a:lnTo>
                    <a:lnTo>
                      <a:pt x="257" y="140"/>
                    </a:lnTo>
                    <a:lnTo>
                      <a:pt x="257" y="137"/>
                    </a:lnTo>
                    <a:lnTo>
                      <a:pt x="257" y="137"/>
                    </a:lnTo>
                    <a:lnTo>
                      <a:pt x="257" y="135"/>
                    </a:lnTo>
                    <a:lnTo>
                      <a:pt x="260" y="135"/>
                    </a:lnTo>
                    <a:lnTo>
                      <a:pt x="262" y="135"/>
                    </a:lnTo>
                    <a:lnTo>
                      <a:pt x="262" y="137"/>
                    </a:lnTo>
                    <a:lnTo>
                      <a:pt x="262" y="137"/>
                    </a:lnTo>
                    <a:lnTo>
                      <a:pt x="262" y="140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7" y="140"/>
                    </a:lnTo>
                    <a:lnTo>
                      <a:pt x="267" y="137"/>
                    </a:lnTo>
                    <a:lnTo>
                      <a:pt x="267" y="137"/>
                    </a:lnTo>
                    <a:lnTo>
                      <a:pt x="267" y="135"/>
                    </a:lnTo>
                    <a:lnTo>
                      <a:pt x="271" y="135"/>
                    </a:lnTo>
                    <a:lnTo>
                      <a:pt x="271" y="133"/>
                    </a:lnTo>
                    <a:lnTo>
                      <a:pt x="274" y="130"/>
                    </a:lnTo>
                    <a:lnTo>
                      <a:pt x="274" y="130"/>
                    </a:lnTo>
                    <a:lnTo>
                      <a:pt x="276" y="133"/>
                    </a:lnTo>
                    <a:lnTo>
                      <a:pt x="279" y="133"/>
                    </a:lnTo>
                    <a:lnTo>
                      <a:pt x="279" y="133"/>
                    </a:lnTo>
                    <a:lnTo>
                      <a:pt x="281" y="130"/>
                    </a:lnTo>
                    <a:lnTo>
                      <a:pt x="283" y="128"/>
                    </a:lnTo>
                    <a:lnTo>
                      <a:pt x="288" y="126"/>
                    </a:lnTo>
                    <a:lnTo>
                      <a:pt x="290" y="123"/>
                    </a:lnTo>
                    <a:lnTo>
                      <a:pt x="290" y="123"/>
                    </a:lnTo>
                    <a:lnTo>
                      <a:pt x="288" y="119"/>
                    </a:lnTo>
                    <a:lnTo>
                      <a:pt x="286" y="119"/>
                    </a:lnTo>
                    <a:lnTo>
                      <a:pt x="286" y="119"/>
                    </a:lnTo>
                    <a:lnTo>
                      <a:pt x="288" y="116"/>
                    </a:lnTo>
                    <a:lnTo>
                      <a:pt x="293" y="116"/>
                    </a:lnTo>
                    <a:lnTo>
                      <a:pt x="293" y="116"/>
                    </a:lnTo>
                    <a:lnTo>
                      <a:pt x="293" y="111"/>
                    </a:lnTo>
                    <a:lnTo>
                      <a:pt x="295" y="109"/>
                    </a:lnTo>
                    <a:lnTo>
                      <a:pt x="295" y="109"/>
                    </a:lnTo>
                    <a:lnTo>
                      <a:pt x="297" y="109"/>
                    </a:lnTo>
                    <a:lnTo>
                      <a:pt x="300" y="111"/>
                    </a:lnTo>
                    <a:lnTo>
                      <a:pt x="302" y="111"/>
                    </a:lnTo>
                    <a:lnTo>
                      <a:pt x="302" y="109"/>
                    </a:lnTo>
                    <a:lnTo>
                      <a:pt x="307" y="104"/>
                    </a:lnTo>
                    <a:lnTo>
                      <a:pt x="312" y="100"/>
                    </a:lnTo>
                    <a:lnTo>
                      <a:pt x="312" y="100"/>
                    </a:lnTo>
                    <a:lnTo>
                      <a:pt x="314" y="102"/>
                    </a:lnTo>
                    <a:lnTo>
                      <a:pt x="316" y="104"/>
                    </a:lnTo>
                    <a:lnTo>
                      <a:pt x="319" y="107"/>
                    </a:lnTo>
                    <a:lnTo>
                      <a:pt x="319" y="107"/>
                    </a:lnTo>
                    <a:lnTo>
                      <a:pt x="319" y="107"/>
                    </a:lnTo>
                    <a:lnTo>
                      <a:pt x="321" y="104"/>
                    </a:lnTo>
                    <a:lnTo>
                      <a:pt x="319" y="102"/>
                    </a:lnTo>
                    <a:lnTo>
                      <a:pt x="321" y="100"/>
                    </a:lnTo>
                    <a:lnTo>
                      <a:pt x="321" y="100"/>
                    </a:lnTo>
                    <a:lnTo>
                      <a:pt x="326" y="100"/>
                    </a:lnTo>
                    <a:lnTo>
                      <a:pt x="328" y="100"/>
                    </a:lnTo>
                    <a:lnTo>
                      <a:pt x="331" y="102"/>
                    </a:lnTo>
                    <a:lnTo>
                      <a:pt x="333" y="100"/>
                    </a:lnTo>
                    <a:lnTo>
                      <a:pt x="333" y="97"/>
                    </a:lnTo>
                    <a:lnTo>
                      <a:pt x="331" y="97"/>
                    </a:lnTo>
                    <a:lnTo>
                      <a:pt x="326" y="95"/>
                    </a:lnTo>
                    <a:lnTo>
                      <a:pt x="326" y="93"/>
                    </a:lnTo>
                    <a:lnTo>
                      <a:pt x="326" y="90"/>
                    </a:lnTo>
                    <a:lnTo>
                      <a:pt x="326" y="90"/>
                    </a:lnTo>
                    <a:lnTo>
                      <a:pt x="328" y="90"/>
                    </a:lnTo>
                    <a:lnTo>
                      <a:pt x="333" y="93"/>
                    </a:lnTo>
                    <a:lnTo>
                      <a:pt x="335" y="95"/>
                    </a:lnTo>
                    <a:lnTo>
                      <a:pt x="335" y="93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40" y="90"/>
                    </a:lnTo>
                    <a:lnTo>
                      <a:pt x="342" y="90"/>
                    </a:lnTo>
                    <a:lnTo>
                      <a:pt x="345" y="90"/>
                    </a:lnTo>
                    <a:lnTo>
                      <a:pt x="345" y="88"/>
                    </a:lnTo>
                    <a:lnTo>
                      <a:pt x="345" y="88"/>
                    </a:lnTo>
                    <a:lnTo>
                      <a:pt x="347" y="85"/>
                    </a:lnTo>
                    <a:lnTo>
                      <a:pt x="347" y="81"/>
                    </a:lnTo>
                    <a:lnTo>
                      <a:pt x="347" y="76"/>
                    </a:lnTo>
                    <a:lnTo>
                      <a:pt x="347" y="74"/>
                    </a:lnTo>
                    <a:lnTo>
                      <a:pt x="349" y="71"/>
                    </a:lnTo>
                    <a:lnTo>
                      <a:pt x="349" y="71"/>
                    </a:lnTo>
                    <a:lnTo>
                      <a:pt x="354" y="71"/>
                    </a:lnTo>
                    <a:lnTo>
                      <a:pt x="354" y="71"/>
                    </a:lnTo>
                    <a:lnTo>
                      <a:pt x="357" y="69"/>
                    </a:lnTo>
                    <a:lnTo>
                      <a:pt x="357" y="64"/>
                    </a:lnTo>
                    <a:lnTo>
                      <a:pt x="359" y="59"/>
                    </a:lnTo>
                    <a:lnTo>
                      <a:pt x="359" y="59"/>
                    </a:lnTo>
                    <a:lnTo>
                      <a:pt x="361" y="59"/>
                    </a:lnTo>
                    <a:lnTo>
                      <a:pt x="364" y="64"/>
                    </a:lnTo>
                    <a:lnTo>
                      <a:pt x="364" y="64"/>
                    </a:lnTo>
                    <a:lnTo>
                      <a:pt x="366" y="64"/>
                    </a:lnTo>
                    <a:lnTo>
                      <a:pt x="366" y="64"/>
                    </a:lnTo>
                    <a:lnTo>
                      <a:pt x="366" y="64"/>
                    </a:lnTo>
                    <a:lnTo>
                      <a:pt x="368" y="62"/>
                    </a:lnTo>
                    <a:lnTo>
                      <a:pt x="371" y="62"/>
                    </a:lnTo>
                    <a:lnTo>
                      <a:pt x="375" y="64"/>
                    </a:lnTo>
                    <a:lnTo>
                      <a:pt x="378" y="64"/>
                    </a:lnTo>
                    <a:lnTo>
                      <a:pt x="378" y="62"/>
                    </a:lnTo>
                    <a:lnTo>
                      <a:pt x="375" y="59"/>
                    </a:lnTo>
                    <a:lnTo>
                      <a:pt x="375" y="57"/>
                    </a:lnTo>
                    <a:lnTo>
                      <a:pt x="378" y="55"/>
                    </a:lnTo>
                    <a:lnTo>
                      <a:pt x="378" y="55"/>
                    </a:lnTo>
                    <a:lnTo>
                      <a:pt x="380" y="55"/>
                    </a:lnTo>
                    <a:lnTo>
                      <a:pt x="380" y="59"/>
                    </a:lnTo>
                    <a:lnTo>
                      <a:pt x="383" y="59"/>
                    </a:lnTo>
                    <a:lnTo>
                      <a:pt x="383" y="59"/>
                    </a:lnTo>
                    <a:lnTo>
                      <a:pt x="385" y="59"/>
                    </a:lnTo>
                    <a:lnTo>
                      <a:pt x="385" y="55"/>
                    </a:lnTo>
                    <a:lnTo>
                      <a:pt x="387" y="52"/>
                    </a:lnTo>
                    <a:lnTo>
                      <a:pt x="387" y="50"/>
                    </a:lnTo>
                    <a:lnTo>
                      <a:pt x="390" y="48"/>
                    </a:lnTo>
                    <a:lnTo>
                      <a:pt x="390" y="48"/>
                    </a:lnTo>
                    <a:lnTo>
                      <a:pt x="390" y="50"/>
                    </a:lnTo>
                    <a:lnTo>
                      <a:pt x="392" y="52"/>
                    </a:lnTo>
                    <a:lnTo>
                      <a:pt x="394" y="55"/>
                    </a:lnTo>
                    <a:lnTo>
                      <a:pt x="394" y="55"/>
                    </a:lnTo>
                    <a:lnTo>
                      <a:pt x="397" y="55"/>
                    </a:lnTo>
                    <a:lnTo>
                      <a:pt x="399" y="52"/>
                    </a:lnTo>
                    <a:lnTo>
                      <a:pt x="399" y="52"/>
                    </a:lnTo>
                    <a:lnTo>
                      <a:pt x="401" y="52"/>
                    </a:lnTo>
                    <a:lnTo>
                      <a:pt x="404" y="52"/>
                    </a:lnTo>
                    <a:lnTo>
                      <a:pt x="406" y="50"/>
                    </a:lnTo>
                    <a:lnTo>
                      <a:pt x="406" y="50"/>
                    </a:lnTo>
                    <a:lnTo>
                      <a:pt x="406" y="48"/>
                    </a:lnTo>
                    <a:lnTo>
                      <a:pt x="404" y="45"/>
                    </a:lnTo>
                    <a:lnTo>
                      <a:pt x="404" y="45"/>
                    </a:lnTo>
                    <a:lnTo>
                      <a:pt x="404" y="45"/>
                    </a:lnTo>
                    <a:lnTo>
                      <a:pt x="408" y="45"/>
                    </a:lnTo>
                    <a:lnTo>
                      <a:pt x="408" y="43"/>
                    </a:lnTo>
                    <a:lnTo>
                      <a:pt x="411" y="43"/>
                    </a:lnTo>
                    <a:lnTo>
                      <a:pt x="411" y="43"/>
                    </a:lnTo>
                    <a:lnTo>
                      <a:pt x="413" y="43"/>
                    </a:lnTo>
                    <a:lnTo>
                      <a:pt x="413" y="45"/>
                    </a:lnTo>
                    <a:lnTo>
                      <a:pt x="416" y="48"/>
                    </a:lnTo>
                    <a:lnTo>
                      <a:pt x="418" y="50"/>
                    </a:lnTo>
                    <a:lnTo>
                      <a:pt x="418" y="50"/>
                    </a:lnTo>
                    <a:lnTo>
                      <a:pt x="420" y="50"/>
                    </a:lnTo>
                    <a:lnTo>
                      <a:pt x="420" y="48"/>
                    </a:lnTo>
                    <a:lnTo>
                      <a:pt x="420" y="45"/>
                    </a:lnTo>
                    <a:lnTo>
                      <a:pt x="420" y="43"/>
                    </a:lnTo>
                    <a:lnTo>
                      <a:pt x="420" y="43"/>
                    </a:lnTo>
                    <a:lnTo>
                      <a:pt x="420" y="43"/>
                    </a:lnTo>
                    <a:lnTo>
                      <a:pt x="423" y="43"/>
                    </a:lnTo>
                    <a:lnTo>
                      <a:pt x="423" y="45"/>
                    </a:lnTo>
                    <a:lnTo>
                      <a:pt x="425" y="48"/>
                    </a:lnTo>
                    <a:lnTo>
                      <a:pt x="427" y="48"/>
                    </a:lnTo>
                    <a:lnTo>
                      <a:pt x="430" y="45"/>
                    </a:lnTo>
                    <a:lnTo>
                      <a:pt x="430" y="43"/>
                    </a:lnTo>
                    <a:lnTo>
                      <a:pt x="430" y="41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4" y="41"/>
                    </a:lnTo>
                    <a:lnTo>
                      <a:pt x="437" y="38"/>
                    </a:lnTo>
                    <a:lnTo>
                      <a:pt x="437" y="36"/>
                    </a:lnTo>
                    <a:lnTo>
                      <a:pt x="437" y="33"/>
                    </a:lnTo>
                    <a:lnTo>
                      <a:pt x="437" y="31"/>
                    </a:lnTo>
                    <a:lnTo>
                      <a:pt x="439" y="29"/>
                    </a:lnTo>
                    <a:lnTo>
                      <a:pt x="439" y="26"/>
                    </a:lnTo>
                    <a:lnTo>
                      <a:pt x="439" y="24"/>
                    </a:lnTo>
                    <a:lnTo>
                      <a:pt x="442" y="22"/>
                    </a:lnTo>
                    <a:lnTo>
                      <a:pt x="442" y="22"/>
                    </a:lnTo>
                    <a:lnTo>
                      <a:pt x="442" y="24"/>
                    </a:lnTo>
                    <a:lnTo>
                      <a:pt x="442" y="24"/>
                    </a:lnTo>
                    <a:lnTo>
                      <a:pt x="442" y="26"/>
                    </a:lnTo>
                    <a:lnTo>
                      <a:pt x="444" y="29"/>
                    </a:lnTo>
                    <a:lnTo>
                      <a:pt x="446" y="29"/>
                    </a:lnTo>
                    <a:lnTo>
                      <a:pt x="449" y="29"/>
                    </a:lnTo>
                    <a:lnTo>
                      <a:pt x="449" y="29"/>
                    </a:lnTo>
                    <a:lnTo>
                      <a:pt x="453" y="29"/>
                    </a:lnTo>
                    <a:lnTo>
                      <a:pt x="453" y="26"/>
                    </a:lnTo>
                    <a:lnTo>
                      <a:pt x="456" y="24"/>
                    </a:lnTo>
                    <a:lnTo>
                      <a:pt x="458" y="22"/>
                    </a:lnTo>
                    <a:lnTo>
                      <a:pt x="460" y="19"/>
                    </a:lnTo>
                    <a:lnTo>
                      <a:pt x="460" y="17"/>
                    </a:lnTo>
                    <a:lnTo>
                      <a:pt x="460" y="15"/>
                    </a:lnTo>
                    <a:lnTo>
                      <a:pt x="465" y="15"/>
                    </a:lnTo>
                    <a:lnTo>
                      <a:pt x="465" y="15"/>
                    </a:lnTo>
                    <a:lnTo>
                      <a:pt x="468" y="15"/>
                    </a:lnTo>
                    <a:lnTo>
                      <a:pt x="468" y="12"/>
                    </a:lnTo>
                    <a:lnTo>
                      <a:pt x="468" y="10"/>
                    </a:lnTo>
                    <a:lnTo>
                      <a:pt x="468" y="10"/>
                    </a:lnTo>
                    <a:lnTo>
                      <a:pt x="470" y="10"/>
                    </a:lnTo>
                    <a:lnTo>
                      <a:pt x="472" y="10"/>
                    </a:lnTo>
                    <a:lnTo>
                      <a:pt x="472" y="12"/>
                    </a:lnTo>
                    <a:lnTo>
                      <a:pt x="475" y="12"/>
                    </a:lnTo>
                    <a:lnTo>
                      <a:pt x="477" y="10"/>
                    </a:lnTo>
                    <a:lnTo>
                      <a:pt x="477" y="8"/>
                    </a:lnTo>
                    <a:lnTo>
                      <a:pt x="477" y="5"/>
                    </a:lnTo>
                    <a:lnTo>
                      <a:pt x="482" y="5"/>
                    </a:lnTo>
                    <a:lnTo>
                      <a:pt x="482" y="10"/>
                    </a:lnTo>
                    <a:lnTo>
                      <a:pt x="484" y="12"/>
                    </a:lnTo>
                    <a:lnTo>
                      <a:pt x="484" y="12"/>
                    </a:lnTo>
                    <a:lnTo>
                      <a:pt x="484" y="12"/>
                    </a:lnTo>
                    <a:lnTo>
                      <a:pt x="486" y="12"/>
                    </a:lnTo>
                    <a:lnTo>
                      <a:pt x="486" y="12"/>
                    </a:lnTo>
                    <a:lnTo>
                      <a:pt x="486" y="12"/>
                    </a:lnTo>
                    <a:lnTo>
                      <a:pt x="491" y="8"/>
                    </a:lnTo>
                    <a:lnTo>
                      <a:pt x="494" y="10"/>
                    </a:lnTo>
                    <a:lnTo>
                      <a:pt x="494" y="15"/>
                    </a:lnTo>
                    <a:lnTo>
                      <a:pt x="496" y="15"/>
                    </a:lnTo>
                    <a:lnTo>
                      <a:pt x="498" y="12"/>
                    </a:lnTo>
                    <a:lnTo>
                      <a:pt x="498" y="12"/>
                    </a:lnTo>
                    <a:lnTo>
                      <a:pt x="501" y="12"/>
                    </a:lnTo>
                    <a:lnTo>
                      <a:pt x="501" y="12"/>
                    </a:lnTo>
                    <a:lnTo>
                      <a:pt x="503" y="10"/>
                    </a:lnTo>
                    <a:lnTo>
                      <a:pt x="503" y="10"/>
                    </a:lnTo>
                    <a:lnTo>
                      <a:pt x="505" y="10"/>
                    </a:lnTo>
                    <a:lnTo>
                      <a:pt x="505" y="12"/>
                    </a:lnTo>
                    <a:lnTo>
                      <a:pt x="505" y="12"/>
                    </a:lnTo>
                    <a:lnTo>
                      <a:pt x="508" y="12"/>
                    </a:lnTo>
                    <a:lnTo>
                      <a:pt x="508" y="15"/>
                    </a:lnTo>
                    <a:lnTo>
                      <a:pt x="508" y="17"/>
                    </a:lnTo>
                    <a:lnTo>
                      <a:pt x="508" y="17"/>
                    </a:lnTo>
                    <a:lnTo>
                      <a:pt x="510" y="17"/>
                    </a:lnTo>
                    <a:lnTo>
                      <a:pt x="510" y="15"/>
                    </a:lnTo>
                    <a:lnTo>
                      <a:pt x="512" y="15"/>
                    </a:lnTo>
                    <a:lnTo>
                      <a:pt x="512" y="15"/>
                    </a:lnTo>
                    <a:lnTo>
                      <a:pt x="515" y="15"/>
                    </a:lnTo>
                    <a:lnTo>
                      <a:pt x="517" y="12"/>
                    </a:lnTo>
                    <a:lnTo>
                      <a:pt x="520" y="12"/>
                    </a:lnTo>
                    <a:lnTo>
                      <a:pt x="520" y="12"/>
                    </a:lnTo>
                    <a:lnTo>
                      <a:pt x="522" y="15"/>
                    </a:lnTo>
                    <a:lnTo>
                      <a:pt x="524" y="15"/>
                    </a:lnTo>
                    <a:lnTo>
                      <a:pt x="524" y="15"/>
                    </a:lnTo>
                    <a:lnTo>
                      <a:pt x="527" y="15"/>
                    </a:lnTo>
                    <a:lnTo>
                      <a:pt x="527" y="15"/>
                    </a:lnTo>
                    <a:lnTo>
                      <a:pt x="527" y="12"/>
                    </a:lnTo>
                    <a:lnTo>
                      <a:pt x="527" y="12"/>
                    </a:lnTo>
                    <a:lnTo>
                      <a:pt x="524" y="10"/>
                    </a:lnTo>
                    <a:lnTo>
                      <a:pt x="524" y="10"/>
                    </a:lnTo>
                    <a:lnTo>
                      <a:pt x="524" y="8"/>
                    </a:lnTo>
                    <a:lnTo>
                      <a:pt x="524" y="8"/>
                    </a:lnTo>
                    <a:lnTo>
                      <a:pt x="527" y="8"/>
                    </a:lnTo>
                    <a:lnTo>
                      <a:pt x="527" y="8"/>
                    </a:lnTo>
                    <a:lnTo>
                      <a:pt x="529" y="8"/>
                    </a:lnTo>
                    <a:lnTo>
                      <a:pt x="529" y="8"/>
                    </a:lnTo>
                    <a:lnTo>
                      <a:pt x="531" y="10"/>
                    </a:lnTo>
                    <a:lnTo>
                      <a:pt x="538" y="8"/>
                    </a:lnTo>
                    <a:lnTo>
                      <a:pt x="538" y="5"/>
                    </a:lnTo>
                    <a:lnTo>
                      <a:pt x="538" y="3"/>
                    </a:lnTo>
                    <a:lnTo>
                      <a:pt x="541" y="3"/>
                    </a:lnTo>
                    <a:lnTo>
                      <a:pt x="541" y="3"/>
                    </a:lnTo>
                    <a:lnTo>
                      <a:pt x="543" y="0"/>
                    </a:lnTo>
                    <a:lnTo>
                      <a:pt x="543" y="3"/>
                    </a:lnTo>
                    <a:lnTo>
                      <a:pt x="543" y="3"/>
                    </a:lnTo>
                    <a:lnTo>
                      <a:pt x="546" y="5"/>
                    </a:lnTo>
                    <a:lnTo>
                      <a:pt x="546" y="5"/>
                    </a:lnTo>
                    <a:lnTo>
                      <a:pt x="548" y="5"/>
                    </a:lnTo>
                    <a:lnTo>
                      <a:pt x="548" y="5"/>
                    </a:lnTo>
                    <a:lnTo>
                      <a:pt x="550" y="5"/>
                    </a:lnTo>
                    <a:lnTo>
                      <a:pt x="550" y="5"/>
                    </a:lnTo>
                    <a:lnTo>
                      <a:pt x="550" y="5"/>
                    </a:lnTo>
                    <a:lnTo>
                      <a:pt x="553" y="5"/>
                    </a:lnTo>
                    <a:lnTo>
                      <a:pt x="553" y="8"/>
                    </a:lnTo>
                    <a:lnTo>
                      <a:pt x="553" y="8"/>
                    </a:lnTo>
                    <a:lnTo>
                      <a:pt x="553" y="8"/>
                    </a:lnTo>
                    <a:lnTo>
                      <a:pt x="550" y="10"/>
                    </a:lnTo>
                    <a:lnTo>
                      <a:pt x="548" y="15"/>
                    </a:lnTo>
                    <a:lnTo>
                      <a:pt x="548" y="15"/>
                    </a:lnTo>
                    <a:lnTo>
                      <a:pt x="548" y="17"/>
                    </a:lnTo>
                    <a:lnTo>
                      <a:pt x="548" y="17"/>
                    </a:lnTo>
                    <a:lnTo>
                      <a:pt x="550" y="17"/>
                    </a:lnTo>
                    <a:lnTo>
                      <a:pt x="550" y="17"/>
                    </a:lnTo>
                    <a:lnTo>
                      <a:pt x="553" y="15"/>
                    </a:lnTo>
                    <a:lnTo>
                      <a:pt x="557" y="12"/>
                    </a:lnTo>
                    <a:lnTo>
                      <a:pt x="560" y="12"/>
                    </a:lnTo>
                    <a:lnTo>
                      <a:pt x="560" y="12"/>
                    </a:lnTo>
                    <a:lnTo>
                      <a:pt x="564" y="15"/>
                    </a:lnTo>
                    <a:lnTo>
                      <a:pt x="567" y="15"/>
                    </a:lnTo>
                    <a:lnTo>
                      <a:pt x="567" y="12"/>
                    </a:lnTo>
                    <a:lnTo>
                      <a:pt x="567" y="8"/>
                    </a:lnTo>
                    <a:lnTo>
                      <a:pt x="567" y="8"/>
                    </a:lnTo>
                    <a:lnTo>
                      <a:pt x="569" y="8"/>
                    </a:lnTo>
                    <a:lnTo>
                      <a:pt x="569" y="8"/>
                    </a:lnTo>
                    <a:lnTo>
                      <a:pt x="569" y="8"/>
                    </a:lnTo>
                    <a:lnTo>
                      <a:pt x="571" y="12"/>
                    </a:lnTo>
                    <a:lnTo>
                      <a:pt x="571" y="12"/>
                    </a:lnTo>
                    <a:lnTo>
                      <a:pt x="574" y="12"/>
                    </a:lnTo>
                    <a:lnTo>
                      <a:pt x="576" y="12"/>
                    </a:lnTo>
                    <a:lnTo>
                      <a:pt x="581" y="10"/>
                    </a:lnTo>
                    <a:lnTo>
                      <a:pt x="581" y="8"/>
                    </a:lnTo>
                    <a:lnTo>
                      <a:pt x="581" y="8"/>
                    </a:lnTo>
                    <a:lnTo>
                      <a:pt x="579" y="5"/>
                    </a:lnTo>
                    <a:lnTo>
                      <a:pt x="579" y="3"/>
                    </a:lnTo>
                    <a:lnTo>
                      <a:pt x="579" y="3"/>
                    </a:lnTo>
                    <a:lnTo>
                      <a:pt x="583" y="0"/>
                    </a:lnTo>
                    <a:lnTo>
                      <a:pt x="583" y="0"/>
                    </a:lnTo>
                    <a:lnTo>
                      <a:pt x="586" y="0"/>
                    </a:lnTo>
                    <a:lnTo>
                      <a:pt x="586" y="0"/>
                    </a:lnTo>
                    <a:lnTo>
                      <a:pt x="588" y="0"/>
                    </a:lnTo>
                    <a:lnTo>
                      <a:pt x="586" y="3"/>
                    </a:lnTo>
                    <a:lnTo>
                      <a:pt x="583" y="5"/>
                    </a:lnTo>
                    <a:lnTo>
                      <a:pt x="583" y="8"/>
                    </a:lnTo>
                    <a:lnTo>
                      <a:pt x="586" y="10"/>
                    </a:lnTo>
                    <a:lnTo>
                      <a:pt x="586" y="10"/>
                    </a:lnTo>
                    <a:lnTo>
                      <a:pt x="588" y="8"/>
                    </a:lnTo>
                    <a:lnTo>
                      <a:pt x="590" y="8"/>
                    </a:lnTo>
                    <a:lnTo>
                      <a:pt x="590" y="8"/>
                    </a:lnTo>
                    <a:lnTo>
                      <a:pt x="593" y="8"/>
                    </a:lnTo>
                    <a:lnTo>
                      <a:pt x="593" y="10"/>
                    </a:lnTo>
                    <a:lnTo>
                      <a:pt x="590" y="12"/>
                    </a:lnTo>
                    <a:lnTo>
                      <a:pt x="588" y="15"/>
                    </a:lnTo>
                    <a:lnTo>
                      <a:pt x="588" y="17"/>
                    </a:lnTo>
                    <a:lnTo>
                      <a:pt x="590" y="17"/>
                    </a:lnTo>
                    <a:lnTo>
                      <a:pt x="590" y="17"/>
                    </a:lnTo>
                    <a:lnTo>
                      <a:pt x="593" y="17"/>
                    </a:lnTo>
                    <a:lnTo>
                      <a:pt x="593" y="17"/>
                    </a:lnTo>
                    <a:lnTo>
                      <a:pt x="593" y="12"/>
                    </a:lnTo>
                    <a:lnTo>
                      <a:pt x="595" y="10"/>
                    </a:lnTo>
                    <a:lnTo>
                      <a:pt x="595" y="10"/>
                    </a:lnTo>
                    <a:lnTo>
                      <a:pt x="597" y="12"/>
                    </a:lnTo>
                    <a:lnTo>
                      <a:pt x="597" y="15"/>
                    </a:lnTo>
                    <a:lnTo>
                      <a:pt x="597" y="15"/>
                    </a:lnTo>
                    <a:lnTo>
                      <a:pt x="600" y="15"/>
                    </a:lnTo>
                    <a:lnTo>
                      <a:pt x="602" y="15"/>
                    </a:lnTo>
                    <a:lnTo>
                      <a:pt x="605" y="15"/>
                    </a:lnTo>
                    <a:lnTo>
                      <a:pt x="605" y="12"/>
                    </a:lnTo>
                    <a:lnTo>
                      <a:pt x="607" y="12"/>
                    </a:lnTo>
                    <a:lnTo>
                      <a:pt x="607" y="12"/>
                    </a:lnTo>
                    <a:lnTo>
                      <a:pt x="609" y="12"/>
                    </a:lnTo>
                    <a:lnTo>
                      <a:pt x="609" y="15"/>
                    </a:lnTo>
                    <a:lnTo>
                      <a:pt x="609" y="17"/>
                    </a:lnTo>
                    <a:lnTo>
                      <a:pt x="609" y="17"/>
                    </a:lnTo>
                    <a:lnTo>
                      <a:pt x="612" y="17"/>
                    </a:lnTo>
                    <a:lnTo>
                      <a:pt x="612" y="15"/>
                    </a:lnTo>
                    <a:lnTo>
                      <a:pt x="614" y="15"/>
                    </a:lnTo>
                    <a:lnTo>
                      <a:pt x="614" y="15"/>
                    </a:lnTo>
                    <a:lnTo>
                      <a:pt x="616" y="15"/>
                    </a:lnTo>
                    <a:lnTo>
                      <a:pt x="616" y="17"/>
                    </a:lnTo>
                    <a:lnTo>
                      <a:pt x="619" y="17"/>
                    </a:lnTo>
                    <a:lnTo>
                      <a:pt x="619" y="17"/>
                    </a:lnTo>
                    <a:lnTo>
                      <a:pt x="619" y="17"/>
                    </a:lnTo>
                    <a:lnTo>
                      <a:pt x="621" y="17"/>
                    </a:lnTo>
                    <a:lnTo>
                      <a:pt x="621" y="17"/>
                    </a:lnTo>
                    <a:lnTo>
                      <a:pt x="619" y="22"/>
                    </a:lnTo>
                    <a:lnTo>
                      <a:pt x="619" y="22"/>
                    </a:lnTo>
                    <a:lnTo>
                      <a:pt x="621" y="22"/>
                    </a:lnTo>
                    <a:lnTo>
                      <a:pt x="621" y="24"/>
                    </a:lnTo>
                    <a:lnTo>
                      <a:pt x="621" y="22"/>
                    </a:lnTo>
                    <a:lnTo>
                      <a:pt x="623" y="22"/>
                    </a:lnTo>
                    <a:lnTo>
                      <a:pt x="623" y="19"/>
                    </a:lnTo>
                    <a:lnTo>
                      <a:pt x="626" y="19"/>
                    </a:lnTo>
                    <a:lnTo>
                      <a:pt x="626" y="22"/>
                    </a:lnTo>
                    <a:lnTo>
                      <a:pt x="626" y="24"/>
                    </a:lnTo>
                    <a:lnTo>
                      <a:pt x="626" y="24"/>
                    </a:lnTo>
                    <a:lnTo>
                      <a:pt x="628" y="26"/>
                    </a:lnTo>
                    <a:lnTo>
                      <a:pt x="628" y="26"/>
                    </a:lnTo>
                    <a:lnTo>
                      <a:pt x="631" y="24"/>
                    </a:lnTo>
                    <a:lnTo>
                      <a:pt x="631" y="22"/>
                    </a:lnTo>
                    <a:lnTo>
                      <a:pt x="631" y="22"/>
                    </a:lnTo>
                    <a:lnTo>
                      <a:pt x="633" y="22"/>
                    </a:lnTo>
                    <a:lnTo>
                      <a:pt x="633" y="22"/>
                    </a:lnTo>
                    <a:lnTo>
                      <a:pt x="635" y="24"/>
                    </a:lnTo>
                    <a:lnTo>
                      <a:pt x="635" y="24"/>
                    </a:lnTo>
                    <a:lnTo>
                      <a:pt x="638" y="24"/>
                    </a:lnTo>
                    <a:lnTo>
                      <a:pt x="638" y="24"/>
                    </a:lnTo>
                    <a:lnTo>
                      <a:pt x="640" y="22"/>
                    </a:lnTo>
                    <a:lnTo>
                      <a:pt x="642" y="22"/>
                    </a:lnTo>
                    <a:lnTo>
                      <a:pt x="645" y="22"/>
                    </a:lnTo>
                    <a:lnTo>
                      <a:pt x="645" y="22"/>
                    </a:lnTo>
                    <a:lnTo>
                      <a:pt x="647" y="22"/>
                    </a:lnTo>
                    <a:lnTo>
                      <a:pt x="649" y="24"/>
                    </a:lnTo>
                    <a:lnTo>
                      <a:pt x="652" y="24"/>
                    </a:lnTo>
                    <a:lnTo>
                      <a:pt x="657" y="24"/>
                    </a:lnTo>
                    <a:lnTo>
                      <a:pt x="657" y="24"/>
                    </a:lnTo>
                    <a:lnTo>
                      <a:pt x="657" y="22"/>
                    </a:lnTo>
                    <a:lnTo>
                      <a:pt x="657" y="22"/>
                    </a:lnTo>
                    <a:lnTo>
                      <a:pt x="657" y="19"/>
                    </a:lnTo>
                    <a:lnTo>
                      <a:pt x="659" y="17"/>
                    </a:lnTo>
                    <a:lnTo>
                      <a:pt x="661" y="17"/>
                    </a:lnTo>
                    <a:lnTo>
                      <a:pt x="661" y="17"/>
                    </a:lnTo>
                    <a:lnTo>
                      <a:pt x="661" y="17"/>
                    </a:lnTo>
                    <a:lnTo>
                      <a:pt x="661" y="22"/>
                    </a:lnTo>
                    <a:lnTo>
                      <a:pt x="661" y="22"/>
                    </a:lnTo>
                    <a:lnTo>
                      <a:pt x="661" y="24"/>
                    </a:lnTo>
                    <a:lnTo>
                      <a:pt x="664" y="26"/>
                    </a:lnTo>
                    <a:lnTo>
                      <a:pt x="664" y="26"/>
                    </a:lnTo>
                    <a:lnTo>
                      <a:pt x="666" y="26"/>
                    </a:lnTo>
                    <a:lnTo>
                      <a:pt x="666" y="26"/>
                    </a:lnTo>
                    <a:lnTo>
                      <a:pt x="666" y="26"/>
                    </a:lnTo>
                    <a:lnTo>
                      <a:pt x="666" y="24"/>
                    </a:lnTo>
                    <a:lnTo>
                      <a:pt x="666" y="22"/>
                    </a:lnTo>
                    <a:lnTo>
                      <a:pt x="666" y="22"/>
                    </a:lnTo>
                    <a:lnTo>
                      <a:pt x="668" y="22"/>
                    </a:lnTo>
                    <a:lnTo>
                      <a:pt x="668" y="24"/>
                    </a:lnTo>
                    <a:lnTo>
                      <a:pt x="668" y="24"/>
                    </a:lnTo>
                    <a:lnTo>
                      <a:pt x="668" y="26"/>
                    </a:lnTo>
                    <a:lnTo>
                      <a:pt x="668" y="29"/>
                    </a:lnTo>
                    <a:lnTo>
                      <a:pt x="671" y="29"/>
                    </a:lnTo>
                    <a:lnTo>
                      <a:pt x="671" y="26"/>
                    </a:lnTo>
                    <a:lnTo>
                      <a:pt x="673" y="26"/>
                    </a:lnTo>
                    <a:lnTo>
                      <a:pt x="675" y="29"/>
                    </a:lnTo>
                    <a:lnTo>
                      <a:pt x="675" y="29"/>
                    </a:lnTo>
                    <a:lnTo>
                      <a:pt x="678" y="31"/>
                    </a:lnTo>
                    <a:lnTo>
                      <a:pt x="678" y="31"/>
                    </a:lnTo>
                    <a:lnTo>
                      <a:pt x="678" y="31"/>
                    </a:lnTo>
                    <a:lnTo>
                      <a:pt x="680" y="29"/>
                    </a:lnTo>
                    <a:lnTo>
                      <a:pt x="678" y="26"/>
                    </a:lnTo>
                    <a:lnTo>
                      <a:pt x="678" y="26"/>
                    </a:lnTo>
                    <a:lnTo>
                      <a:pt x="678" y="24"/>
                    </a:lnTo>
                    <a:lnTo>
                      <a:pt x="678" y="24"/>
                    </a:lnTo>
                    <a:lnTo>
                      <a:pt x="678" y="24"/>
                    </a:lnTo>
                    <a:lnTo>
                      <a:pt x="680" y="24"/>
                    </a:lnTo>
                    <a:lnTo>
                      <a:pt x="683" y="24"/>
                    </a:lnTo>
                    <a:lnTo>
                      <a:pt x="685" y="22"/>
                    </a:lnTo>
                    <a:lnTo>
                      <a:pt x="687" y="24"/>
                    </a:lnTo>
                    <a:lnTo>
                      <a:pt x="685" y="24"/>
                    </a:lnTo>
                    <a:lnTo>
                      <a:pt x="683" y="26"/>
                    </a:lnTo>
                    <a:lnTo>
                      <a:pt x="680" y="26"/>
                    </a:lnTo>
                    <a:lnTo>
                      <a:pt x="680" y="29"/>
                    </a:lnTo>
                    <a:lnTo>
                      <a:pt x="685" y="29"/>
                    </a:lnTo>
                    <a:lnTo>
                      <a:pt x="685" y="29"/>
                    </a:lnTo>
                    <a:lnTo>
                      <a:pt x="687" y="31"/>
                    </a:lnTo>
                    <a:lnTo>
                      <a:pt x="687" y="31"/>
                    </a:lnTo>
                    <a:lnTo>
                      <a:pt x="687" y="33"/>
                    </a:lnTo>
                    <a:lnTo>
                      <a:pt x="690" y="33"/>
                    </a:lnTo>
                    <a:lnTo>
                      <a:pt x="690" y="31"/>
                    </a:lnTo>
                    <a:lnTo>
                      <a:pt x="690" y="31"/>
                    </a:lnTo>
                    <a:lnTo>
                      <a:pt x="692" y="26"/>
                    </a:lnTo>
                    <a:lnTo>
                      <a:pt x="694" y="26"/>
                    </a:lnTo>
                    <a:lnTo>
                      <a:pt x="694" y="24"/>
                    </a:lnTo>
                    <a:lnTo>
                      <a:pt x="694" y="24"/>
                    </a:lnTo>
                    <a:lnTo>
                      <a:pt x="697" y="26"/>
                    </a:lnTo>
                    <a:lnTo>
                      <a:pt x="694" y="31"/>
                    </a:lnTo>
                    <a:lnTo>
                      <a:pt x="697" y="31"/>
                    </a:lnTo>
                    <a:lnTo>
                      <a:pt x="697" y="31"/>
                    </a:lnTo>
                    <a:lnTo>
                      <a:pt x="699" y="29"/>
                    </a:lnTo>
                    <a:lnTo>
                      <a:pt x="699" y="29"/>
                    </a:lnTo>
                    <a:lnTo>
                      <a:pt x="701" y="29"/>
                    </a:lnTo>
                    <a:lnTo>
                      <a:pt x="704" y="29"/>
                    </a:lnTo>
                    <a:lnTo>
                      <a:pt x="704" y="31"/>
                    </a:lnTo>
                    <a:lnTo>
                      <a:pt x="704" y="31"/>
                    </a:lnTo>
                    <a:lnTo>
                      <a:pt x="704" y="33"/>
                    </a:lnTo>
                    <a:lnTo>
                      <a:pt x="704" y="33"/>
                    </a:lnTo>
                    <a:lnTo>
                      <a:pt x="706" y="33"/>
                    </a:lnTo>
                    <a:lnTo>
                      <a:pt x="706" y="33"/>
                    </a:lnTo>
                    <a:lnTo>
                      <a:pt x="709" y="33"/>
                    </a:lnTo>
                    <a:lnTo>
                      <a:pt x="711" y="33"/>
                    </a:lnTo>
                    <a:lnTo>
                      <a:pt x="711" y="33"/>
                    </a:lnTo>
                    <a:lnTo>
                      <a:pt x="713" y="33"/>
                    </a:lnTo>
                    <a:lnTo>
                      <a:pt x="716" y="33"/>
                    </a:lnTo>
                    <a:lnTo>
                      <a:pt x="716" y="33"/>
                    </a:lnTo>
                    <a:lnTo>
                      <a:pt x="713" y="36"/>
                    </a:lnTo>
                    <a:lnTo>
                      <a:pt x="713" y="36"/>
                    </a:lnTo>
                    <a:lnTo>
                      <a:pt x="713" y="36"/>
                    </a:lnTo>
                    <a:lnTo>
                      <a:pt x="716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20" y="38"/>
                    </a:lnTo>
                    <a:lnTo>
                      <a:pt x="723" y="38"/>
                    </a:lnTo>
                    <a:lnTo>
                      <a:pt x="723" y="41"/>
                    </a:lnTo>
                    <a:lnTo>
                      <a:pt x="723" y="41"/>
                    </a:lnTo>
                    <a:lnTo>
                      <a:pt x="718" y="41"/>
                    </a:lnTo>
                    <a:lnTo>
                      <a:pt x="716" y="41"/>
                    </a:lnTo>
                    <a:lnTo>
                      <a:pt x="716" y="41"/>
                    </a:lnTo>
                    <a:lnTo>
                      <a:pt x="716" y="41"/>
                    </a:lnTo>
                    <a:lnTo>
                      <a:pt x="716" y="43"/>
                    </a:lnTo>
                    <a:lnTo>
                      <a:pt x="718" y="43"/>
                    </a:lnTo>
                    <a:lnTo>
                      <a:pt x="718" y="43"/>
                    </a:lnTo>
                    <a:lnTo>
                      <a:pt x="723" y="43"/>
                    </a:lnTo>
                    <a:lnTo>
                      <a:pt x="725" y="45"/>
                    </a:lnTo>
                    <a:lnTo>
                      <a:pt x="725" y="45"/>
                    </a:lnTo>
                    <a:lnTo>
                      <a:pt x="725" y="48"/>
                    </a:lnTo>
                    <a:lnTo>
                      <a:pt x="720" y="50"/>
                    </a:lnTo>
                    <a:lnTo>
                      <a:pt x="723" y="50"/>
                    </a:lnTo>
                    <a:lnTo>
                      <a:pt x="723" y="50"/>
                    </a:lnTo>
                    <a:lnTo>
                      <a:pt x="725" y="50"/>
                    </a:lnTo>
                    <a:lnTo>
                      <a:pt x="727" y="50"/>
                    </a:lnTo>
                    <a:lnTo>
                      <a:pt x="727" y="50"/>
                    </a:lnTo>
                    <a:lnTo>
                      <a:pt x="730" y="50"/>
                    </a:lnTo>
                    <a:lnTo>
                      <a:pt x="730" y="55"/>
                    </a:lnTo>
                    <a:lnTo>
                      <a:pt x="730" y="57"/>
                    </a:lnTo>
                    <a:lnTo>
                      <a:pt x="732" y="57"/>
                    </a:lnTo>
                    <a:lnTo>
                      <a:pt x="732" y="55"/>
                    </a:lnTo>
                    <a:lnTo>
                      <a:pt x="732" y="52"/>
                    </a:lnTo>
                    <a:lnTo>
                      <a:pt x="732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7" y="52"/>
                    </a:lnTo>
                    <a:lnTo>
                      <a:pt x="737" y="52"/>
                    </a:lnTo>
                    <a:lnTo>
                      <a:pt x="734" y="57"/>
                    </a:lnTo>
                    <a:lnTo>
                      <a:pt x="734" y="57"/>
                    </a:lnTo>
                    <a:lnTo>
                      <a:pt x="737" y="57"/>
                    </a:lnTo>
                    <a:lnTo>
                      <a:pt x="739" y="55"/>
                    </a:lnTo>
                    <a:lnTo>
                      <a:pt x="742" y="59"/>
                    </a:lnTo>
                    <a:lnTo>
                      <a:pt x="742" y="59"/>
                    </a:lnTo>
                    <a:lnTo>
                      <a:pt x="744" y="59"/>
                    </a:lnTo>
                    <a:lnTo>
                      <a:pt x="744" y="57"/>
                    </a:lnTo>
                    <a:lnTo>
                      <a:pt x="744" y="57"/>
                    </a:lnTo>
                    <a:lnTo>
                      <a:pt x="742" y="55"/>
                    </a:lnTo>
                    <a:lnTo>
                      <a:pt x="742" y="52"/>
                    </a:lnTo>
                    <a:lnTo>
                      <a:pt x="744" y="52"/>
                    </a:lnTo>
                    <a:lnTo>
                      <a:pt x="749" y="52"/>
                    </a:lnTo>
                    <a:lnTo>
                      <a:pt x="749" y="52"/>
                    </a:lnTo>
                    <a:lnTo>
                      <a:pt x="749" y="55"/>
                    </a:lnTo>
                    <a:lnTo>
                      <a:pt x="751" y="55"/>
                    </a:lnTo>
                    <a:lnTo>
                      <a:pt x="751" y="55"/>
                    </a:lnTo>
                    <a:lnTo>
                      <a:pt x="753" y="55"/>
                    </a:lnTo>
                    <a:lnTo>
                      <a:pt x="753" y="52"/>
                    </a:lnTo>
                    <a:lnTo>
                      <a:pt x="753" y="52"/>
                    </a:lnTo>
                    <a:lnTo>
                      <a:pt x="756" y="52"/>
                    </a:lnTo>
                    <a:lnTo>
                      <a:pt x="758" y="52"/>
                    </a:lnTo>
                    <a:lnTo>
                      <a:pt x="758" y="52"/>
                    </a:lnTo>
                    <a:lnTo>
                      <a:pt x="758" y="55"/>
                    </a:lnTo>
                    <a:lnTo>
                      <a:pt x="758" y="57"/>
                    </a:lnTo>
                    <a:lnTo>
                      <a:pt x="758" y="57"/>
                    </a:lnTo>
                    <a:lnTo>
                      <a:pt x="760" y="57"/>
                    </a:lnTo>
                    <a:lnTo>
                      <a:pt x="760" y="57"/>
                    </a:lnTo>
                    <a:lnTo>
                      <a:pt x="760" y="55"/>
                    </a:lnTo>
                    <a:lnTo>
                      <a:pt x="760" y="52"/>
                    </a:lnTo>
                    <a:lnTo>
                      <a:pt x="763" y="52"/>
                    </a:lnTo>
                    <a:lnTo>
                      <a:pt x="763" y="52"/>
                    </a:lnTo>
                    <a:lnTo>
                      <a:pt x="763" y="55"/>
                    </a:lnTo>
                    <a:lnTo>
                      <a:pt x="765" y="55"/>
                    </a:lnTo>
                    <a:lnTo>
                      <a:pt x="763" y="59"/>
                    </a:lnTo>
                    <a:lnTo>
                      <a:pt x="763" y="59"/>
                    </a:lnTo>
                    <a:lnTo>
                      <a:pt x="765" y="59"/>
                    </a:lnTo>
                    <a:lnTo>
                      <a:pt x="768" y="57"/>
                    </a:lnTo>
                    <a:lnTo>
                      <a:pt x="770" y="57"/>
                    </a:lnTo>
                    <a:lnTo>
                      <a:pt x="770" y="57"/>
                    </a:lnTo>
                    <a:lnTo>
                      <a:pt x="770" y="59"/>
                    </a:lnTo>
                    <a:lnTo>
                      <a:pt x="770" y="59"/>
                    </a:lnTo>
                    <a:lnTo>
                      <a:pt x="770" y="62"/>
                    </a:lnTo>
                    <a:lnTo>
                      <a:pt x="770" y="64"/>
                    </a:lnTo>
                    <a:lnTo>
                      <a:pt x="770" y="64"/>
                    </a:lnTo>
                    <a:lnTo>
                      <a:pt x="772" y="64"/>
                    </a:lnTo>
                    <a:lnTo>
                      <a:pt x="772" y="64"/>
                    </a:lnTo>
                    <a:lnTo>
                      <a:pt x="772" y="62"/>
                    </a:lnTo>
                    <a:lnTo>
                      <a:pt x="772" y="62"/>
                    </a:lnTo>
                    <a:lnTo>
                      <a:pt x="772" y="62"/>
                    </a:lnTo>
                    <a:lnTo>
                      <a:pt x="775" y="62"/>
                    </a:lnTo>
                    <a:lnTo>
                      <a:pt x="779" y="62"/>
                    </a:lnTo>
                    <a:lnTo>
                      <a:pt x="782" y="62"/>
                    </a:lnTo>
                    <a:lnTo>
                      <a:pt x="782" y="64"/>
                    </a:lnTo>
                    <a:lnTo>
                      <a:pt x="782" y="64"/>
                    </a:lnTo>
                    <a:lnTo>
                      <a:pt x="782" y="67"/>
                    </a:lnTo>
                    <a:lnTo>
                      <a:pt x="784" y="69"/>
                    </a:lnTo>
                    <a:lnTo>
                      <a:pt x="784" y="69"/>
                    </a:lnTo>
                    <a:lnTo>
                      <a:pt x="786" y="69"/>
                    </a:lnTo>
                    <a:lnTo>
                      <a:pt x="786" y="69"/>
                    </a:lnTo>
                    <a:lnTo>
                      <a:pt x="789" y="71"/>
                    </a:lnTo>
                    <a:lnTo>
                      <a:pt x="789" y="74"/>
                    </a:lnTo>
                    <a:lnTo>
                      <a:pt x="789" y="76"/>
                    </a:lnTo>
                    <a:lnTo>
                      <a:pt x="789" y="76"/>
                    </a:lnTo>
                    <a:lnTo>
                      <a:pt x="791" y="74"/>
                    </a:lnTo>
                    <a:lnTo>
                      <a:pt x="791" y="71"/>
                    </a:lnTo>
                    <a:lnTo>
                      <a:pt x="791" y="71"/>
                    </a:lnTo>
                    <a:lnTo>
                      <a:pt x="794" y="71"/>
                    </a:lnTo>
                    <a:lnTo>
                      <a:pt x="796" y="71"/>
                    </a:lnTo>
                    <a:lnTo>
                      <a:pt x="796" y="71"/>
                    </a:lnTo>
                    <a:lnTo>
                      <a:pt x="796" y="76"/>
                    </a:lnTo>
                    <a:lnTo>
                      <a:pt x="796" y="76"/>
                    </a:lnTo>
                    <a:lnTo>
                      <a:pt x="798" y="78"/>
                    </a:lnTo>
                    <a:lnTo>
                      <a:pt x="801" y="76"/>
                    </a:lnTo>
                    <a:lnTo>
                      <a:pt x="803" y="78"/>
                    </a:lnTo>
                    <a:lnTo>
                      <a:pt x="803" y="78"/>
                    </a:lnTo>
                    <a:lnTo>
                      <a:pt x="803" y="78"/>
                    </a:lnTo>
                    <a:lnTo>
                      <a:pt x="803" y="81"/>
                    </a:lnTo>
                    <a:lnTo>
                      <a:pt x="805" y="81"/>
                    </a:lnTo>
                    <a:lnTo>
                      <a:pt x="803" y="81"/>
                    </a:lnTo>
                    <a:lnTo>
                      <a:pt x="803" y="83"/>
                    </a:lnTo>
                    <a:lnTo>
                      <a:pt x="805" y="85"/>
                    </a:lnTo>
                    <a:lnTo>
                      <a:pt x="808" y="83"/>
                    </a:lnTo>
                    <a:lnTo>
                      <a:pt x="808" y="85"/>
                    </a:lnTo>
                    <a:lnTo>
                      <a:pt x="808" y="88"/>
                    </a:lnTo>
                    <a:lnTo>
                      <a:pt x="812" y="88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5" y="90"/>
                    </a:lnTo>
                    <a:lnTo>
                      <a:pt x="815" y="90"/>
                    </a:lnTo>
                    <a:lnTo>
                      <a:pt x="817" y="90"/>
                    </a:lnTo>
                    <a:lnTo>
                      <a:pt x="820" y="90"/>
                    </a:lnTo>
                    <a:lnTo>
                      <a:pt x="822" y="93"/>
                    </a:lnTo>
                    <a:lnTo>
                      <a:pt x="824" y="95"/>
                    </a:lnTo>
                    <a:lnTo>
                      <a:pt x="827" y="95"/>
                    </a:lnTo>
                    <a:lnTo>
                      <a:pt x="827" y="95"/>
                    </a:lnTo>
                    <a:lnTo>
                      <a:pt x="827" y="97"/>
                    </a:lnTo>
                    <a:lnTo>
                      <a:pt x="827" y="97"/>
                    </a:lnTo>
                    <a:lnTo>
                      <a:pt x="827" y="97"/>
                    </a:lnTo>
                    <a:lnTo>
                      <a:pt x="831" y="97"/>
                    </a:lnTo>
                    <a:lnTo>
                      <a:pt x="831" y="97"/>
                    </a:lnTo>
                    <a:lnTo>
                      <a:pt x="834" y="97"/>
                    </a:lnTo>
                    <a:lnTo>
                      <a:pt x="834" y="100"/>
                    </a:lnTo>
                    <a:lnTo>
                      <a:pt x="834" y="102"/>
                    </a:lnTo>
                    <a:lnTo>
                      <a:pt x="834" y="102"/>
                    </a:lnTo>
                    <a:lnTo>
                      <a:pt x="836" y="102"/>
                    </a:lnTo>
                    <a:lnTo>
                      <a:pt x="836" y="104"/>
                    </a:lnTo>
                    <a:lnTo>
                      <a:pt x="836" y="104"/>
                    </a:lnTo>
                    <a:lnTo>
                      <a:pt x="836" y="107"/>
                    </a:lnTo>
                    <a:lnTo>
                      <a:pt x="838" y="109"/>
                    </a:lnTo>
                    <a:lnTo>
                      <a:pt x="841" y="109"/>
                    </a:lnTo>
                    <a:lnTo>
                      <a:pt x="841" y="114"/>
                    </a:lnTo>
                    <a:lnTo>
                      <a:pt x="841" y="114"/>
                    </a:lnTo>
                    <a:lnTo>
                      <a:pt x="841" y="114"/>
                    </a:lnTo>
                    <a:lnTo>
                      <a:pt x="841" y="116"/>
                    </a:lnTo>
                    <a:lnTo>
                      <a:pt x="843" y="116"/>
                    </a:lnTo>
                    <a:lnTo>
                      <a:pt x="843" y="114"/>
                    </a:lnTo>
                    <a:lnTo>
                      <a:pt x="846" y="111"/>
                    </a:lnTo>
                    <a:lnTo>
                      <a:pt x="846" y="114"/>
                    </a:lnTo>
                    <a:lnTo>
                      <a:pt x="846" y="114"/>
                    </a:lnTo>
                    <a:lnTo>
                      <a:pt x="850" y="116"/>
                    </a:lnTo>
                    <a:lnTo>
                      <a:pt x="853" y="116"/>
                    </a:lnTo>
                    <a:lnTo>
                      <a:pt x="853" y="116"/>
                    </a:lnTo>
                    <a:lnTo>
                      <a:pt x="853" y="119"/>
                    </a:lnTo>
                    <a:lnTo>
                      <a:pt x="853" y="121"/>
                    </a:lnTo>
                    <a:lnTo>
                      <a:pt x="853" y="121"/>
                    </a:lnTo>
                    <a:lnTo>
                      <a:pt x="857" y="123"/>
                    </a:lnTo>
                    <a:lnTo>
                      <a:pt x="860" y="123"/>
                    </a:lnTo>
                    <a:lnTo>
                      <a:pt x="860" y="126"/>
                    </a:lnTo>
                    <a:lnTo>
                      <a:pt x="860" y="126"/>
                    </a:lnTo>
                    <a:lnTo>
                      <a:pt x="860" y="128"/>
                    </a:lnTo>
                    <a:lnTo>
                      <a:pt x="857" y="128"/>
                    </a:lnTo>
                    <a:lnTo>
                      <a:pt x="855" y="130"/>
                    </a:lnTo>
                    <a:lnTo>
                      <a:pt x="855" y="130"/>
                    </a:lnTo>
                    <a:lnTo>
                      <a:pt x="857" y="133"/>
                    </a:lnTo>
                    <a:lnTo>
                      <a:pt x="860" y="133"/>
                    </a:lnTo>
                    <a:lnTo>
                      <a:pt x="860" y="135"/>
                    </a:lnTo>
                    <a:lnTo>
                      <a:pt x="860" y="137"/>
                    </a:lnTo>
                    <a:lnTo>
                      <a:pt x="860" y="137"/>
                    </a:lnTo>
                    <a:lnTo>
                      <a:pt x="860" y="137"/>
                    </a:lnTo>
                    <a:lnTo>
                      <a:pt x="862" y="137"/>
                    </a:lnTo>
                    <a:lnTo>
                      <a:pt x="864" y="135"/>
                    </a:lnTo>
                    <a:lnTo>
                      <a:pt x="864" y="135"/>
                    </a:lnTo>
                    <a:lnTo>
                      <a:pt x="867" y="137"/>
                    </a:lnTo>
                    <a:lnTo>
                      <a:pt x="867" y="137"/>
                    </a:lnTo>
                    <a:lnTo>
                      <a:pt x="869" y="137"/>
                    </a:lnTo>
                    <a:lnTo>
                      <a:pt x="869" y="137"/>
                    </a:lnTo>
                    <a:lnTo>
                      <a:pt x="872" y="137"/>
                    </a:lnTo>
                    <a:lnTo>
                      <a:pt x="869" y="140"/>
                    </a:lnTo>
                    <a:lnTo>
                      <a:pt x="872" y="142"/>
                    </a:lnTo>
                    <a:lnTo>
                      <a:pt x="869" y="145"/>
                    </a:lnTo>
                    <a:lnTo>
                      <a:pt x="869" y="145"/>
                    </a:lnTo>
                    <a:lnTo>
                      <a:pt x="872" y="147"/>
                    </a:lnTo>
                    <a:lnTo>
                      <a:pt x="872" y="145"/>
                    </a:lnTo>
                    <a:lnTo>
                      <a:pt x="874" y="145"/>
                    </a:lnTo>
                    <a:lnTo>
                      <a:pt x="874" y="147"/>
                    </a:lnTo>
                    <a:lnTo>
                      <a:pt x="874" y="147"/>
                    </a:lnTo>
                    <a:lnTo>
                      <a:pt x="874" y="149"/>
                    </a:lnTo>
                    <a:lnTo>
                      <a:pt x="874" y="152"/>
                    </a:lnTo>
                    <a:lnTo>
                      <a:pt x="874" y="152"/>
                    </a:lnTo>
                    <a:lnTo>
                      <a:pt x="879" y="154"/>
                    </a:lnTo>
                    <a:lnTo>
                      <a:pt x="881" y="154"/>
                    </a:lnTo>
                    <a:lnTo>
                      <a:pt x="881" y="154"/>
                    </a:lnTo>
                    <a:lnTo>
                      <a:pt x="881" y="159"/>
                    </a:lnTo>
                    <a:lnTo>
                      <a:pt x="883" y="159"/>
                    </a:lnTo>
                    <a:lnTo>
                      <a:pt x="883" y="159"/>
                    </a:lnTo>
                    <a:lnTo>
                      <a:pt x="886" y="161"/>
                    </a:lnTo>
                    <a:lnTo>
                      <a:pt x="886" y="163"/>
                    </a:lnTo>
                    <a:lnTo>
                      <a:pt x="888" y="166"/>
                    </a:lnTo>
                    <a:lnTo>
                      <a:pt x="890" y="168"/>
                    </a:lnTo>
                    <a:lnTo>
                      <a:pt x="890" y="171"/>
                    </a:lnTo>
                    <a:lnTo>
                      <a:pt x="890" y="171"/>
                    </a:lnTo>
                    <a:lnTo>
                      <a:pt x="893" y="171"/>
                    </a:lnTo>
                    <a:lnTo>
                      <a:pt x="895" y="171"/>
                    </a:lnTo>
                    <a:lnTo>
                      <a:pt x="895" y="171"/>
                    </a:lnTo>
                    <a:lnTo>
                      <a:pt x="897" y="171"/>
                    </a:lnTo>
                    <a:lnTo>
                      <a:pt x="897" y="173"/>
                    </a:lnTo>
                    <a:lnTo>
                      <a:pt x="900" y="175"/>
                    </a:lnTo>
                    <a:lnTo>
                      <a:pt x="900" y="175"/>
                    </a:lnTo>
                    <a:lnTo>
                      <a:pt x="902" y="175"/>
                    </a:lnTo>
                    <a:lnTo>
                      <a:pt x="902" y="175"/>
                    </a:lnTo>
                    <a:lnTo>
                      <a:pt x="902" y="173"/>
                    </a:lnTo>
                    <a:lnTo>
                      <a:pt x="905" y="173"/>
                    </a:lnTo>
                    <a:lnTo>
                      <a:pt x="905" y="173"/>
                    </a:lnTo>
                    <a:lnTo>
                      <a:pt x="907" y="173"/>
                    </a:lnTo>
                    <a:lnTo>
                      <a:pt x="909" y="173"/>
                    </a:lnTo>
                    <a:lnTo>
                      <a:pt x="912" y="173"/>
                    </a:lnTo>
                    <a:lnTo>
                      <a:pt x="914" y="175"/>
                    </a:lnTo>
                    <a:lnTo>
                      <a:pt x="914" y="178"/>
                    </a:lnTo>
                    <a:lnTo>
                      <a:pt x="916" y="178"/>
                    </a:lnTo>
                    <a:lnTo>
                      <a:pt x="919" y="178"/>
                    </a:lnTo>
                    <a:lnTo>
                      <a:pt x="921" y="178"/>
                    </a:lnTo>
                    <a:lnTo>
                      <a:pt x="921" y="178"/>
                    </a:lnTo>
                    <a:lnTo>
                      <a:pt x="923" y="178"/>
                    </a:lnTo>
                    <a:lnTo>
                      <a:pt x="923" y="175"/>
                    </a:lnTo>
                    <a:lnTo>
                      <a:pt x="923" y="175"/>
                    </a:lnTo>
                    <a:lnTo>
                      <a:pt x="926" y="175"/>
                    </a:lnTo>
                    <a:lnTo>
                      <a:pt x="926" y="175"/>
                    </a:lnTo>
                    <a:lnTo>
                      <a:pt x="926" y="180"/>
                    </a:lnTo>
                    <a:lnTo>
                      <a:pt x="926" y="180"/>
                    </a:lnTo>
                    <a:lnTo>
                      <a:pt x="926" y="180"/>
                    </a:lnTo>
                    <a:lnTo>
                      <a:pt x="928" y="180"/>
                    </a:lnTo>
                    <a:lnTo>
                      <a:pt x="926" y="178"/>
                    </a:lnTo>
                    <a:lnTo>
                      <a:pt x="928" y="178"/>
                    </a:lnTo>
                    <a:lnTo>
                      <a:pt x="928" y="178"/>
                    </a:lnTo>
                    <a:lnTo>
                      <a:pt x="931" y="178"/>
                    </a:lnTo>
                    <a:lnTo>
                      <a:pt x="933" y="178"/>
                    </a:lnTo>
                    <a:lnTo>
                      <a:pt x="933" y="178"/>
                    </a:lnTo>
                    <a:lnTo>
                      <a:pt x="933" y="180"/>
                    </a:lnTo>
                    <a:lnTo>
                      <a:pt x="933" y="180"/>
                    </a:lnTo>
                    <a:lnTo>
                      <a:pt x="935" y="180"/>
                    </a:lnTo>
                    <a:lnTo>
                      <a:pt x="938" y="180"/>
                    </a:lnTo>
                    <a:lnTo>
                      <a:pt x="938" y="178"/>
                    </a:lnTo>
                    <a:lnTo>
                      <a:pt x="938" y="178"/>
                    </a:lnTo>
                    <a:lnTo>
                      <a:pt x="935" y="178"/>
                    </a:lnTo>
                    <a:lnTo>
                      <a:pt x="938" y="175"/>
                    </a:lnTo>
                    <a:lnTo>
                      <a:pt x="938" y="178"/>
                    </a:lnTo>
                    <a:lnTo>
                      <a:pt x="940" y="180"/>
                    </a:lnTo>
                    <a:lnTo>
                      <a:pt x="942" y="180"/>
                    </a:lnTo>
                    <a:lnTo>
                      <a:pt x="942" y="180"/>
                    </a:lnTo>
                    <a:lnTo>
                      <a:pt x="945" y="178"/>
                    </a:lnTo>
                    <a:lnTo>
                      <a:pt x="945" y="178"/>
                    </a:lnTo>
                    <a:lnTo>
                      <a:pt x="945" y="180"/>
                    </a:lnTo>
                    <a:lnTo>
                      <a:pt x="947" y="180"/>
                    </a:lnTo>
                    <a:lnTo>
                      <a:pt x="947" y="180"/>
                    </a:lnTo>
                    <a:lnTo>
                      <a:pt x="949" y="182"/>
                    </a:lnTo>
                    <a:lnTo>
                      <a:pt x="949" y="185"/>
                    </a:lnTo>
                    <a:lnTo>
                      <a:pt x="949" y="185"/>
                    </a:lnTo>
                    <a:lnTo>
                      <a:pt x="952" y="185"/>
                    </a:lnTo>
                    <a:lnTo>
                      <a:pt x="952" y="182"/>
                    </a:lnTo>
                    <a:lnTo>
                      <a:pt x="949" y="180"/>
                    </a:lnTo>
                    <a:lnTo>
                      <a:pt x="952" y="180"/>
                    </a:lnTo>
                    <a:lnTo>
                      <a:pt x="952" y="178"/>
                    </a:lnTo>
                    <a:lnTo>
                      <a:pt x="954" y="178"/>
                    </a:lnTo>
                    <a:lnTo>
                      <a:pt x="954" y="178"/>
                    </a:lnTo>
                    <a:lnTo>
                      <a:pt x="954" y="175"/>
                    </a:lnTo>
                    <a:lnTo>
                      <a:pt x="954" y="178"/>
                    </a:lnTo>
                    <a:lnTo>
                      <a:pt x="957" y="178"/>
                    </a:lnTo>
                    <a:lnTo>
                      <a:pt x="957" y="178"/>
                    </a:lnTo>
                    <a:lnTo>
                      <a:pt x="954" y="180"/>
                    </a:lnTo>
                    <a:lnTo>
                      <a:pt x="954" y="180"/>
                    </a:lnTo>
                    <a:lnTo>
                      <a:pt x="954" y="182"/>
                    </a:lnTo>
                    <a:lnTo>
                      <a:pt x="957" y="182"/>
                    </a:lnTo>
                    <a:lnTo>
                      <a:pt x="957" y="182"/>
                    </a:lnTo>
                    <a:lnTo>
                      <a:pt x="959" y="182"/>
                    </a:lnTo>
                    <a:lnTo>
                      <a:pt x="961" y="182"/>
                    </a:lnTo>
                    <a:lnTo>
                      <a:pt x="961" y="182"/>
                    </a:lnTo>
                    <a:lnTo>
                      <a:pt x="966" y="182"/>
                    </a:lnTo>
                    <a:lnTo>
                      <a:pt x="966" y="182"/>
                    </a:lnTo>
                    <a:lnTo>
                      <a:pt x="966" y="180"/>
                    </a:lnTo>
                    <a:lnTo>
                      <a:pt x="968" y="180"/>
                    </a:lnTo>
                    <a:lnTo>
                      <a:pt x="971" y="180"/>
                    </a:lnTo>
                    <a:lnTo>
                      <a:pt x="971" y="180"/>
                    </a:lnTo>
                    <a:lnTo>
                      <a:pt x="971" y="178"/>
                    </a:lnTo>
                    <a:lnTo>
                      <a:pt x="973" y="178"/>
                    </a:lnTo>
                    <a:lnTo>
                      <a:pt x="973" y="178"/>
                    </a:lnTo>
                    <a:lnTo>
                      <a:pt x="973" y="180"/>
                    </a:lnTo>
                    <a:lnTo>
                      <a:pt x="975" y="180"/>
                    </a:lnTo>
                    <a:lnTo>
                      <a:pt x="975" y="180"/>
                    </a:lnTo>
                    <a:lnTo>
                      <a:pt x="978" y="180"/>
                    </a:lnTo>
                    <a:lnTo>
                      <a:pt x="978" y="182"/>
                    </a:lnTo>
                    <a:lnTo>
                      <a:pt x="980" y="182"/>
                    </a:lnTo>
                    <a:lnTo>
                      <a:pt x="978" y="180"/>
                    </a:lnTo>
                    <a:lnTo>
                      <a:pt x="978" y="180"/>
                    </a:lnTo>
                    <a:lnTo>
                      <a:pt x="978" y="180"/>
                    </a:lnTo>
                    <a:lnTo>
                      <a:pt x="980" y="180"/>
                    </a:lnTo>
                    <a:lnTo>
                      <a:pt x="983" y="180"/>
                    </a:lnTo>
                    <a:lnTo>
                      <a:pt x="983" y="180"/>
                    </a:lnTo>
                    <a:lnTo>
                      <a:pt x="983" y="180"/>
                    </a:lnTo>
                    <a:lnTo>
                      <a:pt x="985" y="180"/>
                    </a:lnTo>
                    <a:lnTo>
                      <a:pt x="983" y="178"/>
                    </a:lnTo>
                    <a:lnTo>
                      <a:pt x="983" y="178"/>
                    </a:lnTo>
                    <a:lnTo>
                      <a:pt x="985" y="178"/>
                    </a:lnTo>
                    <a:lnTo>
                      <a:pt x="987" y="178"/>
                    </a:lnTo>
                    <a:lnTo>
                      <a:pt x="987" y="178"/>
                    </a:lnTo>
                    <a:lnTo>
                      <a:pt x="990" y="178"/>
                    </a:lnTo>
                    <a:lnTo>
                      <a:pt x="987" y="178"/>
                    </a:lnTo>
                    <a:lnTo>
                      <a:pt x="985" y="180"/>
                    </a:lnTo>
                    <a:lnTo>
                      <a:pt x="987" y="180"/>
                    </a:lnTo>
                    <a:lnTo>
                      <a:pt x="987" y="182"/>
                    </a:lnTo>
                    <a:lnTo>
                      <a:pt x="987" y="182"/>
                    </a:lnTo>
                    <a:lnTo>
                      <a:pt x="987" y="182"/>
                    </a:lnTo>
                    <a:lnTo>
                      <a:pt x="990" y="182"/>
                    </a:lnTo>
                    <a:lnTo>
                      <a:pt x="990" y="185"/>
                    </a:lnTo>
                    <a:lnTo>
                      <a:pt x="990" y="185"/>
                    </a:lnTo>
                    <a:lnTo>
                      <a:pt x="992" y="182"/>
                    </a:lnTo>
                    <a:lnTo>
                      <a:pt x="994" y="182"/>
                    </a:lnTo>
                    <a:lnTo>
                      <a:pt x="992" y="182"/>
                    </a:lnTo>
                    <a:lnTo>
                      <a:pt x="992" y="180"/>
                    </a:lnTo>
                    <a:lnTo>
                      <a:pt x="994" y="180"/>
                    </a:lnTo>
                    <a:lnTo>
                      <a:pt x="994" y="182"/>
                    </a:lnTo>
                    <a:lnTo>
                      <a:pt x="997" y="182"/>
                    </a:lnTo>
                    <a:lnTo>
                      <a:pt x="997" y="185"/>
                    </a:lnTo>
                    <a:lnTo>
                      <a:pt x="997" y="185"/>
                    </a:lnTo>
                    <a:lnTo>
                      <a:pt x="999" y="185"/>
                    </a:lnTo>
                    <a:lnTo>
                      <a:pt x="997" y="182"/>
                    </a:lnTo>
                    <a:lnTo>
                      <a:pt x="999" y="182"/>
                    </a:lnTo>
                    <a:lnTo>
                      <a:pt x="997" y="182"/>
                    </a:lnTo>
                    <a:lnTo>
                      <a:pt x="999" y="180"/>
                    </a:lnTo>
                    <a:lnTo>
                      <a:pt x="999" y="180"/>
                    </a:lnTo>
                    <a:lnTo>
                      <a:pt x="999" y="180"/>
                    </a:lnTo>
                    <a:lnTo>
                      <a:pt x="999" y="182"/>
                    </a:lnTo>
                    <a:lnTo>
                      <a:pt x="999" y="185"/>
                    </a:lnTo>
                    <a:lnTo>
                      <a:pt x="999" y="185"/>
                    </a:lnTo>
                    <a:lnTo>
                      <a:pt x="1001" y="185"/>
                    </a:lnTo>
                    <a:lnTo>
                      <a:pt x="1001" y="185"/>
                    </a:lnTo>
                    <a:lnTo>
                      <a:pt x="1004" y="185"/>
                    </a:lnTo>
                    <a:lnTo>
                      <a:pt x="1001" y="187"/>
                    </a:lnTo>
                    <a:lnTo>
                      <a:pt x="1004" y="187"/>
                    </a:lnTo>
                    <a:lnTo>
                      <a:pt x="1001" y="189"/>
                    </a:lnTo>
                    <a:lnTo>
                      <a:pt x="1001" y="192"/>
                    </a:lnTo>
                    <a:lnTo>
                      <a:pt x="1001" y="192"/>
                    </a:lnTo>
                    <a:lnTo>
                      <a:pt x="1004" y="192"/>
                    </a:lnTo>
                    <a:lnTo>
                      <a:pt x="1006" y="194"/>
                    </a:lnTo>
                    <a:lnTo>
                      <a:pt x="1006" y="196"/>
                    </a:lnTo>
                    <a:lnTo>
                      <a:pt x="1006" y="194"/>
                    </a:lnTo>
                    <a:lnTo>
                      <a:pt x="1006" y="196"/>
                    </a:lnTo>
                    <a:lnTo>
                      <a:pt x="1006" y="196"/>
                    </a:lnTo>
                    <a:lnTo>
                      <a:pt x="1006" y="196"/>
                    </a:lnTo>
                    <a:lnTo>
                      <a:pt x="1006" y="199"/>
                    </a:lnTo>
                    <a:lnTo>
                      <a:pt x="1009" y="199"/>
                    </a:lnTo>
                    <a:lnTo>
                      <a:pt x="1009" y="201"/>
                    </a:lnTo>
                    <a:lnTo>
                      <a:pt x="1009" y="201"/>
                    </a:lnTo>
                    <a:lnTo>
                      <a:pt x="1009" y="201"/>
                    </a:lnTo>
                    <a:lnTo>
                      <a:pt x="1006" y="201"/>
                    </a:lnTo>
                    <a:lnTo>
                      <a:pt x="1006" y="201"/>
                    </a:lnTo>
                    <a:lnTo>
                      <a:pt x="1006" y="201"/>
                    </a:lnTo>
                    <a:lnTo>
                      <a:pt x="1004" y="201"/>
                    </a:lnTo>
                    <a:lnTo>
                      <a:pt x="1001" y="201"/>
                    </a:lnTo>
                    <a:lnTo>
                      <a:pt x="1001" y="201"/>
                    </a:lnTo>
                    <a:lnTo>
                      <a:pt x="999" y="201"/>
                    </a:lnTo>
                    <a:lnTo>
                      <a:pt x="999" y="201"/>
                    </a:lnTo>
                    <a:lnTo>
                      <a:pt x="997" y="201"/>
                    </a:lnTo>
                    <a:lnTo>
                      <a:pt x="997" y="199"/>
                    </a:lnTo>
                    <a:lnTo>
                      <a:pt x="997" y="201"/>
                    </a:lnTo>
                    <a:lnTo>
                      <a:pt x="997" y="201"/>
                    </a:lnTo>
                    <a:lnTo>
                      <a:pt x="994" y="201"/>
                    </a:lnTo>
                    <a:lnTo>
                      <a:pt x="994" y="204"/>
                    </a:lnTo>
                    <a:lnTo>
                      <a:pt x="992" y="204"/>
                    </a:lnTo>
                    <a:lnTo>
                      <a:pt x="994" y="206"/>
                    </a:lnTo>
                    <a:lnTo>
                      <a:pt x="992" y="206"/>
                    </a:lnTo>
                    <a:lnTo>
                      <a:pt x="994" y="206"/>
                    </a:lnTo>
                    <a:lnTo>
                      <a:pt x="992" y="206"/>
                    </a:lnTo>
                    <a:lnTo>
                      <a:pt x="992" y="208"/>
                    </a:lnTo>
                    <a:lnTo>
                      <a:pt x="990" y="208"/>
                    </a:lnTo>
                    <a:lnTo>
                      <a:pt x="990" y="208"/>
                    </a:lnTo>
                    <a:lnTo>
                      <a:pt x="992" y="208"/>
                    </a:lnTo>
                    <a:lnTo>
                      <a:pt x="992" y="211"/>
                    </a:lnTo>
                    <a:lnTo>
                      <a:pt x="992" y="211"/>
                    </a:lnTo>
                    <a:lnTo>
                      <a:pt x="992" y="211"/>
                    </a:lnTo>
                    <a:lnTo>
                      <a:pt x="992" y="211"/>
                    </a:lnTo>
                    <a:lnTo>
                      <a:pt x="990" y="211"/>
                    </a:lnTo>
                    <a:lnTo>
                      <a:pt x="990" y="213"/>
                    </a:lnTo>
                    <a:lnTo>
                      <a:pt x="990" y="213"/>
                    </a:lnTo>
                    <a:lnTo>
                      <a:pt x="990" y="213"/>
                    </a:lnTo>
                    <a:lnTo>
                      <a:pt x="990" y="211"/>
                    </a:lnTo>
                    <a:lnTo>
                      <a:pt x="987" y="211"/>
                    </a:lnTo>
                    <a:lnTo>
                      <a:pt x="987" y="211"/>
                    </a:lnTo>
                    <a:lnTo>
                      <a:pt x="987" y="211"/>
                    </a:lnTo>
                    <a:lnTo>
                      <a:pt x="987" y="213"/>
                    </a:lnTo>
                    <a:lnTo>
                      <a:pt x="987" y="215"/>
                    </a:lnTo>
                    <a:lnTo>
                      <a:pt x="985" y="215"/>
                    </a:lnTo>
                    <a:lnTo>
                      <a:pt x="987" y="218"/>
                    </a:lnTo>
                    <a:lnTo>
                      <a:pt x="985" y="218"/>
                    </a:lnTo>
                    <a:lnTo>
                      <a:pt x="985" y="218"/>
                    </a:lnTo>
                    <a:lnTo>
                      <a:pt x="983" y="218"/>
                    </a:lnTo>
                    <a:lnTo>
                      <a:pt x="985" y="215"/>
                    </a:lnTo>
                    <a:lnTo>
                      <a:pt x="985" y="213"/>
                    </a:lnTo>
                    <a:lnTo>
                      <a:pt x="983" y="215"/>
                    </a:lnTo>
                    <a:lnTo>
                      <a:pt x="983" y="215"/>
                    </a:lnTo>
                    <a:lnTo>
                      <a:pt x="983" y="213"/>
                    </a:lnTo>
                    <a:lnTo>
                      <a:pt x="983" y="213"/>
                    </a:lnTo>
                    <a:lnTo>
                      <a:pt x="980" y="213"/>
                    </a:lnTo>
                    <a:lnTo>
                      <a:pt x="980" y="213"/>
                    </a:lnTo>
                    <a:lnTo>
                      <a:pt x="978" y="215"/>
                    </a:lnTo>
                    <a:lnTo>
                      <a:pt x="978" y="218"/>
                    </a:lnTo>
                    <a:lnTo>
                      <a:pt x="980" y="218"/>
                    </a:lnTo>
                    <a:lnTo>
                      <a:pt x="980" y="218"/>
                    </a:lnTo>
                    <a:lnTo>
                      <a:pt x="980" y="218"/>
                    </a:lnTo>
                    <a:lnTo>
                      <a:pt x="978" y="220"/>
                    </a:lnTo>
                    <a:lnTo>
                      <a:pt x="978" y="218"/>
                    </a:lnTo>
                    <a:lnTo>
                      <a:pt x="978" y="220"/>
                    </a:lnTo>
                    <a:lnTo>
                      <a:pt x="978" y="218"/>
                    </a:lnTo>
                    <a:lnTo>
                      <a:pt x="975" y="220"/>
                    </a:lnTo>
                    <a:lnTo>
                      <a:pt x="975" y="220"/>
                    </a:lnTo>
                    <a:lnTo>
                      <a:pt x="975" y="220"/>
                    </a:lnTo>
                    <a:lnTo>
                      <a:pt x="975" y="222"/>
                    </a:lnTo>
                    <a:lnTo>
                      <a:pt x="975" y="222"/>
                    </a:lnTo>
                    <a:lnTo>
                      <a:pt x="975" y="222"/>
                    </a:lnTo>
                    <a:lnTo>
                      <a:pt x="975" y="225"/>
                    </a:lnTo>
                    <a:lnTo>
                      <a:pt x="978" y="225"/>
                    </a:lnTo>
                    <a:lnTo>
                      <a:pt x="978" y="225"/>
                    </a:lnTo>
                    <a:lnTo>
                      <a:pt x="975" y="225"/>
                    </a:lnTo>
                    <a:lnTo>
                      <a:pt x="975" y="227"/>
                    </a:lnTo>
                    <a:lnTo>
                      <a:pt x="975" y="227"/>
                    </a:lnTo>
                    <a:lnTo>
                      <a:pt x="975" y="227"/>
                    </a:lnTo>
                    <a:lnTo>
                      <a:pt x="975" y="232"/>
                    </a:lnTo>
                    <a:lnTo>
                      <a:pt x="978" y="230"/>
                    </a:lnTo>
                    <a:lnTo>
                      <a:pt x="978" y="232"/>
                    </a:lnTo>
                    <a:lnTo>
                      <a:pt x="975" y="232"/>
                    </a:lnTo>
                    <a:lnTo>
                      <a:pt x="975" y="232"/>
                    </a:lnTo>
                    <a:lnTo>
                      <a:pt x="975" y="234"/>
                    </a:lnTo>
                    <a:lnTo>
                      <a:pt x="973" y="234"/>
                    </a:lnTo>
                    <a:lnTo>
                      <a:pt x="978" y="234"/>
                    </a:lnTo>
                    <a:lnTo>
                      <a:pt x="978" y="234"/>
                    </a:lnTo>
                    <a:lnTo>
                      <a:pt x="978" y="234"/>
                    </a:lnTo>
                    <a:lnTo>
                      <a:pt x="980" y="234"/>
                    </a:lnTo>
                    <a:lnTo>
                      <a:pt x="978" y="234"/>
                    </a:lnTo>
                    <a:lnTo>
                      <a:pt x="978" y="234"/>
                    </a:lnTo>
                    <a:lnTo>
                      <a:pt x="978" y="234"/>
                    </a:lnTo>
                    <a:lnTo>
                      <a:pt x="978" y="237"/>
                    </a:lnTo>
                    <a:lnTo>
                      <a:pt x="978" y="237"/>
                    </a:lnTo>
                    <a:lnTo>
                      <a:pt x="978" y="237"/>
                    </a:lnTo>
                    <a:lnTo>
                      <a:pt x="978" y="237"/>
                    </a:lnTo>
                    <a:lnTo>
                      <a:pt x="975" y="239"/>
                    </a:lnTo>
                    <a:lnTo>
                      <a:pt x="975" y="239"/>
                    </a:lnTo>
                    <a:lnTo>
                      <a:pt x="973" y="239"/>
                    </a:lnTo>
                    <a:lnTo>
                      <a:pt x="975" y="241"/>
                    </a:lnTo>
                    <a:lnTo>
                      <a:pt x="978" y="241"/>
                    </a:lnTo>
                    <a:lnTo>
                      <a:pt x="978" y="241"/>
                    </a:lnTo>
                    <a:lnTo>
                      <a:pt x="978" y="244"/>
                    </a:lnTo>
                    <a:lnTo>
                      <a:pt x="975" y="244"/>
                    </a:lnTo>
                    <a:lnTo>
                      <a:pt x="975" y="246"/>
                    </a:lnTo>
                    <a:lnTo>
                      <a:pt x="978" y="246"/>
                    </a:lnTo>
                    <a:lnTo>
                      <a:pt x="978" y="246"/>
                    </a:lnTo>
                    <a:lnTo>
                      <a:pt x="980" y="248"/>
                    </a:lnTo>
                    <a:lnTo>
                      <a:pt x="978" y="248"/>
                    </a:lnTo>
                    <a:lnTo>
                      <a:pt x="978" y="248"/>
                    </a:lnTo>
                    <a:lnTo>
                      <a:pt x="978" y="248"/>
                    </a:lnTo>
                    <a:lnTo>
                      <a:pt x="978" y="251"/>
                    </a:lnTo>
                    <a:lnTo>
                      <a:pt x="978" y="251"/>
                    </a:lnTo>
                    <a:lnTo>
                      <a:pt x="975" y="251"/>
                    </a:lnTo>
                    <a:lnTo>
                      <a:pt x="975" y="253"/>
                    </a:lnTo>
                    <a:lnTo>
                      <a:pt x="973" y="253"/>
                    </a:lnTo>
                    <a:lnTo>
                      <a:pt x="978" y="253"/>
                    </a:lnTo>
                    <a:lnTo>
                      <a:pt x="978" y="253"/>
                    </a:lnTo>
                    <a:lnTo>
                      <a:pt x="978" y="253"/>
                    </a:lnTo>
                    <a:lnTo>
                      <a:pt x="978" y="253"/>
                    </a:lnTo>
                    <a:lnTo>
                      <a:pt x="978" y="256"/>
                    </a:lnTo>
                    <a:lnTo>
                      <a:pt x="975" y="256"/>
                    </a:lnTo>
                    <a:lnTo>
                      <a:pt x="975" y="256"/>
                    </a:lnTo>
                    <a:lnTo>
                      <a:pt x="975" y="256"/>
                    </a:lnTo>
                    <a:lnTo>
                      <a:pt x="975" y="258"/>
                    </a:lnTo>
                    <a:lnTo>
                      <a:pt x="968" y="260"/>
                    </a:lnTo>
                    <a:lnTo>
                      <a:pt x="971" y="260"/>
                    </a:lnTo>
                    <a:lnTo>
                      <a:pt x="971" y="260"/>
                    </a:lnTo>
                    <a:lnTo>
                      <a:pt x="971" y="260"/>
                    </a:lnTo>
                    <a:lnTo>
                      <a:pt x="973" y="260"/>
                    </a:lnTo>
                    <a:lnTo>
                      <a:pt x="975" y="260"/>
                    </a:lnTo>
                    <a:lnTo>
                      <a:pt x="975" y="260"/>
                    </a:lnTo>
                    <a:lnTo>
                      <a:pt x="978" y="258"/>
                    </a:lnTo>
                    <a:lnTo>
                      <a:pt x="978" y="258"/>
                    </a:lnTo>
                    <a:lnTo>
                      <a:pt x="978" y="260"/>
                    </a:lnTo>
                    <a:lnTo>
                      <a:pt x="975" y="260"/>
                    </a:lnTo>
                    <a:lnTo>
                      <a:pt x="978" y="260"/>
                    </a:lnTo>
                    <a:lnTo>
                      <a:pt x="975" y="260"/>
                    </a:lnTo>
                    <a:lnTo>
                      <a:pt x="975" y="260"/>
                    </a:lnTo>
                    <a:lnTo>
                      <a:pt x="975" y="260"/>
                    </a:lnTo>
                    <a:lnTo>
                      <a:pt x="975" y="263"/>
                    </a:lnTo>
                    <a:lnTo>
                      <a:pt x="973" y="263"/>
                    </a:lnTo>
                    <a:lnTo>
                      <a:pt x="973" y="263"/>
                    </a:lnTo>
                    <a:lnTo>
                      <a:pt x="975" y="263"/>
                    </a:lnTo>
                    <a:lnTo>
                      <a:pt x="973" y="265"/>
                    </a:lnTo>
                    <a:lnTo>
                      <a:pt x="973" y="265"/>
                    </a:lnTo>
                    <a:lnTo>
                      <a:pt x="975" y="265"/>
                    </a:lnTo>
                    <a:lnTo>
                      <a:pt x="973" y="265"/>
                    </a:lnTo>
                    <a:lnTo>
                      <a:pt x="973" y="265"/>
                    </a:lnTo>
                    <a:lnTo>
                      <a:pt x="971" y="265"/>
                    </a:lnTo>
                    <a:lnTo>
                      <a:pt x="973" y="267"/>
                    </a:lnTo>
                    <a:lnTo>
                      <a:pt x="971" y="270"/>
                    </a:lnTo>
                    <a:lnTo>
                      <a:pt x="971" y="267"/>
                    </a:lnTo>
                    <a:lnTo>
                      <a:pt x="971" y="267"/>
                    </a:lnTo>
                    <a:lnTo>
                      <a:pt x="968" y="267"/>
                    </a:lnTo>
                    <a:lnTo>
                      <a:pt x="968" y="270"/>
                    </a:lnTo>
                    <a:lnTo>
                      <a:pt x="968" y="270"/>
                    </a:lnTo>
                    <a:lnTo>
                      <a:pt x="968" y="272"/>
                    </a:lnTo>
                    <a:lnTo>
                      <a:pt x="966" y="272"/>
                    </a:lnTo>
                    <a:lnTo>
                      <a:pt x="966" y="272"/>
                    </a:lnTo>
                    <a:lnTo>
                      <a:pt x="966" y="272"/>
                    </a:lnTo>
                    <a:lnTo>
                      <a:pt x="966" y="274"/>
                    </a:lnTo>
                    <a:lnTo>
                      <a:pt x="968" y="274"/>
                    </a:lnTo>
                    <a:lnTo>
                      <a:pt x="966" y="274"/>
                    </a:lnTo>
                    <a:lnTo>
                      <a:pt x="966" y="274"/>
                    </a:lnTo>
                    <a:lnTo>
                      <a:pt x="964" y="274"/>
                    </a:lnTo>
                    <a:lnTo>
                      <a:pt x="964" y="274"/>
                    </a:lnTo>
                    <a:lnTo>
                      <a:pt x="964" y="274"/>
                    </a:lnTo>
                    <a:lnTo>
                      <a:pt x="961" y="274"/>
                    </a:lnTo>
                    <a:lnTo>
                      <a:pt x="961" y="274"/>
                    </a:lnTo>
                    <a:lnTo>
                      <a:pt x="961" y="274"/>
                    </a:lnTo>
                    <a:lnTo>
                      <a:pt x="961" y="274"/>
                    </a:lnTo>
                    <a:lnTo>
                      <a:pt x="959" y="274"/>
                    </a:lnTo>
                    <a:lnTo>
                      <a:pt x="961" y="274"/>
                    </a:lnTo>
                    <a:lnTo>
                      <a:pt x="959" y="274"/>
                    </a:lnTo>
                    <a:lnTo>
                      <a:pt x="959" y="272"/>
                    </a:lnTo>
                    <a:lnTo>
                      <a:pt x="961" y="272"/>
                    </a:lnTo>
                    <a:lnTo>
                      <a:pt x="961" y="272"/>
                    </a:lnTo>
                    <a:lnTo>
                      <a:pt x="961" y="272"/>
                    </a:lnTo>
                    <a:lnTo>
                      <a:pt x="959" y="272"/>
                    </a:lnTo>
                    <a:lnTo>
                      <a:pt x="957" y="272"/>
                    </a:lnTo>
                    <a:lnTo>
                      <a:pt x="957" y="272"/>
                    </a:lnTo>
                    <a:lnTo>
                      <a:pt x="957" y="274"/>
                    </a:lnTo>
                    <a:lnTo>
                      <a:pt x="957" y="274"/>
                    </a:lnTo>
                    <a:lnTo>
                      <a:pt x="959" y="274"/>
                    </a:lnTo>
                    <a:lnTo>
                      <a:pt x="959" y="277"/>
                    </a:lnTo>
                    <a:lnTo>
                      <a:pt x="959" y="277"/>
                    </a:lnTo>
                    <a:lnTo>
                      <a:pt x="959" y="277"/>
                    </a:lnTo>
                    <a:lnTo>
                      <a:pt x="959" y="277"/>
                    </a:lnTo>
                    <a:lnTo>
                      <a:pt x="959" y="279"/>
                    </a:lnTo>
                    <a:lnTo>
                      <a:pt x="959" y="279"/>
                    </a:lnTo>
                    <a:lnTo>
                      <a:pt x="959" y="279"/>
                    </a:lnTo>
                    <a:lnTo>
                      <a:pt x="959" y="282"/>
                    </a:lnTo>
                    <a:lnTo>
                      <a:pt x="957" y="282"/>
                    </a:lnTo>
                    <a:lnTo>
                      <a:pt x="959" y="279"/>
                    </a:lnTo>
                    <a:lnTo>
                      <a:pt x="957" y="282"/>
                    </a:lnTo>
                    <a:lnTo>
                      <a:pt x="957" y="282"/>
                    </a:lnTo>
                    <a:lnTo>
                      <a:pt x="957" y="279"/>
                    </a:lnTo>
                    <a:lnTo>
                      <a:pt x="957" y="279"/>
                    </a:lnTo>
                    <a:lnTo>
                      <a:pt x="957" y="279"/>
                    </a:lnTo>
                    <a:lnTo>
                      <a:pt x="954" y="279"/>
                    </a:lnTo>
                    <a:lnTo>
                      <a:pt x="954" y="277"/>
                    </a:lnTo>
                    <a:lnTo>
                      <a:pt x="954" y="277"/>
                    </a:lnTo>
                    <a:lnTo>
                      <a:pt x="954" y="277"/>
                    </a:lnTo>
                    <a:lnTo>
                      <a:pt x="952" y="277"/>
                    </a:lnTo>
                    <a:lnTo>
                      <a:pt x="952" y="274"/>
                    </a:lnTo>
                    <a:lnTo>
                      <a:pt x="952" y="277"/>
                    </a:lnTo>
                    <a:lnTo>
                      <a:pt x="952" y="277"/>
                    </a:lnTo>
                    <a:lnTo>
                      <a:pt x="954" y="279"/>
                    </a:lnTo>
                    <a:lnTo>
                      <a:pt x="954" y="279"/>
                    </a:lnTo>
                    <a:lnTo>
                      <a:pt x="952" y="279"/>
                    </a:lnTo>
                    <a:lnTo>
                      <a:pt x="952" y="279"/>
                    </a:lnTo>
                    <a:lnTo>
                      <a:pt x="952" y="282"/>
                    </a:lnTo>
                    <a:lnTo>
                      <a:pt x="952" y="282"/>
                    </a:lnTo>
                    <a:lnTo>
                      <a:pt x="952" y="282"/>
                    </a:lnTo>
                    <a:lnTo>
                      <a:pt x="952" y="282"/>
                    </a:lnTo>
                    <a:lnTo>
                      <a:pt x="949" y="284"/>
                    </a:lnTo>
                    <a:lnTo>
                      <a:pt x="949" y="284"/>
                    </a:lnTo>
                    <a:lnTo>
                      <a:pt x="952" y="284"/>
                    </a:lnTo>
                    <a:lnTo>
                      <a:pt x="952" y="284"/>
                    </a:lnTo>
                    <a:lnTo>
                      <a:pt x="952" y="284"/>
                    </a:lnTo>
                    <a:lnTo>
                      <a:pt x="952" y="284"/>
                    </a:lnTo>
                    <a:lnTo>
                      <a:pt x="952" y="286"/>
                    </a:lnTo>
                    <a:lnTo>
                      <a:pt x="952" y="289"/>
                    </a:lnTo>
                    <a:lnTo>
                      <a:pt x="952" y="289"/>
                    </a:lnTo>
                    <a:lnTo>
                      <a:pt x="952" y="289"/>
                    </a:lnTo>
                    <a:lnTo>
                      <a:pt x="952" y="289"/>
                    </a:lnTo>
                    <a:lnTo>
                      <a:pt x="952" y="291"/>
                    </a:lnTo>
                    <a:lnTo>
                      <a:pt x="954" y="291"/>
                    </a:lnTo>
                    <a:lnTo>
                      <a:pt x="954" y="289"/>
                    </a:lnTo>
                    <a:lnTo>
                      <a:pt x="954" y="289"/>
                    </a:lnTo>
                    <a:lnTo>
                      <a:pt x="954" y="289"/>
                    </a:lnTo>
                    <a:lnTo>
                      <a:pt x="954" y="289"/>
                    </a:lnTo>
                    <a:lnTo>
                      <a:pt x="954" y="289"/>
                    </a:lnTo>
                    <a:lnTo>
                      <a:pt x="957" y="291"/>
                    </a:lnTo>
                    <a:lnTo>
                      <a:pt x="957" y="291"/>
                    </a:lnTo>
                    <a:lnTo>
                      <a:pt x="957" y="291"/>
                    </a:lnTo>
                    <a:lnTo>
                      <a:pt x="959" y="291"/>
                    </a:lnTo>
                    <a:lnTo>
                      <a:pt x="959" y="291"/>
                    </a:lnTo>
                    <a:lnTo>
                      <a:pt x="959" y="293"/>
                    </a:lnTo>
                    <a:lnTo>
                      <a:pt x="961" y="293"/>
                    </a:lnTo>
                    <a:lnTo>
                      <a:pt x="961" y="293"/>
                    </a:lnTo>
                    <a:lnTo>
                      <a:pt x="961" y="293"/>
                    </a:lnTo>
                    <a:lnTo>
                      <a:pt x="964" y="293"/>
                    </a:lnTo>
                    <a:lnTo>
                      <a:pt x="964" y="293"/>
                    </a:lnTo>
                    <a:lnTo>
                      <a:pt x="961" y="296"/>
                    </a:lnTo>
                    <a:lnTo>
                      <a:pt x="964" y="296"/>
                    </a:lnTo>
                    <a:lnTo>
                      <a:pt x="966" y="296"/>
                    </a:lnTo>
                    <a:lnTo>
                      <a:pt x="961" y="291"/>
                    </a:lnTo>
                    <a:lnTo>
                      <a:pt x="961" y="291"/>
                    </a:lnTo>
                    <a:lnTo>
                      <a:pt x="959" y="289"/>
                    </a:lnTo>
                    <a:lnTo>
                      <a:pt x="957" y="289"/>
                    </a:lnTo>
                    <a:lnTo>
                      <a:pt x="957" y="289"/>
                    </a:lnTo>
                    <a:lnTo>
                      <a:pt x="954" y="284"/>
                    </a:lnTo>
                    <a:lnTo>
                      <a:pt x="957" y="284"/>
                    </a:lnTo>
                    <a:lnTo>
                      <a:pt x="957" y="284"/>
                    </a:lnTo>
                    <a:lnTo>
                      <a:pt x="959" y="284"/>
                    </a:lnTo>
                    <a:lnTo>
                      <a:pt x="961" y="284"/>
                    </a:lnTo>
                    <a:lnTo>
                      <a:pt x="961" y="284"/>
                    </a:lnTo>
                    <a:lnTo>
                      <a:pt x="961" y="282"/>
                    </a:lnTo>
                    <a:lnTo>
                      <a:pt x="964" y="282"/>
                    </a:lnTo>
                    <a:lnTo>
                      <a:pt x="966" y="282"/>
                    </a:lnTo>
                    <a:lnTo>
                      <a:pt x="968" y="279"/>
                    </a:lnTo>
                    <a:lnTo>
                      <a:pt x="971" y="282"/>
                    </a:lnTo>
                    <a:lnTo>
                      <a:pt x="971" y="279"/>
                    </a:lnTo>
                    <a:lnTo>
                      <a:pt x="973" y="279"/>
                    </a:lnTo>
                    <a:lnTo>
                      <a:pt x="973" y="277"/>
                    </a:lnTo>
                    <a:lnTo>
                      <a:pt x="975" y="277"/>
                    </a:lnTo>
                    <a:lnTo>
                      <a:pt x="978" y="277"/>
                    </a:lnTo>
                    <a:lnTo>
                      <a:pt x="978" y="277"/>
                    </a:lnTo>
                    <a:lnTo>
                      <a:pt x="978" y="277"/>
                    </a:lnTo>
                    <a:lnTo>
                      <a:pt x="978" y="277"/>
                    </a:lnTo>
                    <a:lnTo>
                      <a:pt x="980" y="279"/>
                    </a:lnTo>
                    <a:lnTo>
                      <a:pt x="980" y="279"/>
                    </a:lnTo>
                    <a:lnTo>
                      <a:pt x="983" y="279"/>
                    </a:lnTo>
                    <a:lnTo>
                      <a:pt x="985" y="279"/>
                    </a:lnTo>
                    <a:lnTo>
                      <a:pt x="987" y="279"/>
                    </a:lnTo>
                    <a:lnTo>
                      <a:pt x="987" y="282"/>
                    </a:lnTo>
                    <a:lnTo>
                      <a:pt x="987" y="282"/>
                    </a:lnTo>
                    <a:lnTo>
                      <a:pt x="990" y="282"/>
                    </a:lnTo>
                    <a:lnTo>
                      <a:pt x="990" y="284"/>
                    </a:lnTo>
                    <a:lnTo>
                      <a:pt x="990" y="284"/>
                    </a:lnTo>
                    <a:lnTo>
                      <a:pt x="990" y="284"/>
                    </a:lnTo>
                    <a:lnTo>
                      <a:pt x="990" y="284"/>
                    </a:lnTo>
                    <a:lnTo>
                      <a:pt x="990" y="286"/>
                    </a:lnTo>
                    <a:lnTo>
                      <a:pt x="990" y="286"/>
                    </a:lnTo>
                    <a:lnTo>
                      <a:pt x="990" y="286"/>
                    </a:lnTo>
                    <a:lnTo>
                      <a:pt x="992" y="286"/>
                    </a:lnTo>
                    <a:lnTo>
                      <a:pt x="992" y="286"/>
                    </a:lnTo>
                    <a:lnTo>
                      <a:pt x="992" y="289"/>
                    </a:lnTo>
                    <a:lnTo>
                      <a:pt x="992" y="289"/>
                    </a:lnTo>
                    <a:lnTo>
                      <a:pt x="994" y="289"/>
                    </a:lnTo>
                    <a:lnTo>
                      <a:pt x="994" y="289"/>
                    </a:lnTo>
                    <a:lnTo>
                      <a:pt x="997" y="289"/>
                    </a:lnTo>
                    <a:lnTo>
                      <a:pt x="997" y="289"/>
                    </a:lnTo>
                    <a:lnTo>
                      <a:pt x="999" y="291"/>
                    </a:lnTo>
                    <a:lnTo>
                      <a:pt x="999" y="291"/>
                    </a:lnTo>
                    <a:lnTo>
                      <a:pt x="1001" y="289"/>
                    </a:lnTo>
                    <a:lnTo>
                      <a:pt x="1001" y="291"/>
                    </a:lnTo>
                    <a:lnTo>
                      <a:pt x="1001" y="291"/>
                    </a:lnTo>
                    <a:lnTo>
                      <a:pt x="1004" y="291"/>
                    </a:lnTo>
                    <a:lnTo>
                      <a:pt x="1004" y="291"/>
                    </a:lnTo>
                    <a:lnTo>
                      <a:pt x="1004" y="291"/>
                    </a:lnTo>
                    <a:lnTo>
                      <a:pt x="1004" y="291"/>
                    </a:lnTo>
                    <a:lnTo>
                      <a:pt x="1001" y="293"/>
                    </a:lnTo>
                    <a:lnTo>
                      <a:pt x="1001" y="293"/>
                    </a:lnTo>
                    <a:lnTo>
                      <a:pt x="1004" y="293"/>
                    </a:lnTo>
                    <a:lnTo>
                      <a:pt x="1004" y="293"/>
                    </a:lnTo>
                    <a:lnTo>
                      <a:pt x="1006" y="293"/>
                    </a:lnTo>
                    <a:lnTo>
                      <a:pt x="1004" y="296"/>
                    </a:lnTo>
                    <a:lnTo>
                      <a:pt x="1004" y="298"/>
                    </a:lnTo>
                    <a:lnTo>
                      <a:pt x="1001" y="300"/>
                    </a:lnTo>
                    <a:lnTo>
                      <a:pt x="994" y="308"/>
                    </a:lnTo>
                    <a:lnTo>
                      <a:pt x="980" y="329"/>
                    </a:lnTo>
                    <a:lnTo>
                      <a:pt x="978" y="333"/>
                    </a:lnTo>
                    <a:lnTo>
                      <a:pt x="978" y="333"/>
                    </a:lnTo>
                    <a:lnTo>
                      <a:pt x="975" y="336"/>
                    </a:lnTo>
                    <a:lnTo>
                      <a:pt x="975" y="338"/>
                    </a:lnTo>
                    <a:lnTo>
                      <a:pt x="971" y="345"/>
                    </a:lnTo>
                    <a:lnTo>
                      <a:pt x="968" y="352"/>
                    </a:lnTo>
                    <a:lnTo>
                      <a:pt x="964" y="357"/>
                    </a:lnTo>
                    <a:lnTo>
                      <a:pt x="961" y="364"/>
                    </a:lnTo>
                    <a:lnTo>
                      <a:pt x="961" y="367"/>
                    </a:lnTo>
                    <a:lnTo>
                      <a:pt x="954" y="378"/>
                    </a:lnTo>
                    <a:lnTo>
                      <a:pt x="952" y="385"/>
                    </a:lnTo>
                    <a:lnTo>
                      <a:pt x="949" y="390"/>
                    </a:lnTo>
                    <a:lnTo>
                      <a:pt x="947" y="395"/>
                    </a:lnTo>
                    <a:lnTo>
                      <a:pt x="942" y="409"/>
                    </a:lnTo>
                    <a:lnTo>
                      <a:pt x="942" y="411"/>
                    </a:lnTo>
                    <a:lnTo>
                      <a:pt x="940" y="416"/>
                    </a:lnTo>
                    <a:lnTo>
                      <a:pt x="940" y="419"/>
                    </a:lnTo>
                    <a:lnTo>
                      <a:pt x="938" y="421"/>
                    </a:lnTo>
                    <a:lnTo>
                      <a:pt x="938" y="426"/>
                    </a:lnTo>
                    <a:lnTo>
                      <a:pt x="933" y="435"/>
                    </a:lnTo>
                    <a:lnTo>
                      <a:pt x="931" y="440"/>
                    </a:lnTo>
                    <a:lnTo>
                      <a:pt x="928" y="447"/>
                    </a:lnTo>
                    <a:lnTo>
                      <a:pt x="923" y="454"/>
                    </a:lnTo>
                    <a:lnTo>
                      <a:pt x="914" y="466"/>
                    </a:lnTo>
                    <a:lnTo>
                      <a:pt x="909" y="473"/>
                    </a:lnTo>
                    <a:lnTo>
                      <a:pt x="897" y="489"/>
                    </a:lnTo>
                    <a:lnTo>
                      <a:pt x="883" y="508"/>
                    </a:lnTo>
                    <a:lnTo>
                      <a:pt x="883" y="511"/>
                    </a:lnTo>
                    <a:lnTo>
                      <a:pt x="876" y="522"/>
                    </a:lnTo>
                    <a:lnTo>
                      <a:pt x="872" y="527"/>
                    </a:lnTo>
                    <a:lnTo>
                      <a:pt x="869" y="532"/>
                    </a:lnTo>
                    <a:lnTo>
                      <a:pt x="862" y="539"/>
                    </a:lnTo>
                    <a:lnTo>
                      <a:pt x="857" y="544"/>
                    </a:lnTo>
                    <a:lnTo>
                      <a:pt x="853" y="548"/>
                    </a:lnTo>
                    <a:lnTo>
                      <a:pt x="850" y="551"/>
                    </a:lnTo>
                    <a:lnTo>
                      <a:pt x="838" y="560"/>
                    </a:lnTo>
                    <a:lnTo>
                      <a:pt x="827" y="570"/>
                    </a:lnTo>
                    <a:lnTo>
                      <a:pt x="822" y="574"/>
                    </a:lnTo>
                    <a:lnTo>
                      <a:pt x="820" y="577"/>
                    </a:lnTo>
                    <a:lnTo>
                      <a:pt x="815" y="582"/>
                    </a:lnTo>
                    <a:lnTo>
                      <a:pt x="812" y="586"/>
                    </a:lnTo>
                    <a:lnTo>
                      <a:pt x="801" y="593"/>
                    </a:lnTo>
                    <a:lnTo>
                      <a:pt x="791" y="600"/>
                    </a:lnTo>
                    <a:lnTo>
                      <a:pt x="784" y="608"/>
                    </a:lnTo>
                    <a:lnTo>
                      <a:pt x="777" y="612"/>
                    </a:lnTo>
                    <a:lnTo>
                      <a:pt x="763" y="619"/>
                    </a:lnTo>
                    <a:lnTo>
                      <a:pt x="751" y="624"/>
                    </a:lnTo>
                    <a:lnTo>
                      <a:pt x="739" y="631"/>
                    </a:lnTo>
                    <a:lnTo>
                      <a:pt x="732" y="638"/>
                    </a:lnTo>
                    <a:lnTo>
                      <a:pt x="725" y="641"/>
                    </a:lnTo>
                    <a:lnTo>
                      <a:pt x="718" y="648"/>
                    </a:lnTo>
                    <a:lnTo>
                      <a:pt x="706" y="662"/>
                    </a:lnTo>
                    <a:lnTo>
                      <a:pt x="706" y="664"/>
                    </a:lnTo>
                    <a:lnTo>
                      <a:pt x="706" y="667"/>
                    </a:lnTo>
                    <a:lnTo>
                      <a:pt x="704" y="664"/>
                    </a:lnTo>
                    <a:lnTo>
                      <a:pt x="701" y="664"/>
                    </a:lnTo>
                    <a:lnTo>
                      <a:pt x="697" y="669"/>
                    </a:lnTo>
                    <a:lnTo>
                      <a:pt x="692" y="671"/>
                    </a:lnTo>
                    <a:lnTo>
                      <a:pt x="687" y="676"/>
                    </a:lnTo>
                    <a:lnTo>
                      <a:pt x="683" y="683"/>
                    </a:lnTo>
                    <a:lnTo>
                      <a:pt x="678" y="690"/>
                    </a:lnTo>
                    <a:lnTo>
                      <a:pt x="673" y="697"/>
                    </a:lnTo>
                    <a:lnTo>
                      <a:pt x="668" y="707"/>
                    </a:lnTo>
                    <a:lnTo>
                      <a:pt x="664" y="723"/>
                    </a:lnTo>
                    <a:lnTo>
                      <a:pt x="661" y="726"/>
                    </a:lnTo>
                    <a:lnTo>
                      <a:pt x="659" y="740"/>
                    </a:lnTo>
                    <a:lnTo>
                      <a:pt x="657" y="747"/>
                    </a:lnTo>
                    <a:lnTo>
                      <a:pt x="652" y="761"/>
                    </a:lnTo>
                    <a:lnTo>
                      <a:pt x="647" y="770"/>
                    </a:lnTo>
                    <a:lnTo>
                      <a:pt x="640" y="782"/>
                    </a:lnTo>
                    <a:lnTo>
                      <a:pt x="635" y="789"/>
                    </a:lnTo>
                    <a:lnTo>
                      <a:pt x="633" y="794"/>
                    </a:lnTo>
                    <a:lnTo>
                      <a:pt x="623" y="806"/>
                    </a:lnTo>
                    <a:lnTo>
                      <a:pt x="614" y="813"/>
                    </a:lnTo>
                    <a:lnTo>
                      <a:pt x="583" y="839"/>
                    </a:lnTo>
                    <a:lnTo>
                      <a:pt x="569" y="851"/>
                    </a:lnTo>
                    <a:lnTo>
                      <a:pt x="557" y="860"/>
                    </a:lnTo>
                    <a:lnTo>
                      <a:pt x="555" y="863"/>
                    </a:lnTo>
                    <a:lnTo>
                      <a:pt x="541" y="872"/>
                    </a:lnTo>
                    <a:lnTo>
                      <a:pt x="541" y="872"/>
                    </a:lnTo>
                    <a:lnTo>
                      <a:pt x="538" y="872"/>
                    </a:lnTo>
                    <a:lnTo>
                      <a:pt x="538" y="872"/>
                    </a:lnTo>
                    <a:lnTo>
                      <a:pt x="536" y="872"/>
                    </a:lnTo>
                    <a:lnTo>
                      <a:pt x="536" y="872"/>
                    </a:lnTo>
                    <a:lnTo>
                      <a:pt x="534" y="870"/>
                    </a:lnTo>
                    <a:lnTo>
                      <a:pt x="534" y="870"/>
                    </a:lnTo>
                    <a:lnTo>
                      <a:pt x="534" y="867"/>
                    </a:lnTo>
                    <a:lnTo>
                      <a:pt x="534" y="865"/>
                    </a:lnTo>
                    <a:lnTo>
                      <a:pt x="534" y="865"/>
                    </a:lnTo>
                    <a:lnTo>
                      <a:pt x="522" y="863"/>
                    </a:lnTo>
                    <a:lnTo>
                      <a:pt x="522" y="863"/>
                    </a:lnTo>
                    <a:lnTo>
                      <a:pt x="522" y="863"/>
                    </a:lnTo>
                    <a:lnTo>
                      <a:pt x="522" y="863"/>
                    </a:lnTo>
                    <a:lnTo>
                      <a:pt x="522" y="860"/>
                    </a:lnTo>
                    <a:lnTo>
                      <a:pt x="522" y="860"/>
                    </a:lnTo>
                    <a:lnTo>
                      <a:pt x="522" y="858"/>
                    </a:lnTo>
                    <a:lnTo>
                      <a:pt x="522" y="858"/>
                    </a:lnTo>
                    <a:lnTo>
                      <a:pt x="522" y="856"/>
                    </a:lnTo>
                    <a:lnTo>
                      <a:pt x="522" y="853"/>
                    </a:lnTo>
                    <a:lnTo>
                      <a:pt x="522" y="853"/>
                    </a:lnTo>
                    <a:lnTo>
                      <a:pt x="522" y="851"/>
                    </a:lnTo>
                    <a:lnTo>
                      <a:pt x="522" y="844"/>
                    </a:lnTo>
                    <a:lnTo>
                      <a:pt x="524" y="834"/>
                    </a:lnTo>
                    <a:lnTo>
                      <a:pt x="524" y="820"/>
                    </a:lnTo>
                    <a:lnTo>
                      <a:pt x="522" y="806"/>
                    </a:lnTo>
                    <a:lnTo>
                      <a:pt x="524" y="794"/>
                    </a:lnTo>
                    <a:lnTo>
                      <a:pt x="531" y="780"/>
                    </a:lnTo>
                    <a:lnTo>
                      <a:pt x="543" y="775"/>
                    </a:lnTo>
                    <a:lnTo>
                      <a:pt x="550" y="775"/>
                    </a:lnTo>
                    <a:lnTo>
                      <a:pt x="557" y="766"/>
                    </a:lnTo>
                    <a:lnTo>
                      <a:pt x="550" y="763"/>
                    </a:lnTo>
                    <a:lnTo>
                      <a:pt x="553" y="761"/>
                    </a:lnTo>
                    <a:lnTo>
                      <a:pt x="555" y="761"/>
                    </a:lnTo>
                    <a:lnTo>
                      <a:pt x="553" y="761"/>
                    </a:lnTo>
                    <a:lnTo>
                      <a:pt x="555" y="763"/>
                    </a:lnTo>
                    <a:lnTo>
                      <a:pt x="555" y="763"/>
                    </a:lnTo>
                    <a:lnTo>
                      <a:pt x="553" y="761"/>
                    </a:lnTo>
                    <a:lnTo>
                      <a:pt x="567" y="754"/>
                    </a:lnTo>
                    <a:lnTo>
                      <a:pt x="569" y="749"/>
                    </a:lnTo>
                    <a:lnTo>
                      <a:pt x="569" y="749"/>
                    </a:lnTo>
                    <a:lnTo>
                      <a:pt x="571" y="745"/>
                    </a:lnTo>
                    <a:lnTo>
                      <a:pt x="579" y="745"/>
                    </a:lnTo>
                    <a:lnTo>
                      <a:pt x="581" y="740"/>
                    </a:lnTo>
                    <a:lnTo>
                      <a:pt x="567" y="728"/>
                    </a:lnTo>
                    <a:lnTo>
                      <a:pt x="567" y="730"/>
                    </a:lnTo>
                    <a:lnTo>
                      <a:pt x="567" y="728"/>
                    </a:lnTo>
                    <a:lnTo>
                      <a:pt x="567" y="728"/>
                    </a:lnTo>
                    <a:lnTo>
                      <a:pt x="562" y="726"/>
                    </a:lnTo>
                    <a:lnTo>
                      <a:pt x="560" y="726"/>
                    </a:lnTo>
                    <a:lnTo>
                      <a:pt x="557" y="721"/>
                    </a:lnTo>
                    <a:lnTo>
                      <a:pt x="555" y="723"/>
                    </a:lnTo>
                    <a:lnTo>
                      <a:pt x="555" y="723"/>
                    </a:lnTo>
                    <a:lnTo>
                      <a:pt x="553" y="723"/>
                    </a:lnTo>
                    <a:lnTo>
                      <a:pt x="553" y="723"/>
                    </a:lnTo>
                    <a:lnTo>
                      <a:pt x="550" y="723"/>
                    </a:lnTo>
                    <a:lnTo>
                      <a:pt x="548" y="721"/>
                    </a:lnTo>
                    <a:lnTo>
                      <a:pt x="548" y="721"/>
                    </a:lnTo>
                    <a:lnTo>
                      <a:pt x="546" y="721"/>
                    </a:lnTo>
                    <a:lnTo>
                      <a:pt x="543" y="721"/>
                    </a:lnTo>
                    <a:lnTo>
                      <a:pt x="543" y="719"/>
                    </a:lnTo>
                    <a:lnTo>
                      <a:pt x="541" y="719"/>
                    </a:lnTo>
                    <a:lnTo>
                      <a:pt x="541" y="721"/>
                    </a:lnTo>
                    <a:lnTo>
                      <a:pt x="538" y="719"/>
                    </a:lnTo>
                    <a:lnTo>
                      <a:pt x="536" y="716"/>
                    </a:lnTo>
                    <a:lnTo>
                      <a:pt x="536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4" y="714"/>
                    </a:lnTo>
                    <a:lnTo>
                      <a:pt x="531" y="711"/>
                    </a:lnTo>
                    <a:lnTo>
                      <a:pt x="531" y="711"/>
                    </a:lnTo>
                    <a:lnTo>
                      <a:pt x="531" y="709"/>
                    </a:lnTo>
                    <a:lnTo>
                      <a:pt x="531" y="707"/>
                    </a:lnTo>
                    <a:lnTo>
                      <a:pt x="531" y="707"/>
                    </a:lnTo>
                    <a:lnTo>
                      <a:pt x="529" y="707"/>
                    </a:lnTo>
                    <a:lnTo>
                      <a:pt x="529" y="707"/>
                    </a:lnTo>
                    <a:lnTo>
                      <a:pt x="524" y="707"/>
                    </a:lnTo>
                    <a:lnTo>
                      <a:pt x="524" y="707"/>
                    </a:lnTo>
                    <a:lnTo>
                      <a:pt x="524" y="707"/>
                    </a:lnTo>
                    <a:lnTo>
                      <a:pt x="522" y="707"/>
                    </a:lnTo>
                    <a:lnTo>
                      <a:pt x="520" y="704"/>
                    </a:lnTo>
                    <a:lnTo>
                      <a:pt x="520" y="704"/>
                    </a:lnTo>
                    <a:lnTo>
                      <a:pt x="520" y="704"/>
                    </a:lnTo>
                    <a:lnTo>
                      <a:pt x="517" y="702"/>
                    </a:lnTo>
                    <a:lnTo>
                      <a:pt x="515" y="702"/>
                    </a:lnTo>
                    <a:lnTo>
                      <a:pt x="515" y="700"/>
                    </a:lnTo>
                    <a:lnTo>
                      <a:pt x="512" y="700"/>
                    </a:lnTo>
                    <a:lnTo>
                      <a:pt x="512" y="697"/>
                    </a:lnTo>
                    <a:lnTo>
                      <a:pt x="512" y="695"/>
                    </a:lnTo>
                    <a:lnTo>
                      <a:pt x="512" y="695"/>
                    </a:lnTo>
                    <a:lnTo>
                      <a:pt x="508" y="693"/>
                    </a:lnTo>
                    <a:lnTo>
                      <a:pt x="508" y="693"/>
                    </a:lnTo>
                    <a:lnTo>
                      <a:pt x="510" y="688"/>
                    </a:lnTo>
                    <a:lnTo>
                      <a:pt x="508" y="688"/>
                    </a:lnTo>
                    <a:lnTo>
                      <a:pt x="508" y="685"/>
                    </a:lnTo>
                    <a:lnTo>
                      <a:pt x="505" y="685"/>
                    </a:lnTo>
                    <a:lnTo>
                      <a:pt x="505" y="683"/>
                    </a:lnTo>
                    <a:lnTo>
                      <a:pt x="508" y="683"/>
                    </a:lnTo>
                    <a:lnTo>
                      <a:pt x="508" y="683"/>
                    </a:lnTo>
                    <a:lnTo>
                      <a:pt x="505" y="681"/>
                    </a:lnTo>
                    <a:lnTo>
                      <a:pt x="505" y="678"/>
                    </a:lnTo>
                    <a:lnTo>
                      <a:pt x="505" y="678"/>
                    </a:lnTo>
                    <a:lnTo>
                      <a:pt x="503" y="676"/>
                    </a:lnTo>
                    <a:lnTo>
                      <a:pt x="503" y="674"/>
                    </a:lnTo>
                    <a:lnTo>
                      <a:pt x="503" y="671"/>
                    </a:lnTo>
                    <a:lnTo>
                      <a:pt x="501" y="671"/>
                    </a:lnTo>
                    <a:lnTo>
                      <a:pt x="501" y="669"/>
                    </a:lnTo>
                    <a:lnTo>
                      <a:pt x="501" y="669"/>
                    </a:lnTo>
                    <a:lnTo>
                      <a:pt x="501" y="669"/>
                    </a:lnTo>
                    <a:lnTo>
                      <a:pt x="501" y="669"/>
                    </a:lnTo>
                    <a:lnTo>
                      <a:pt x="498" y="667"/>
                    </a:lnTo>
                    <a:lnTo>
                      <a:pt x="498" y="667"/>
                    </a:lnTo>
                    <a:lnTo>
                      <a:pt x="498" y="667"/>
                    </a:lnTo>
                    <a:lnTo>
                      <a:pt x="498" y="662"/>
                    </a:lnTo>
                    <a:lnTo>
                      <a:pt x="496" y="662"/>
                    </a:lnTo>
                    <a:lnTo>
                      <a:pt x="496" y="662"/>
                    </a:lnTo>
                    <a:lnTo>
                      <a:pt x="496" y="662"/>
                    </a:lnTo>
                    <a:lnTo>
                      <a:pt x="496" y="657"/>
                    </a:lnTo>
                    <a:lnTo>
                      <a:pt x="496" y="657"/>
                    </a:lnTo>
                    <a:lnTo>
                      <a:pt x="496" y="657"/>
                    </a:lnTo>
                    <a:lnTo>
                      <a:pt x="496" y="657"/>
                    </a:lnTo>
                    <a:lnTo>
                      <a:pt x="498" y="657"/>
                    </a:lnTo>
                    <a:lnTo>
                      <a:pt x="496" y="655"/>
                    </a:lnTo>
                    <a:lnTo>
                      <a:pt x="496" y="652"/>
                    </a:lnTo>
                    <a:lnTo>
                      <a:pt x="494" y="652"/>
                    </a:lnTo>
                    <a:lnTo>
                      <a:pt x="494" y="652"/>
                    </a:lnTo>
                    <a:lnTo>
                      <a:pt x="494" y="652"/>
                    </a:lnTo>
                    <a:lnTo>
                      <a:pt x="491" y="652"/>
                    </a:lnTo>
                    <a:lnTo>
                      <a:pt x="491" y="652"/>
                    </a:lnTo>
                    <a:lnTo>
                      <a:pt x="489" y="652"/>
                    </a:lnTo>
                    <a:lnTo>
                      <a:pt x="489" y="652"/>
                    </a:lnTo>
                    <a:lnTo>
                      <a:pt x="486" y="652"/>
                    </a:lnTo>
                    <a:lnTo>
                      <a:pt x="486" y="650"/>
                    </a:lnTo>
                    <a:lnTo>
                      <a:pt x="484" y="650"/>
                    </a:lnTo>
                    <a:lnTo>
                      <a:pt x="484" y="650"/>
                    </a:lnTo>
                    <a:lnTo>
                      <a:pt x="484" y="648"/>
                    </a:lnTo>
                    <a:lnTo>
                      <a:pt x="482" y="648"/>
                    </a:lnTo>
                    <a:lnTo>
                      <a:pt x="484" y="648"/>
                    </a:lnTo>
                    <a:lnTo>
                      <a:pt x="482" y="648"/>
                    </a:lnTo>
                    <a:lnTo>
                      <a:pt x="482" y="648"/>
                    </a:lnTo>
                    <a:lnTo>
                      <a:pt x="482" y="645"/>
                    </a:lnTo>
                    <a:lnTo>
                      <a:pt x="482" y="643"/>
                    </a:lnTo>
                    <a:lnTo>
                      <a:pt x="482" y="643"/>
                    </a:lnTo>
                    <a:lnTo>
                      <a:pt x="479" y="643"/>
                    </a:lnTo>
                    <a:lnTo>
                      <a:pt x="479" y="643"/>
                    </a:lnTo>
                    <a:lnTo>
                      <a:pt x="477" y="643"/>
                    </a:lnTo>
                    <a:lnTo>
                      <a:pt x="475" y="641"/>
                    </a:lnTo>
                    <a:lnTo>
                      <a:pt x="475" y="641"/>
                    </a:lnTo>
                    <a:lnTo>
                      <a:pt x="475" y="638"/>
                    </a:lnTo>
                    <a:lnTo>
                      <a:pt x="472" y="638"/>
                    </a:lnTo>
                    <a:lnTo>
                      <a:pt x="470" y="638"/>
                    </a:lnTo>
                    <a:lnTo>
                      <a:pt x="468" y="638"/>
                    </a:lnTo>
                    <a:lnTo>
                      <a:pt x="468" y="638"/>
                    </a:lnTo>
                    <a:lnTo>
                      <a:pt x="465" y="636"/>
                    </a:lnTo>
                    <a:lnTo>
                      <a:pt x="465" y="633"/>
                    </a:lnTo>
                    <a:lnTo>
                      <a:pt x="468" y="633"/>
                    </a:lnTo>
                    <a:lnTo>
                      <a:pt x="468" y="633"/>
                    </a:lnTo>
                    <a:lnTo>
                      <a:pt x="468" y="633"/>
                    </a:lnTo>
                    <a:lnTo>
                      <a:pt x="468" y="633"/>
                    </a:lnTo>
                    <a:lnTo>
                      <a:pt x="468" y="633"/>
                    </a:lnTo>
                    <a:lnTo>
                      <a:pt x="465" y="631"/>
                    </a:lnTo>
                    <a:lnTo>
                      <a:pt x="463" y="631"/>
                    </a:lnTo>
                    <a:lnTo>
                      <a:pt x="460" y="631"/>
                    </a:lnTo>
                    <a:lnTo>
                      <a:pt x="460" y="631"/>
                    </a:lnTo>
                    <a:lnTo>
                      <a:pt x="460" y="631"/>
                    </a:lnTo>
                    <a:lnTo>
                      <a:pt x="460" y="631"/>
                    </a:lnTo>
                    <a:lnTo>
                      <a:pt x="458" y="629"/>
                    </a:lnTo>
                    <a:lnTo>
                      <a:pt x="458" y="629"/>
                    </a:lnTo>
                    <a:lnTo>
                      <a:pt x="458" y="629"/>
                    </a:lnTo>
                    <a:lnTo>
                      <a:pt x="458" y="629"/>
                    </a:lnTo>
                    <a:lnTo>
                      <a:pt x="458" y="629"/>
                    </a:lnTo>
                    <a:lnTo>
                      <a:pt x="456" y="631"/>
                    </a:lnTo>
                    <a:lnTo>
                      <a:pt x="456" y="631"/>
                    </a:lnTo>
                    <a:lnTo>
                      <a:pt x="456" y="631"/>
                    </a:lnTo>
                    <a:lnTo>
                      <a:pt x="453" y="633"/>
                    </a:lnTo>
                    <a:lnTo>
                      <a:pt x="453" y="631"/>
                    </a:lnTo>
                    <a:lnTo>
                      <a:pt x="451" y="633"/>
                    </a:lnTo>
                    <a:lnTo>
                      <a:pt x="451" y="633"/>
                    </a:lnTo>
                    <a:lnTo>
                      <a:pt x="449" y="633"/>
                    </a:lnTo>
                    <a:lnTo>
                      <a:pt x="449" y="633"/>
                    </a:lnTo>
                    <a:lnTo>
                      <a:pt x="449" y="631"/>
                    </a:lnTo>
                    <a:lnTo>
                      <a:pt x="449" y="631"/>
                    </a:lnTo>
                    <a:lnTo>
                      <a:pt x="449" y="631"/>
                    </a:lnTo>
                    <a:lnTo>
                      <a:pt x="444" y="629"/>
                    </a:lnTo>
                    <a:lnTo>
                      <a:pt x="444" y="629"/>
                    </a:lnTo>
                    <a:lnTo>
                      <a:pt x="442" y="626"/>
                    </a:lnTo>
                    <a:lnTo>
                      <a:pt x="404" y="598"/>
                    </a:lnTo>
                    <a:lnTo>
                      <a:pt x="406" y="596"/>
                    </a:lnTo>
                    <a:lnTo>
                      <a:pt x="404" y="596"/>
                    </a:lnTo>
                    <a:lnTo>
                      <a:pt x="404" y="593"/>
                    </a:lnTo>
                    <a:lnTo>
                      <a:pt x="404" y="593"/>
                    </a:lnTo>
                    <a:lnTo>
                      <a:pt x="404" y="591"/>
                    </a:lnTo>
                    <a:lnTo>
                      <a:pt x="404" y="591"/>
                    </a:lnTo>
                    <a:lnTo>
                      <a:pt x="404" y="591"/>
                    </a:lnTo>
                    <a:lnTo>
                      <a:pt x="404" y="591"/>
                    </a:lnTo>
                    <a:lnTo>
                      <a:pt x="404" y="589"/>
                    </a:lnTo>
                    <a:lnTo>
                      <a:pt x="404" y="591"/>
                    </a:lnTo>
                    <a:lnTo>
                      <a:pt x="401" y="586"/>
                    </a:lnTo>
                    <a:lnTo>
                      <a:pt x="401" y="586"/>
                    </a:lnTo>
                    <a:lnTo>
                      <a:pt x="399" y="586"/>
                    </a:lnTo>
                    <a:lnTo>
                      <a:pt x="401" y="584"/>
                    </a:lnTo>
                    <a:lnTo>
                      <a:pt x="397" y="579"/>
                    </a:lnTo>
                    <a:lnTo>
                      <a:pt x="397" y="579"/>
                    </a:lnTo>
                    <a:lnTo>
                      <a:pt x="394" y="577"/>
                    </a:lnTo>
                    <a:lnTo>
                      <a:pt x="392" y="577"/>
                    </a:lnTo>
                    <a:lnTo>
                      <a:pt x="392" y="577"/>
                    </a:lnTo>
                    <a:lnTo>
                      <a:pt x="392" y="577"/>
                    </a:lnTo>
                    <a:lnTo>
                      <a:pt x="392" y="577"/>
                    </a:lnTo>
                    <a:lnTo>
                      <a:pt x="390" y="574"/>
                    </a:lnTo>
                    <a:lnTo>
                      <a:pt x="390" y="574"/>
                    </a:lnTo>
                    <a:lnTo>
                      <a:pt x="390" y="572"/>
                    </a:lnTo>
                    <a:lnTo>
                      <a:pt x="390" y="572"/>
                    </a:lnTo>
                    <a:lnTo>
                      <a:pt x="378" y="572"/>
                    </a:lnTo>
                    <a:lnTo>
                      <a:pt x="375" y="570"/>
                    </a:lnTo>
                    <a:lnTo>
                      <a:pt x="375" y="570"/>
                    </a:lnTo>
                    <a:lnTo>
                      <a:pt x="373" y="570"/>
                    </a:lnTo>
                    <a:lnTo>
                      <a:pt x="373" y="570"/>
                    </a:lnTo>
                    <a:lnTo>
                      <a:pt x="371" y="570"/>
                    </a:lnTo>
                    <a:lnTo>
                      <a:pt x="371" y="567"/>
                    </a:lnTo>
                    <a:lnTo>
                      <a:pt x="366" y="567"/>
                    </a:lnTo>
                    <a:lnTo>
                      <a:pt x="364" y="570"/>
                    </a:lnTo>
                    <a:lnTo>
                      <a:pt x="361" y="567"/>
                    </a:lnTo>
                    <a:lnTo>
                      <a:pt x="359" y="570"/>
                    </a:lnTo>
                    <a:lnTo>
                      <a:pt x="357" y="570"/>
                    </a:lnTo>
                    <a:lnTo>
                      <a:pt x="357" y="570"/>
                    </a:lnTo>
                    <a:lnTo>
                      <a:pt x="354" y="567"/>
                    </a:lnTo>
                    <a:lnTo>
                      <a:pt x="354" y="567"/>
                    </a:lnTo>
                    <a:lnTo>
                      <a:pt x="354" y="565"/>
                    </a:lnTo>
                    <a:lnTo>
                      <a:pt x="352" y="565"/>
                    </a:lnTo>
                    <a:lnTo>
                      <a:pt x="349" y="563"/>
                    </a:lnTo>
                    <a:lnTo>
                      <a:pt x="349" y="563"/>
                    </a:lnTo>
                    <a:lnTo>
                      <a:pt x="349" y="560"/>
                    </a:lnTo>
                    <a:lnTo>
                      <a:pt x="349" y="560"/>
                    </a:lnTo>
                    <a:lnTo>
                      <a:pt x="349" y="563"/>
                    </a:lnTo>
                    <a:lnTo>
                      <a:pt x="347" y="563"/>
                    </a:lnTo>
                    <a:lnTo>
                      <a:pt x="345" y="560"/>
                    </a:lnTo>
                    <a:lnTo>
                      <a:pt x="345" y="563"/>
                    </a:lnTo>
                    <a:lnTo>
                      <a:pt x="345" y="563"/>
                    </a:lnTo>
                    <a:lnTo>
                      <a:pt x="345" y="560"/>
                    </a:lnTo>
                    <a:lnTo>
                      <a:pt x="345" y="560"/>
                    </a:lnTo>
                    <a:lnTo>
                      <a:pt x="345" y="560"/>
                    </a:lnTo>
                    <a:lnTo>
                      <a:pt x="345" y="558"/>
                    </a:lnTo>
                    <a:lnTo>
                      <a:pt x="340" y="558"/>
                    </a:lnTo>
                    <a:lnTo>
                      <a:pt x="340" y="558"/>
                    </a:lnTo>
                    <a:lnTo>
                      <a:pt x="342" y="556"/>
                    </a:lnTo>
                    <a:lnTo>
                      <a:pt x="342" y="556"/>
                    </a:lnTo>
                    <a:lnTo>
                      <a:pt x="340" y="556"/>
                    </a:lnTo>
                    <a:lnTo>
                      <a:pt x="338" y="553"/>
                    </a:lnTo>
                    <a:lnTo>
                      <a:pt x="338" y="553"/>
                    </a:lnTo>
                    <a:lnTo>
                      <a:pt x="338" y="551"/>
                    </a:lnTo>
                    <a:lnTo>
                      <a:pt x="338" y="551"/>
                    </a:lnTo>
                    <a:lnTo>
                      <a:pt x="335" y="551"/>
                    </a:lnTo>
                    <a:lnTo>
                      <a:pt x="338" y="548"/>
                    </a:lnTo>
                    <a:lnTo>
                      <a:pt x="335" y="548"/>
                    </a:lnTo>
                    <a:lnTo>
                      <a:pt x="335" y="548"/>
                    </a:lnTo>
                    <a:lnTo>
                      <a:pt x="335" y="548"/>
                    </a:lnTo>
                    <a:lnTo>
                      <a:pt x="335" y="546"/>
                    </a:lnTo>
                    <a:lnTo>
                      <a:pt x="335" y="548"/>
                    </a:lnTo>
                    <a:lnTo>
                      <a:pt x="333" y="546"/>
                    </a:lnTo>
                    <a:lnTo>
                      <a:pt x="331" y="548"/>
                    </a:lnTo>
                    <a:lnTo>
                      <a:pt x="331" y="548"/>
                    </a:lnTo>
                    <a:lnTo>
                      <a:pt x="331" y="548"/>
                    </a:lnTo>
                    <a:lnTo>
                      <a:pt x="331" y="548"/>
                    </a:lnTo>
                    <a:lnTo>
                      <a:pt x="331" y="551"/>
                    </a:lnTo>
                    <a:lnTo>
                      <a:pt x="331" y="553"/>
                    </a:lnTo>
                    <a:lnTo>
                      <a:pt x="328" y="553"/>
                    </a:lnTo>
                    <a:lnTo>
                      <a:pt x="328" y="553"/>
                    </a:lnTo>
                    <a:lnTo>
                      <a:pt x="328" y="556"/>
                    </a:lnTo>
                    <a:lnTo>
                      <a:pt x="328" y="556"/>
                    </a:lnTo>
                    <a:lnTo>
                      <a:pt x="326" y="556"/>
                    </a:lnTo>
                    <a:lnTo>
                      <a:pt x="326" y="556"/>
                    </a:lnTo>
                    <a:lnTo>
                      <a:pt x="323" y="553"/>
                    </a:lnTo>
                    <a:lnTo>
                      <a:pt x="321" y="553"/>
                    </a:lnTo>
                    <a:lnTo>
                      <a:pt x="321" y="553"/>
                    </a:lnTo>
                    <a:lnTo>
                      <a:pt x="321" y="551"/>
                    </a:lnTo>
                    <a:lnTo>
                      <a:pt x="319" y="551"/>
                    </a:lnTo>
                    <a:lnTo>
                      <a:pt x="319" y="551"/>
                    </a:lnTo>
                    <a:lnTo>
                      <a:pt x="316" y="551"/>
                    </a:lnTo>
                    <a:lnTo>
                      <a:pt x="316" y="548"/>
                    </a:lnTo>
                    <a:lnTo>
                      <a:pt x="316" y="548"/>
                    </a:lnTo>
                    <a:lnTo>
                      <a:pt x="314" y="548"/>
                    </a:lnTo>
                    <a:lnTo>
                      <a:pt x="316" y="548"/>
                    </a:lnTo>
                    <a:lnTo>
                      <a:pt x="314" y="548"/>
                    </a:lnTo>
                    <a:lnTo>
                      <a:pt x="312" y="548"/>
                    </a:lnTo>
                    <a:lnTo>
                      <a:pt x="312" y="546"/>
                    </a:lnTo>
                    <a:lnTo>
                      <a:pt x="307" y="546"/>
                    </a:lnTo>
                    <a:lnTo>
                      <a:pt x="305" y="546"/>
                    </a:lnTo>
                    <a:lnTo>
                      <a:pt x="305" y="546"/>
                    </a:lnTo>
                    <a:lnTo>
                      <a:pt x="305" y="546"/>
                    </a:lnTo>
                    <a:lnTo>
                      <a:pt x="305" y="541"/>
                    </a:lnTo>
                    <a:lnTo>
                      <a:pt x="302" y="539"/>
                    </a:lnTo>
                    <a:lnTo>
                      <a:pt x="305" y="539"/>
                    </a:lnTo>
                    <a:lnTo>
                      <a:pt x="302" y="537"/>
                    </a:lnTo>
                    <a:lnTo>
                      <a:pt x="300" y="537"/>
                    </a:lnTo>
                    <a:lnTo>
                      <a:pt x="300" y="537"/>
                    </a:lnTo>
                    <a:lnTo>
                      <a:pt x="302" y="537"/>
                    </a:lnTo>
                    <a:lnTo>
                      <a:pt x="300" y="534"/>
                    </a:lnTo>
                    <a:lnTo>
                      <a:pt x="300" y="534"/>
                    </a:lnTo>
                    <a:lnTo>
                      <a:pt x="300" y="532"/>
                    </a:lnTo>
                    <a:lnTo>
                      <a:pt x="300" y="532"/>
                    </a:lnTo>
                    <a:lnTo>
                      <a:pt x="300" y="532"/>
                    </a:lnTo>
                    <a:lnTo>
                      <a:pt x="300" y="532"/>
                    </a:lnTo>
                    <a:lnTo>
                      <a:pt x="297" y="530"/>
                    </a:lnTo>
                    <a:lnTo>
                      <a:pt x="297" y="532"/>
                    </a:lnTo>
                    <a:lnTo>
                      <a:pt x="295" y="532"/>
                    </a:lnTo>
                    <a:lnTo>
                      <a:pt x="295" y="530"/>
                    </a:lnTo>
                    <a:lnTo>
                      <a:pt x="295" y="530"/>
                    </a:lnTo>
                    <a:lnTo>
                      <a:pt x="293" y="530"/>
                    </a:lnTo>
                    <a:lnTo>
                      <a:pt x="293" y="530"/>
                    </a:lnTo>
                    <a:lnTo>
                      <a:pt x="293" y="527"/>
                    </a:lnTo>
                    <a:lnTo>
                      <a:pt x="293" y="527"/>
                    </a:lnTo>
                    <a:lnTo>
                      <a:pt x="293" y="527"/>
                    </a:lnTo>
                    <a:lnTo>
                      <a:pt x="293" y="527"/>
                    </a:lnTo>
                    <a:lnTo>
                      <a:pt x="293" y="525"/>
                    </a:lnTo>
                    <a:lnTo>
                      <a:pt x="295" y="522"/>
                    </a:lnTo>
                    <a:lnTo>
                      <a:pt x="293" y="522"/>
                    </a:lnTo>
                    <a:lnTo>
                      <a:pt x="290" y="520"/>
                    </a:lnTo>
                    <a:lnTo>
                      <a:pt x="290" y="522"/>
                    </a:lnTo>
                    <a:lnTo>
                      <a:pt x="290" y="520"/>
                    </a:lnTo>
                    <a:lnTo>
                      <a:pt x="290" y="520"/>
                    </a:lnTo>
                    <a:lnTo>
                      <a:pt x="290" y="518"/>
                    </a:lnTo>
                    <a:lnTo>
                      <a:pt x="290" y="518"/>
                    </a:lnTo>
                    <a:lnTo>
                      <a:pt x="288" y="518"/>
                    </a:lnTo>
                    <a:lnTo>
                      <a:pt x="288" y="515"/>
                    </a:lnTo>
                    <a:lnTo>
                      <a:pt x="288" y="515"/>
                    </a:lnTo>
                    <a:lnTo>
                      <a:pt x="286" y="515"/>
                    </a:lnTo>
                    <a:lnTo>
                      <a:pt x="286" y="515"/>
                    </a:lnTo>
                    <a:lnTo>
                      <a:pt x="283" y="515"/>
                    </a:lnTo>
                    <a:lnTo>
                      <a:pt x="283" y="515"/>
                    </a:lnTo>
                    <a:lnTo>
                      <a:pt x="283" y="513"/>
                    </a:lnTo>
                    <a:lnTo>
                      <a:pt x="281" y="513"/>
                    </a:lnTo>
                    <a:lnTo>
                      <a:pt x="281" y="513"/>
                    </a:lnTo>
                    <a:lnTo>
                      <a:pt x="281" y="511"/>
                    </a:lnTo>
                    <a:lnTo>
                      <a:pt x="281" y="511"/>
                    </a:lnTo>
                    <a:lnTo>
                      <a:pt x="281" y="511"/>
                    </a:lnTo>
                    <a:lnTo>
                      <a:pt x="281" y="508"/>
                    </a:lnTo>
                    <a:lnTo>
                      <a:pt x="281" y="508"/>
                    </a:lnTo>
                    <a:lnTo>
                      <a:pt x="281" y="508"/>
                    </a:lnTo>
                    <a:lnTo>
                      <a:pt x="279" y="508"/>
                    </a:lnTo>
                    <a:lnTo>
                      <a:pt x="276" y="506"/>
                    </a:lnTo>
                    <a:lnTo>
                      <a:pt x="274" y="506"/>
                    </a:lnTo>
                    <a:lnTo>
                      <a:pt x="274" y="506"/>
                    </a:lnTo>
                    <a:lnTo>
                      <a:pt x="274" y="504"/>
                    </a:lnTo>
                    <a:lnTo>
                      <a:pt x="274" y="504"/>
                    </a:lnTo>
                    <a:lnTo>
                      <a:pt x="271" y="501"/>
                    </a:lnTo>
                    <a:lnTo>
                      <a:pt x="271" y="501"/>
                    </a:lnTo>
                    <a:lnTo>
                      <a:pt x="271" y="499"/>
                    </a:lnTo>
                    <a:lnTo>
                      <a:pt x="269" y="499"/>
                    </a:lnTo>
                    <a:lnTo>
                      <a:pt x="267" y="499"/>
                    </a:lnTo>
                    <a:lnTo>
                      <a:pt x="267" y="499"/>
                    </a:lnTo>
                    <a:lnTo>
                      <a:pt x="267" y="496"/>
                    </a:lnTo>
                    <a:lnTo>
                      <a:pt x="264" y="496"/>
                    </a:lnTo>
                    <a:lnTo>
                      <a:pt x="264" y="494"/>
                    </a:lnTo>
                    <a:lnTo>
                      <a:pt x="264" y="494"/>
                    </a:lnTo>
                    <a:lnTo>
                      <a:pt x="264" y="492"/>
                    </a:lnTo>
                    <a:lnTo>
                      <a:pt x="262" y="492"/>
                    </a:lnTo>
                    <a:lnTo>
                      <a:pt x="262" y="492"/>
                    </a:lnTo>
                    <a:lnTo>
                      <a:pt x="262" y="492"/>
                    </a:lnTo>
                    <a:lnTo>
                      <a:pt x="262" y="492"/>
                    </a:lnTo>
                    <a:lnTo>
                      <a:pt x="260" y="492"/>
                    </a:lnTo>
                    <a:lnTo>
                      <a:pt x="257" y="492"/>
                    </a:lnTo>
                    <a:lnTo>
                      <a:pt x="257" y="492"/>
                    </a:lnTo>
                    <a:lnTo>
                      <a:pt x="257" y="492"/>
                    </a:lnTo>
                    <a:lnTo>
                      <a:pt x="255" y="492"/>
                    </a:lnTo>
                    <a:lnTo>
                      <a:pt x="255" y="492"/>
                    </a:lnTo>
                    <a:lnTo>
                      <a:pt x="255" y="494"/>
                    </a:lnTo>
                    <a:lnTo>
                      <a:pt x="253" y="494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6"/>
                    </a:lnTo>
                    <a:lnTo>
                      <a:pt x="253" y="496"/>
                    </a:lnTo>
                    <a:lnTo>
                      <a:pt x="253" y="499"/>
                    </a:lnTo>
                    <a:lnTo>
                      <a:pt x="255" y="501"/>
                    </a:lnTo>
                    <a:lnTo>
                      <a:pt x="253" y="501"/>
                    </a:lnTo>
                    <a:lnTo>
                      <a:pt x="253" y="501"/>
                    </a:lnTo>
                    <a:lnTo>
                      <a:pt x="253" y="504"/>
                    </a:lnTo>
                    <a:lnTo>
                      <a:pt x="253" y="504"/>
                    </a:lnTo>
                    <a:lnTo>
                      <a:pt x="253" y="506"/>
                    </a:lnTo>
                    <a:lnTo>
                      <a:pt x="253" y="506"/>
                    </a:lnTo>
                    <a:lnTo>
                      <a:pt x="250" y="506"/>
                    </a:lnTo>
                    <a:lnTo>
                      <a:pt x="248" y="506"/>
                    </a:lnTo>
                    <a:lnTo>
                      <a:pt x="248" y="506"/>
                    </a:lnTo>
                    <a:lnTo>
                      <a:pt x="248" y="504"/>
                    </a:lnTo>
                    <a:lnTo>
                      <a:pt x="245" y="506"/>
                    </a:lnTo>
                    <a:lnTo>
                      <a:pt x="245" y="506"/>
                    </a:lnTo>
                    <a:lnTo>
                      <a:pt x="245" y="504"/>
                    </a:lnTo>
                    <a:lnTo>
                      <a:pt x="243" y="504"/>
                    </a:lnTo>
                    <a:lnTo>
                      <a:pt x="245" y="506"/>
                    </a:lnTo>
                    <a:lnTo>
                      <a:pt x="243" y="506"/>
                    </a:lnTo>
                    <a:lnTo>
                      <a:pt x="243" y="508"/>
                    </a:lnTo>
                    <a:lnTo>
                      <a:pt x="243" y="508"/>
                    </a:lnTo>
                    <a:lnTo>
                      <a:pt x="243" y="511"/>
                    </a:lnTo>
                    <a:lnTo>
                      <a:pt x="241" y="511"/>
                    </a:lnTo>
                    <a:lnTo>
                      <a:pt x="241" y="511"/>
                    </a:lnTo>
                    <a:lnTo>
                      <a:pt x="241" y="513"/>
                    </a:lnTo>
                    <a:lnTo>
                      <a:pt x="238" y="511"/>
                    </a:lnTo>
                    <a:lnTo>
                      <a:pt x="238" y="513"/>
                    </a:lnTo>
                    <a:lnTo>
                      <a:pt x="236" y="513"/>
                    </a:lnTo>
                    <a:lnTo>
                      <a:pt x="234" y="513"/>
                    </a:lnTo>
                    <a:lnTo>
                      <a:pt x="234" y="513"/>
                    </a:lnTo>
                    <a:lnTo>
                      <a:pt x="234" y="515"/>
                    </a:lnTo>
                    <a:lnTo>
                      <a:pt x="231" y="518"/>
                    </a:lnTo>
                    <a:lnTo>
                      <a:pt x="231" y="518"/>
                    </a:lnTo>
                    <a:lnTo>
                      <a:pt x="229" y="518"/>
                    </a:lnTo>
                    <a:lnTo>
                      <a:pt x="227" y="518"/>
                    </a:lnTo>
                    <a:lnTo>
                      <a:pt x="227" y="522"/>
                    </a:lnTo>
                    <a:lnTo>
                      <a:pt x="224" y="522"/>
                    </a:lnTo>
                    <a:lnTo>
                      <a:pt x="224" y="522"/>
                    </a:lnTo>
                    <a:lnTo>
                      <a:pt x="224" y="522"/>
                    </a:lnTo>
                    <a:lnTo>
                      <a:pt x="222" y="520"/>
                    </a:lnTo>
                    <a:lnTo>
                      <a:pt x="220" y="522"/>
                    </a:lnTo>
                    <a:lnTo>
                      <a:pt x="220" y="522"/>
                    </a:lnTo>
                    <a:lnTo>
                      <a:pt x="217" y="522"/>
                    </a:lnTo>
                    <a:lnTo>
                      <a:pt x="217" y="522"/>
                    </a:lnTo>
                    <a:lnTo>
                      <a:pt x="215" y="522"/>
                    </a:lnTo>
                    <a:lnTo>
                      <a:pt x="212" y="522"/>
                    </a:lnTo>
                    <a:lnTo>
                      <a:pt x="210" y="522"/>
                    </a:lnTo>
                    <a:lnTo>
                      <a:pt x="210" y="522"/>
                    </a:lnTo>
                    <a:lnTo>
                      <a:pt x="208" y="522"/>
                    </a:lnTo>
                    <a:lnTo>
                      <a:pt x="208" y="522"/>
                    </a:lnTo>
                    <a:lnTo>
                      <a:pt x="208" y="518"/>
                    </a:lnTo>
                    <a:lnTo>
                      <a:pt x="208" y="513"/>
                    </a:lnTo>
                    <a:lnTo>
                      <a:pt x="208" y="511"/>
                    </a:lnTo>
                    <a:lnTo>
                      <a:pt x="208" y="508"/>
                    </a:lnTo>
                    <a:lnTo>
                      <a:pt x="208" y="508"/>
                    </a:lnTo>
                    <a:lnTo>
                      <a:pt x="208" y="506"/>
                    </a:lnTo>
                    <a:lnTo>
                      <a:pt x="208" y="506"/>
                    </a:lnTo>
                    <a:lnTo>
                      <a:pt x="208" y="506"/>
                    </a:lnTo>
                    <a:lnTo>
                      <a:pt x="208" y="501"/>
                    </a:lnTo>
                    <a:lnTo>
                      <a:pt x="208" y="501"/>
                    </a:lnTo>
                    <a:lnTo>
                      <a:pt x="208" y="499"/>
                    </a:lnTo>
                    <a:lnTo>
                      <a:pt x="210" y="494"/>
                    </a:lnTo>
                    <a:lnTo>
                      <a:pt x="210" y="494"/>
                    </a:lnTo>
                    <a:lnTo>
                      <a:pt x="210" y="492"/>
                    </a:lnTo>
                    <a:lnTo>
                      <a:pt x="208" y="492"/>
                    </a:lnTo>
                    <a:lnTo>
                      <a:pt x="208" y="489"/>
                    </a:lnTo>
                    <a:lnTo>
                      <a:pt x="208" y="487"/>
                    </a:lnTo>
                    <a:lnTo>
                      <a:pt x="208" y="487"/>
                    </a:lnTo>
                    <a:lnTo>
                      <a:pt x="208" y="487"/>
                    </a:lnTo>
                    <a:lnTo>
                      <a:pt x="205" y="487"/>
                    </a:lnTo>
                    <a:lnTo>
                      <a:pt x="205" y="485"/>
                    </a:lnTo>
                    <a:lnTo>
                      <a:pt x="205" y="485"/>
                    </a:lnTo>
                    <a:lnTo>
                      <a:pt x="203" y="485"/>
                    </a:lnTo>
                    <a:lnTo>
                      <a:pt x="203" y="482"/>
                    </a:lnTo>
                    <a:lnTo>
                      <a:pt x="203" y="482"/>
                    </a:lnTo>
                    <a:lnTo>
                      <a:pt x="203" y="482"/>
                    </a:lnTo>
                    <a:lnTo>
                      <a:pt x="201" y="482"/>
                    </a:lnTo>
                    <a:lnTo>
                      <a:pt x="201" y="482"/>
                    </a:lnTo>
                    <a:lnTo>
                      <a:pt x="201" y="480"/>
                    </a:lnTo>
                    <a:lnTo>
                      <a:pt x="201" y="478"/>
                    </a:lnTo>
                    <a:lnTo>
                      <a:pt x="198" y="478"/>
                    </a:lnTo>
                    <a:lnTo>
                      <a:pt x="198" y="480"/>
                    </a:lnTo>
                    <a:lnTo>
                      <a:pt x="196" y="480"/>
                    </a:lnTo>
                    <a:lnTo>
                      <a:pt x="196" y="478"/>
                    </a:lnTo>
                    <a:lnTo>
                      <a:pt x="194" y="478"/>
                    </a:lnTo>
                    <a:lnTo>
                      <a:pt x="194" y="478"/>
                    </a:lnTo>
                    <a:lnTo>
                      <a:pt x="191" y="478"/>
                    </a:lnTo>
                    <a:lnTo>
                      <a:pt x="191" y="478"/>
                    </a:lnTo>
                    <a:lnTo>
                      <a:pt x="194" y="475"/>
                    </a:lnTo>
                    <a:lnTo>
                      <a:pt x="191" y="475"/>
                    </a:lnTo>
                    <a:lnTo>
                      <a:pt x="191" y="475"/>
                    </a:lnTo>
                    <a:lnTo>
                      <a:pt x="189" y="473"/>
                    </a:lnTo>
                    <a:lnTo>
                      <a:pt x="189" y="473"/>
                    </a:lnTo>
                    <a:lnTo>
                      <a:pt x="191" y="470"/>
                    </a:lnTo>
                    <a:lnTo>
                      <a:pt x="191" y="470"/>
                    </a:lnTo>
                    <a:lnTo>
                      <a:pt x="189" y="470"/>
                    </a:lnTo>
                    <a:lnTo>
                      <a:pt x="189" y="468"/>
                    </a:lnTo>
                    <a:lnTo>
                      <a:pt x="186" y="466"/>
                    </a:lnTo>
                    <a:lnTo>
                      <a:pt x="189" y="466"/>
                    </a:lnTo>
                    <a:lnTo>
                      <a:pt x="186" y="463"/>
                    </a:lnTo>
                    <a:lnTo>
                      <a:pt x="184" y="463"/>
                    </a:lnTo>
                    <a:lnTo>
                      <a:pt x="186" y="461"/>
                    </a:lnTo>
                    <a:lnTo>
                      <a:pt x="184" y="461"/>
                    </a:lnTo>
                    <a:lnTo>
                      <a:pt x="182" y="461"/>
                    </a:lnTo>
                    <a:lnTo>
                      <a:pt x="179" y="459"/>
                    </a:lnTo>
                    <a:lnTo>
                      <a:pt x="179" y="459"/>
                    </a:lnTo>
                    <a:lnTo>
                      <a:pt x="179" y="459"/>
                    </a:lnTo>
                    <a:lnTo>
                      <a:pt x="179" y="459"/>
                    </a:lnTo>
                    <a:lnTo>
                      <a:pt x="179" y="456"/>
                    </a:lnTo>
                    <a:lnTo>
                      <a:pt x="179" y="456"/>
                    </a:lnTo>
                    <a:lnTo>
                      <a:pt x="177" y="456"/>
                    </a:lnTo>
                    <a:lnTo>
                      <a:pt x="177" y="459"/>
                    </a:lnTo>
                    <a:lnTo>
                      <a:pt x="175" y="459"/>
                    </a:lnTo>
                    <a:lnTo>
                      <a:pt x="175" y="456"/>
                    </a:lnTo>
                    <a:lnTo>
                      <a:pt x="177" y="456"/>
                    </a:lnTo>
                    <a:lnTo>
                      <a:pt x="175" y="454"/>
                    </a:lnTo>
                    <a:lnTo>
                      <a:pt x="175" y="454"/>
                    </a:lnTo>
                    <a:lnTo>
                      <a:pt x="175" y="454"/>
                    </a:lnTo>
                    <a:lnTo>
                      <a:pt x="172" y="454"/>
                    </a:lnTo>
                    <a:lnTo>
                      <a:pt x="172" y="454"/>
                    </a:lnTo>
                    <a:lnTo>
                      <a:pt x="172" y="452"/>
                    </a:lnTo>
                    <a:lnTo>
                      <a:pt x="172" y="452"/>
                    </a:lnTo>
                    <a:lnTo>
                      <a:pt x="172" y="449"/>
                    </a:lnTo>
                    <a:lnTo>
                      <a:pt x="172" y="449"/>
                    </a:lnTo>
                    <a:lnTo>
                      <a:pt x="172" y="449"/>
                    </a:lnTo>
                    <a:lnTo>
                      <a:pt x="170" y="452"/>
                    </a:lnTo>
                    <a:lnTo>
                      <a:pt x="168" y="449"/>
                    </a:lnTo>
                    <a:lnTo>
                      <a:pt x="165" y="449"/>
                    </a:lnTo>
                    <a:lnTo>
                      <a:pt x="165" y="449"/>
                    </a:lnTo>
                    <a:lnTo>
                      <a:pt x="165" y="447"/>
                    </a:lnTo>
                    <a:lnTo>
                      <a:pt x="165" y="447"/>
                    </a:lnTo>
                    <a:lnTo>
                      <a:pt x="163" y="447"/>
                    </a:lnTo>
                    <a:lnTo>
                      <a:pt x="163" y="447"/>
                    </a:lnTo>
                    <a:lnTo>
                      <a:pt x="163" y="447"/>
                    </a:lnTo>
                    <a:lnTo>
                      <a:pt x="160" y="447"/>
                    </a:lnTo>
                    <a:lnTo>
                      <a:pt x="160" y="447"/>
                    </a:lnTo>
                    <a:lnTo>
                      <a:pt x="160" y="447"/>
                    </a:lnTo>
                    <a:lnTo>
                      <a:pt x="160" y="445"/>
                    </a:lnTo>
                    <a:lnTo>
                      <a:pt x="158" y="445"/>
                    </a:lnTo>
                    <a:lnTo>
                      <a:pt x="158" y="445"/>
                    </a:lnTo>
                    <a:lnTo>
                      <a:pt x="158" y="442"/>
                    </a:lnTo>
                    <a:lnTo>
                      <a:pt x="158" y="442"/>
                    </a:lnTo>
                    <a:lnTo>
                      <a:pt x="158" y="442"/>
                    </a:lnTo>
                    <a:lnTo>
                      <a:pt x="158" y="440"/>
                    </a:lnTo>
                    <a:lnTo>
                      <a:pt x="156" y="440"/>
                    </a:lnTo>
                    <a:lnTo>
                      <a:pt x="156" y="437"/>
                    </a:lnTo>
                    <a:lnTo>
                      <a:pt x="156" y="437"/>
                    </a:lnTo>
                    <a:lnTo>
                      <a:pt x="153" y="437"/>
                    </a:lnTo>
                    <a:lnTo>
                      <a:pt x="151" y="437"/>
                    </a:lnTo>
                    <a:lnTo>
                      <a:pt x="153" y="435"/>
                    </a:lnTo>
                    <a:lnTo>
                      <a:pt x="151" y="435"/>
                    </a:lnTo>
                    <a:lnTo>
                      <a:pt x="151" y="430"/>
                    </a:lnTo>
                    <a:lnTo>
                      <a:pt x="149" y="433"/>
                    </a:lnTo>
                    <a:lnTo>
                      <a:pt x="146" y="435"/>
                    </a:lnTo>
                    <a:lnTo>
                      <a:pt x="146" y="435"/>
                    </a:lnTo>
                    <a:lnTo>
                      <a:pt x="146" y="433"/>
                    </a:lnTo>
                    <a:lnTo>
                      <a:pt x="144" y="430"/>
                    </a:lnTo>
                    <a:lnTo>
                      <a:pt x="144" y="430"/>
                    </a:lnTo>
                    <a:lnTo>
                      <a:pt x="144" y="428"/>
                    </a:lnTo>
                    <a:lnTo>
                      <a:pt x="139" y="428"/>
                    </a:lnTo>
                    <a:lnTo>
                      <a:pt x="139" y="428"/>
                    </a:lnTo>
                    <a:lnTo>
                      <a:pt x="139" y="426"/>
                    </a:lnTo>
                    <a:lnTo>
                      <a:pt x="142" y="426"/>
                    </a:lnTo>
                    <a:lnTo>
                      <a:pt x="142" y="423"/>
                    </a:lnTo>
                    <a:lnTo>
                      <a:pt x="139" y="421"/>
                    </a:lnTo>
                    <a:lnTo>
                      <a:pt x="139" y="423"/>
                    </a:lnTo>
                    <a:lnTo>
                      <a:pt x="137" y="421"/>
                    </a:lnTo>
                    <a:lnTo>
                      <a:pt x="137" y="419"/>
                    </a:lnTo>
                    <a:lnTo>
                      <a:pt x="134" y="421"/>
                    </a:lnTo>
                    <a:lnTo>
                      <a:pt x="132" y="421"/>
                    </a:lnTo>
                    <a:lnTo>
                      <a:pt x="132" y="421"/>
                    </a:lnTo>
                    <a:lnTo>
                      <a:pt x="130" y="421"/>
                    </a:lnTo>
                    <a:lnTo>
                      <a:pt x="132" y="419"/>
                    </a:lnTo>
                    <a:lnTo>
                      <a:pt x="132" y="416"/>
                    </a:lnTo>
                    <a:lnTo>
                      <a:pt x="130" y="416"/>
                    </a:lnTo>
                    <a:lnTo>
                      <a:pt x="127" y="414"/>
                    </a:lnTo>
                    <a:lnTo>
                      <a:pt x="127" y="414"/>
                    </a:lnTo>
                    <a:lnTo>
                      <a:pt x="130" y="414"/>
                    </a:lnTo>
                    <a:lnTo>
                      <a:pt x="130" y="414"/>
                    </a:lnTo>
                    <a:lnTo>
                      <a:pt x="127" y="411"/>
                    </a:lnTo>
                    <a:lnTo>
                      <a:pt x="127" y="411"/>
                    </a:lnTo>
                    <a:lnTo>
                      <a:pt x="125" y="411"/>
                    </a:lnTo>
                    <a:lnTo>
                      <a:pt x="125" y="409"/>
                    </a:lnTo>
                    <a:lnTo>
                      <a:pt x="127" y="409"/>
                    </a:lnTo>
                    <a:lnTo>
                      <a:pt x="127" y="409"/>
                    </a:lnTo>
                    <a:lnTo>
                      <a:pt x="125" y="409"/>
                    </a:lnTo>
                    <a:lnTo>
                      <a:pt x="125" y="409"/>
                    </a:lnTo>
                    <a:lnTo>
                      <a:pt x="125" y="407"/>
                    </a:lnTo>
                    <a:lnTo>
                      <a:pt x="123" y="409"/>
                    </a:lnTo>
                    <a:lnTo>
                      <a:pt x="123" y="407"/>
                    </a:lnTo>
                    <a:lnTo>
                      <a:pt x="120" y="409"/>
                    </a:lnTo>
                    <a:lnTo>
                      <a:pt x="118" y="407"/>
                    </a:lnTo>
                    <a:lnTo>
                      <a:pt x="118" y="404"/>
                    </a:lnTo>
                    <a:lnTo>
                      <a:pt x="118" y="404"/>
                    </a:lnTo>
                    <a:lnTo>
                      <a:pt x="116" y="404"/>
                    </a:lnTo>
                    <a:lnTo>
                      <a:pt x="113" y="402"/>
                    </a:lnTo>
                    <a:lnTo>
                      <a:pt x="111" y="402"/>
                    </a:lnTo>
                    <a:lnTo>
                      <a:pt x="108" y="402"/>
                    </a:lnTo>
                    <a:lnTo>
                      <a:pt x="111" y="400"/>
                    </a:lnTo>
                    <a:lnTo>
                      <a:pt x="111" y="397"/>
                    </a:lnTo>
                    <a:lnTo>
                      <a:pt x="108" y="397"/>
                    </a:lnTo>
                    <a:lnTo>
                      <a:pt x="106" y="395"/>
                    </a:lnTo>
                    <a:lnTo>
                      <a:pt x="106" y="395"/>
                    </a:lnTo>
                    <a:lnTo>
                      <a:pt x="104" y="395"/>
                    </a:lnTo>
                    <a:lnTo>
                      <a:pt x="101" y="393"/>
                    </a:lnTo>
                    <a:lnTo>
                      <a:pt x="101" y="393"/>
                    </a:lnTo>
                    <a:lnTo>
                      <a:pt x="99" y="393"/>
                    </a:lnTo>
                    <a:lnTo>
                      <a:pt x="99" y="393"/>
                    </a:lnTo>
                    <a:lnTo>
                      <a:pt x="97" y="393"/>
                    </a:lnTo>
                    <a:lnTo>
                      <a:pt x="94" y="395"/>
                    </a:lnTo>
                    <a:lnTo>
                      <a:pt x="94" y="395"/>
                    </a:lnTo>
                    <a:lnTo>
                      <a:pt x="92" y="395"/>
                    </a:lnTo>
                    <a:lnTo>
                      <a:pt x="92" y="395"/>
                    </a:lnTo>
                    <a:lnTo>
                      <a:pt x="92" y="395"/>
                    </a:lnTo>
                    <a:lnTo>
                      <a:pt x="90" y="393"/>
                    </a:lnTo>
                    <a:lnTo>
                      <a:pt x="87" y="395"/>
                    </a:lnTo>
                    <a:lnTo>
                      <a:pt x="85" y="395"/>
                    </a:lnTo>
                    <a:lnTo>
                      <a:pt x="85" y="393"/>
                    </a:lnTo>
                    <a:lnTo>
                      <a:pt x="83" y="393"/>
                    </a:lnTo>
                    <a:lnTo>
                      <a:pt x="80" y="393"/>
                    </a:lnTo>
                    <a:lnTo>
                      <a:pt x="78" y="393"/>
                    </a:lnTo>
                    <a:lnTo>
                      <a:pt x="78" y="395"/>
                    </a:lnTo>
                    <a:lnTo>
                      <a:pt x="78" y="395"/>
                    </a:lnTo>
                    <a:lnTo>
                      <a:pt x="75" y="395"/>
                    </a:lnTo>
                    <a:lnTo>
                      <a:pt x="73" y="395"/>
                    </a:lnTo>
                    <a:lnTo>
                      <a:pt x="73" y="393"/>
                    </a:lnTo>
                    <a:lnTo>
                      <a:pt x="73" y="393"/>
                    </a:lnTo>
                    <a:lnTo>
                      <a:pt x="73" y="393"/>
                    </a:lnTo>
                    <a:lnTo>
                      <a:pt x="73" y="393"/>
                    </a:lnTo>
                    <a:lnTo>
                      <a:pt x="71" y="395"/>
                    </a:lnTo>
                    <a:lnTo>
                      <a:pt x="71" y="395"/>
                    </a:lnTo>
                    <a:lnTo>
                      <a:pt x="71" y="395"/>
                    </a:lnTo>
                    <a:lnTo>
                      <a:pt x="71" y="397"/>
                    </a:lnTo>
                    <a:lnTo>
                      <a:pt x="71" y="397"/>
                    </a:lnTo>
                    <a:lnTo>
                      <a:pt x="68" y="395"/>
                    </a:lnTo>
                    <a:lnTo>
                      <a:pt x="68" y="397"/>
                    </a:lnTo>
                    <a:lnTo>
                      <a:pt x="68" y="397"/>
                    </a:lnTo>
                    <a:lnTo>
                      <a:pt x="68" y="400"/>
                    </a:lnTo>
                    <a:lnTo>
                      <a:pt x="68" y="400"/>
                    </a:lnTo>
                    <a:lnTo>
                      <a:pt x="66" y="400"/>
                    </a:lnTo>
                    <a:lnTo>
                      <a:pt x="64" y="404"/>
                    </a:lnTo>
                    <a:lnTo>
                      <a:pt x="61" y="404"/>
                    </a:lnTo>
                    <a:lnTo>
                      <a:pt x="61" y="407"/>
                    </a:lnTo>
                    <a:lnTo>
                      <a:pt x="61" y="407"/>
                    </a:lnTo>
                    <a:lnTo>
                      <a:pt x="61" y="409"/>
                    </a:lnTo>
                    <a:lnTo>
                      <a:pt x="61" y="409"/>
                    </a:lnTo>
                    <a:lnTo>
                      <a:pt x="61" y="409"/>
                    </a:lnTo>
                    <a:lnTo>
                      <a:pt x="61" y="409"/>
                    </a:lnTo>
                    <a:lnTo>
                      <a:pt x="61" y="411"/>
                    </a:lnTo>
                    <a:lnTo>
                      <a:pt x="61" y="411"/>
                    </a:lnTo>
                    <a:lnTo>
                      <a:pt x="61" y="414"/>
                    </a:lnTo>
                    <a:lnTo>
                      <a:pt x="61" y="414"/>
                    </a:lnTo>
                    <a:lnTo>
                      <a:pt x="59" y="414"/>
                    </a:lnTo>
                    <a:lnTo>
                      <a:pt x="57" y="416"/>
                    </a:lnTo>
                    <a:lnTo>
                      <a:pt x="57" y="419"/>
                    </a:lnTo>
                    <a:lnTo>
                      <a:pt x="54" y="419"/>
                    </a:lnTo>
                    <a:lnTo>
                      <a:pt x="52" y="419"/>
                    </a:lnTo>
                    <a:lnTo>
                      <a:pt x="49" y="419"/>
                    </a:lnTo>
                    <a:lnTo>
                      <a:pt x="49" y="419"/>
                    </a:lnTo>
                    <a:lnTo>
                      <a:pt x="49" y="416"/>
                    </a:lnTo>
                    <a:lnTo>
                      <a:pt x="49" y="419"/>
                    </a:lnTo>
                    <a:lnTo>
                      <a:pt x="49" y="419"/>
                    </a:lnTo>
                    <a:lnTo>
                      <a:pt x="47" y="421"/>
                    </a:lnTo>
                    <a:lnTo>
                      <a:pt x="45" y="421"/>
                    </a:lnTo>
                    <a:lnTo>
                      <a:pt x="45" y="419"/>
                    </a:lnTo>
                    <a:lnTo>
                      <a:pt x="42" y="416"/>
                    </a:lnTo>
                    <a:lnTo>
                      <a:pt x="42" y="414"/>
                    </a:lnTo>
                    <a:lnTo>
                      <a:pt x="42" y="416"/>
                    </a:lnTo>
                    <a:lnTo>
                      <a:pt x="38" y="419"/>
                    </a:lnTo>
                    <a:lnTo>
                      <a:pt x="35" y="416"/>
                    </a:lnTo>
                    <a:lnTo>
                      <a:pt x="35" y="419"/>
                    </a:lnTo>
                    <a:lnTo>
                      <a:pt x="33" y="419"/>
                    </a:lnTo>
                    <a:lnTo>
                      <a:pt x="33" y="421"/>
                    </a:lnTo>
                    <a:lnTo>
                      <a:pt x="33" y="421"/>
                    </a:lnTo>
                    <a:lnTo>
                      <a:pt x="31" y="421"/>
                    </a:lnTo>
                    <a:lnTo>
                      <a:pt x="28" y="421"/>
                    </a:lnTo>
                    <a:lnTo>
                      <a:pt x="28" y="419"/>
                    </a:lnTo>
                    <a:lnTo>
                      <a:pt x="28" y="419"/>
                    </a:lnTo>
                    <a:lnTo>
                      <a:pt x="28" y="419"/>
                    </a:lnTo>
                    <a:lnTo>
                      <a:pt x="26" y="419"/>
                    </a:lnTo>
                    <a:lnTo>
                      <a:pt x="23" y="416"/>
                    </a:lnTo>
                    <a:lnTo>
                      <a:pt x="21" y="416"/>
                    </a:lnTo>
                    <a:lnTo>
                      <a:pt x="19" y="416"/>
                    </a:lnTo>
                    <a:lnTo>
                      <a:pt x="19" y="419"/>
                    </a:lnTo>
                    <a:lnTo>
                      <a:pt x="16" y="419"/>
                    </a:lnTo>
                    <a:lnTo>
                      <a:pt x="12" y="419"/>
                    </a:lnTo>
                    <a:lnTo>
                      <a:pt x="12" y="416"/>
                    </a:lnTo>
                    <a:lnTo>
                      <a:pt x="9" y="414"/>
                    </a:lnTo>
                    <a:lnTo>
                      <a:pt x="12" y="409"/>
                    </a:lnTo>
                    <a:lnTo>
                      <a:pt x="9" y="409"/>
                    </a:lnTo>
                    <a:lnTo>
                      <a:pt x="5" y="407"/>
                    </a:lnTo>
                    <a:lnTo>
                      <a:pt x="2" y="404"/>
                    </a:lnTo>
                    <a:lnTo>
                      <a:pt x="0" y="407"/>
                    </a:lnTo>
                    <a:lnTo>
                      <a:pt x="2" y="404"/>
                    </a:lnTo>
                    <a:lnTo>
                      <a:pt x="7" y="404"/>
                    </a:lnTo>
                    <a:lnTo>
                      <a:pt x="12" y="402"/>
                    </a:lnTo>
                    <a:lnTo>
                      <a:pt x="21" y="397"/>
                    </a:lnTo>
                    <a:lnTo>
                      <a:pt x="23" y="395"/>
                    </a:lnTo>
                    <a:lnTo>
                      <a:pt x="26" y="390"/>
                    </a:lnTo>
                    <a:lnTo>
                      <a:pt x="28" y="388"/>
                    </a:lnTo>
                    <a:lnTo>
                      <a:pt x="31" y="385"/>
                    </a:lnTo>
                    <a:lnTo>
                      <a:pt x="38" y="381"/>
                    </a:lnTo>
                    <a:lnTo>
                      <a:pt x="40" y="378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Freeform 34"/>
              <p:cNvSpPr>
                <a:spLocks noEditPoints="1"/>
              </p:cNvSpPr>
              <p:nvPr/>
            </p:nvSpPr>
            <p:spPr bwMode="auto">
              <a:xfrm>
                <a:off x="4441614" y="5445402"/>
                <a:ext cx="738496" cy="471787"/>
              </a:xfrm>
              <a:custGeom>
                <a:avLst/>
                <a:gdLst/>
                <a:ahLst/>
                <a:cxnLst>
                  <a:cxn ang="0">
                    <a:pos x="10" y="144"/>
                  </a:cxn>
                  <a:cxn ang="0">
                    <a:pos x="21" y="118"/>
                  </a:cxn>
                  <a:cxn ang="0">
                    <a:pos x="12" y="96"/>
                  </a:cxn>
                  <a:cxn ang="0">
                    <a:pos x="14" y="78"/>
                  </a:cxn>
                  <a:cxn ang="0">
                    <a:pos x="17" y="56"/>
                  </a:cxn>
                  <a:cxn ang="0">
                    <a:pos x="59" y="37"/>
                  </a:cxn>
                  <a:cxn ang="0">
                    <a:pos x="102" y="54"/>
                  </a:cxn>
                  <a:cxn ang="0">
                    <a:pos x="154" y="61"/>
                  </a:cxn>
                  <a:cxn ang="0">
                    <a:pos x="203" y="68"/>
                  </a:cxn>
                  <a:cxn ang="0">
                    <a:pos x="258" y="82"/>
                  </a:cxn>
                  <a:cxn ang="0">
                    <a:pos x="317" y="92"/>
                  </a:cxn>
                  <a:cxn ang="0">
                    <a:pos x="324" y="66"/>
                  </a:cxn>
                  <a:cxn ang="0">
                    <a:pos x="347" y="42"/>
                  </a:cxn>
                  <a:cxn ang="0">
                    <a:pos x="392" y="37"/>
                  </a:cxn>
                  <a:cxn ang="0">
                    <a:pos x="423" y="9"/>
                  </a:cxn>
                  <a:cxn ang="0">
                    <a:pos x="444" y="21"/>
                  </a:cxn>
                  <a:cxn ang="0">
                    <a:pos x="468" y="14"/>
                  </a:cxn>
                  <a:cxn ang="0">
                    <a:pos x="499" y="11"/>
                  </a:cxn>
                  <a:cxn ang="0">
                    <a:pos x="522" y="28"/>
                  </a:cxn>
                  <a:cxn ang="0">
                    <a:pos x="543" y="35"/>
                  </a:cxn>
                  <a:cxn ang="0">
                    <a:pos x="562" y="26"/>
                  </a:cxn>
                  <a:cxn ang="0">
                    <a:pos x="581" y="16"/>
                  </a:cxn>
                  <a:cxn ang="0">
                    <a:pos x="607" y="9"/>
                  </a:cxn>
                  <a:cxn ang="0">
                    <a:pos x="664" y="7"/>
                  </a:cxn>
                  <a:cxn ang="0">
                    <a:pos x="654" y="106"/>
                  </a:cxn>
                  <a:cxn ang="0">
                    <a:pos x="664" y="137"/>
                  </a:cxn>
                  <a:cxn ang="0">
                    <a:pos x="678" y="156"/>
                  </a:cxn>
                  <a:cxn ang="0">
                    <a:pos x="666" y="179"/>
                  </a:cxn>
                  <a:cxn ang="0">
                    <a:pos x="664" y="193"/>
                  </a:cxn>
                  <a:cxn ang="0">
                    <a:pos x="664" y="229"/>
                  </a:cxn>
                  <a:cxn ang="0">
                    <a:pos x="664" y="271"/>
                  </a:cxn>
                  <a:cxn ang="0">
                    <a:pos x="650" y="311"/>
                  </a:cxn>
                  <a:cxn ang="0">
                    <a:pos x="588" y="373"/>
                  </a:cxn>
                  <a:cxn ang="0">
                    <a:pos x="506" y="432"/>
                  </a:cxn>
                  <a:cxn ang="0">
                    <a:pos x="477" y="444"/>
                  </a:cxn>
                  <a:cxn ang="0">
                    <a:pos x="470" y="427"/>
                  </a:cxn>
                  <a:cxn ang="0">
                    <a:pos x="477" y="422"/>
                  </a:cxn>
                  <a:cxn ang="0">
                    <a:pos x="491" y="408"/>
                  </a:cxn>
                  <a:cxn ang="0">
                    <a:pos x="494" y="389"/>
                  </a:cxn>
                  <a:cxn ang="0">
                    <a:pos x="491" y="368"/>
                  </a:cxn>
                  <a:cxn ang="0">
                    <a:pos x="508" y="359"/>
                  </a:cxn>
                  <a:cxn ang="0">
                    <a:pos x="517" y="340"/>
                  </a:cxn>
                  <a:cxn ang="0">
                    <a:pos x="506" y="326"/>
                  </a:cxn>
                  <a:cxn ang="0">
                    <a:pos x="470" y="328"/>
                  </a:cxn>
                  <a:cxn ang="0">
                    <a:pos x="444" y="326"/>
                  </a:cxn>
                  <a:cxn ang="0">
                    <a:pos x="402" y="311"/>
                  </a:cxn>
                  <a:cxn ang="0">
                    <a:pos x="373" y="276"/>
                  </a:cxn>
                  <a:cxn ang="0">
                    <a:pos x="343" y="243"/>
                  </a:cxn>
                  <a:cxn ang="0">
                    <a:pos x="302" y="217"/>
                  </a:cxn>
                  <a:cxn ang="0">
                    <a:pos x="274" y="203"/>
                  </a:cxn>
                  <a:cxn ang="0">
                    <a:pos x="243" y="198"/>
                  </a:cxn>
                  <a:cxn ang="0">
                    <a:pos x="220" y="179"/>
                  </a:cxn>
                  <a:cxn ang="0">
                    <a:pos x="194" y="179"/>
                  </a:cxn>
                  <a:cxn ang="0">
                    <a:pos x="161" y="170"/>
                  </a:cxn>
                  <a:cxn ang="0">
                    <a:pos x="128" y="165"/>
                  </a:cxn>
                  <a:cxn ang="0">
                    <a:pos x="102" y="148"/>
                  </a:cxn>
                  <a:cxn ang="0">
                    <a:pos x="66" y="153"/>
                  </a:cxn>
                  <a:cxn ang="0">
                    <a:pos x="28" y="163"/>
                  </a:cxn>
                  <a:cxn ang="0">
                    <a:pos x="671" y="222"/>
                  </a:cxn>
                  <a:cxn ang="0">
                    <a:pos x="673" y="196"/>
                  </a:cxn>
                  <a:cxn ang="0">
                    <a:pos x="688" y="215"/>
                  </a:cxn>
                  <a:cxn ang="0">
                    <a:pos x="669" y="245"/>
                  </a:cxn>
                </a:cxnLst>
                <a:rect l="0" t="0" r="r" b="b"/>
                <a:pathLst>
                  <a:path w="695" h="444">
                    <a:moveTo>
                      <a:pt x="0" y="160"/>
                    </a:moveTo>
                    <a:lnTo>
                      <a:pt x="0" y="158"/>
                    </a:lnTo>
                    <a:lnTo>
                      <a:pt x="0" y="158"/>
                    </a:lnTo>
                    <a:lnTo>
                      <a:pt x="0" y="156"/>
                    </a:lnTo>
                    <a:lnTo>
                      <a:pt x="5" y="156"/>
                    </a:lnTo>
                    <a:lnTo>
                      <a:pt x="5" y="156"/>
                    </a:lnTo>
                    <a:lnTo>
                      <a:pt x="2" y="156"/>
                    </a:lnTo>
                    <a:lnTo>
                      <a:pt x="0" y="153"/>
                    </a:lnTo>
                    <a:lnTo>
                      <a:pt x="2" y="153"/>
                    </a:lnTo>
                    <a:lnTo>
                      <a:pt x="2" y="153"/>
                    </a:lnTo>
                    <a:lnTo>
                      <a:pt x="2" y="153"/>
                    </a:lnTo>
                    <a:lnTo>
                      <a:pt x="2" y="151"/>
                    </a:lnTo>
                    <a:lnTo>
                      <a:pt x="2" y="151"/>
                    </a:lnTo>
                    <a:lnTo>
                      <a:pt x="2" y="151"/>
                    </a:lnTo>
                    <a:lnTo>
                      <a:pt x="2" y="151"/>
                    </a:lnTo>
                    <a:lnTo>
                      <a:pt x="2" y="151"/>
                    </a:lnTo>
                    <a:lnTo>
                      <a:pt x="5" y="151"/>
                    </a:lnTo>
                    <a:lnTo>
                      <a:pt x="7" y="151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5" y="146"/>
                    </a:lnTo>
                    <a:lnTo>
                      <a:pt x="7" y="146"/>
                    </a:lnTo>
                    <a:lnTo>
                      <a:pt x="7" y="146"/>
                    </a:lnTo>
                    <a:lnTo>
                      <a:pt x="7" y="146"/>
                    </a:lnTo>
                    <a:lnTo>
                      <a:pt x="7" y="146"/>
                    </a:lnTo>
                    <a:lnTo>
                      <a:pt x="5" y="144"/>
                    </a:lnTo>
                    <a:lnTo>
                      <a:pt x="2" y="144"/>
                    </a:lnTo>
                    <a:lnTo>
                      <a:pt x="5" y="144"/>
                    </a:lnTo>
                    <a:lnTo>
                      <a:pt x="7" y="144"/>
                    </a:lnTo>
                    <a:lnTo>
                      <a:pt x="7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7" y="144"/>
                    </a:lnTo>
                    <a:lnTo>
                      <a:pt x="7" y="141"/>
                    </a:lnTo>
                    <a:lnTo>
                      <a:pt x="7" y="141"/>
                    </a:lnTo>
                    <a:lnTo>
                      <a:pt x="10" y="144"/>
                    </a:lnTo>
                    <a:lnTo>
                      <a:pt x="10" y="141"/>
                    </a:lnTo>
                    <a:lnTo>
                      <a:pt x="10" y="141"/>
                    </a:lnTo>
                    <a:lnTo>
                      <a:pt x="10" y="141"/>
                    </a:lnTo>
                    <a:lnTo>
                      <a:pt x="10" y="139"/>
                    </a:lnTo>
                    <a:lnTo>
                      <a:pt x="10" y="137"/>
                    </a:lnTo>
                    <a:lnTo>
                      <a:pt x="10" y="137"/>
                    </a:lnTo>
                    <a:lnTo>
                      <a:pt x="12" y="139"/>
                    </a:lnTo>
                    <a:lnTo>
                      <a:pt x="12" y="137"/>
                    </a:lnTo>
                    <a:lnTo>
                      <a:pt x="12" y="137"/>
                    </a:lnTo>
                    <a:lnTo>
                      <a:pt x="14" y="137"/>
                    </a:lnTo>
                    <a:lnTo>
                      <a:pt x="14" y="137"/>
                    </a:lnTo>
                    <a:lnTo>
                      <a:pt x="14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4" y="132"/>
                    </a:lnTo>
                    <a:lnTo>
                      <a:pt x="17" y="132"/>
                    </a:lnTo>
                    <a:lnTo>
                      <a:pt x="17" y="132"/>
                    </a:lnTo>
                    <a:lnTo>
                      <a:pt x="17" y="130"/>
                    </a:lnTo>
                    <a:lnTo>
                      <a:pt x="17" y="127"/>
                    </a:lnTo>
                    <a:lnTo>
                      <a:pt x="19" y="130"/>
                    </a:lnTo>
                    <a:lnTo>
                      <a:pt x="19" y="130"/>
                    </a:lnTo>
                    <a:lnTo>
                      <a:pt x="21" y="130"/>
                    </a:lnTo>
                    <a:lnTo>
                      <a:pt x="19" y="130"/>
                    </a:lnTo>
                    <a:lnTo>
                      <a:pt x="17" y="127"/>
                    </a:lnTo>
                    <a:lnTo>
                      <a:pt x="19" y="127"/>
                    </a:lnTo>
                    <a:lnTo>
                      <a:pt x="19" y="125"/>
                    </a:lnTo>
                    <a:lnTo>
                      <a:pt x="19" y="125"/>
                    </a:lnTo>
                    <a:lnTo>
                      <a:pt x="19" y="122"/>
                    </a:lnTo>
                    <a:lnTo>
                      <a:pt x="17" y="122"/>
                    </a:lnTo>
                    <a:lnTo>
                      <a:pt x="19" y="120"/>
                    </a:lnTo>
                    <a:lnTo>
                      <a:pt x="19" y="120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21" y="120"/>
                    </a:lnTo>
                    <a:lnTo>
                      <a:pt x="21" y="118"/>
                    </a:lnTo>
                    <a:lnTo>
                      <a:pt x="21" y="118"/>
                    </a:lnTo>
                    <a:lnTo>
                      <a:pt x="19" y="118"/>
                    </a:lnTo>
                    <a:lnTo>
                      <a:pt x="17" y="118"/>
                    </a:lnTo>
                    <a:lnTo>
                      <a:pt x="17" y="115"/>
                    </a:lnTo>
                    <a:lnTo>
                      <a:pt x="19" y="115"/>
                    </a:lnTo>
                    <a:lnTo>
                      <a:pt x="17" y="115"/>
                    </a:lnTo>
                    <a:lnTo>
                      <a:pt x="17" y="113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7" y="113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7" y="111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7" y="108"/>
                    </a:lnTo>
                    <a:lnTo>
                      <a:pt x="17" y="106"/>
                    </a:lnTo>
                    <a:lnTo>
                      <a:pt x="14" y="106"/>
                    </a:lnTo>
                    <a:lnTo>
                      <a:pt x="14" y="108"/>
                    </a:lnTo>
                    <a:lnTo>
                      <a:pt x="12" y="108"/>
                    </a:lnTo>
                    <a:lnTo>
                      <a:pt x="12" y="106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2" y="101"/>
                    </a:lnTo>
                    <a:lnTo>
                      <a:pt x="12" y="104"/>
                    </a:lnTo>
                    <a:lnTo>
                      <a:pt x="10" y="104"/>
                    </a:lnTo>
                    <a:lnTo>
                      <a:pt x="12" y="101"/>
                    </a:lnTo>
                    <a:lnTo>
                      <a:pt x="10" y="101"/>
                    </a:lnTo>
                    <a:lnTo>
                      <a:pt x="10" y="99"/>
                    </a:lnTo>
                    <a:lnTo>
                      <a:pt x="10" y="101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4" y="94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0" y="89"/>
                    </a:lnTo>
                    <a:lnTo>
                      <a:pt x="10" y="89"/>
                    </a:lnTo>
                    <a:lnTo>
                      <a:pt x="12" y="89"/>
                    </a:lnTo>
                    <a:lnTo>
                      <a:pt x="12" y="89"/>
                    </a:lnTo>
                    <a:lnTo>
                      <a:pt x="12" y="89"/>
                    </a:lnTo>
                    <a:lnTo>
                      <a:pt x="12" y="87"/>
                    </a:lnTo>
                    <a:lnTo>
                      <a:pt x="12" y="87"/>
                    </a:lnTo>
                    <a:lnTo>
                      <a:pt x="12" y="87"/>
                    </a:lnTo>
                    <a:lnTo>
                      <a:pt x="12" y="85"/>
                    </a:lnTo>
                    <a:lnTo>
                      <a:pt x="12" y="85"/>
                    </a:lnTo>
                    <a:lnTo>
                      <a:pt x="12" y="82"/>
                    </a:lnTo>
                    <a:lnTo>
                      <a:pt x="14" y="82"/>
                    </a:lnTo>
                    <a:lnTo>
                      <a:pt x="14" y="80"/>
                    </a:lnTo>
                    <a:lnTo>
                      <a:pt x="17" y="80"/>
                    </a:lnTo>
                    <a:lnTo>
                      <a:pt x="17" y="80"/>
                    </a:lnTo>
                    <a:lnTo>
                      <a:pt x="14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4" y="80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4" y="75"/>
                    </a:lnTo>
                    <a:lnTo>
                      <a:pt x="12" y="75"/>
                    </a:lnTo>
                    <a:lnTo>
                      <a:pt x="12" y="73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17" y="73"/>
                    </a:lnTo>
                    <a:lnTo>
                      <a:pt x="17" y="70"/>
                    </a:lnTo>
                    <a:lnTo>
                      <a:pt x="17" y="70"/>
                    </a:lnTo>
                    <a:lnTo>
                      <a:pt x="17" y="70"/>
                    </a:lnTo>
                    <a:lnTo>
                      <a:pt x="17" y="68"/>
                    </a:lnTo>
                    <a:lnTo>
                      <a:pt x="17" y="68"/>
                    </a:lnTo>
                    <a:lnTo>
                      <a:pt x="17" y="68"/>
                    </a:lnTo>
                    <a:lnTo>
                      <a:pt x="17" y="70"/>
                    </a:lnTo>
                    <a:lnTo>
                      <a:pt x="17" y="68"/>
                    </a:lnTo>
                    <a:lnTo>
                      <a:pt x="14" y="68"/>
                    </a:lnTo>
                    <a:lnTo>
                      <a:pt x="17" y="68"/>
                    </a:lnTo>
                    <a:lnTo>
                      <a:pt x="17" y="68"/>
                    </a:lnTo>
                    <a:lnTo>
                      <a:pt x="17" y="66"/>
                    </a:lnTo>
                    <a:lnTo>
                      <a:pt x="17" y="66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19" y="63"/>
                    </a:lnTo>
                    <a:lnTo>
                      <a:pt x="17" y="63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59"/>
                    </a:lnTo>
                    <a:lnTo>
                      <a:pt x="17" y="59"/>
                    </a:lnTo>
                    <a:lnTo>
                      <a:pt x="17" y="56"/>
                    </a:lnTo>
                    <a:lnTo>
                      <a:pt x="17" y="56"/>
                    </a:lnTo>
                    <a:lnTo>
                      <a:pt x="17" y="56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9" y="54"/>
                    </a:lnTo>
                    <a:lnTo>
                      <a:pt x="17" y="52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9" y="49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21" y="49"/>
                    </a:lnTo>
                    <a:lnTo>
                      <a:pt x="21" y="49"/>
                    </a:lnTo>
                    <a:lnTo>
                      <a:pt x="21" y="44"/>
                    </a:lnTo>
                    <a:lnTo>
                      <a:pt x="24" y="44"/>
                    </a:lnTo>
                    <a:lnTo>
                      <a:pt x="24" y="42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1" y="40"/>
                    </a:lnTo>
                    <a:lnTo>
                      <a:pt x="31" y="42"/>
                    </a:lnTo>
                    <a:lnTo>
                      <a:pt x="33" y="42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43" y="44"/>
                    </a:lnTo>
                    <a:lnTo>
                      <a:pt x="45" y="44"/>
                    </a:lnTo>
                    <a:lnTo>
                      <a:pt x="45" y="44"/>
                    </a:lnTo>
                    <a:lnTo>
                      <a:pt x="47" y="44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2" y="42"/>
                    </a:lnTo>
                    <a:lnTo>
                      <a:pt x="57" y="37"/>
                    </a:lnTo>
                    <a:lnTo>
                      <a:pt x="57" y="37"/>
                    </a:lnTo>
                    <a:lnTo>
                      <a:pt x="59" y="40"/>
                    </a:lnTo>
                    <a:lnTo>
                      <a:pt x="59" y="37"/>
                    </a:lnTo>
                    <a:lnTo>
                      <a:pt x="62" y="40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7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40"/>
                    </a:lnTo>
                    <a:lnTo>
                      <a:pt x="71" y="37"/>
                    </a:lnTo>
                    <a:lnTo>
                      <a:pt x="71" y="40"/>
                    </a:lnTo>
                    <a:lnTo>
                      <a:pt x="71" y="40"/>
                    </a:lnTo>
                    <a:lnTo>
                      <a:pt x="73" y="42"/>
                    </a:lnTo>
                    <a:lnTo>
                      <a:pt x="73" y="44"/>
                    </a:lnTo>
                    <a:lnTo>
                      <a:pt x="73" y="44"/>
                    </a:lnTo>
                    <a:lnTo>
                      <a:pt x="73" y="44"/>
                    </a:lnTo>
                    <a:lnTo>
                      <a:pt x="73" y="44"/>
                    </a:lnTo>
                    <a:lnTo>
                      <a:pt x="76" y="47"/>
                    </a:lnTo>
                    <a:lnTo>
                      <a:pt x="80" y="49"/>
                    </a:lnTo>
                    <a:lnTo>
                      <a:pt x="80" y="49"/>
                    </a:lnTo>
                    <a:lnTo>
                      <a:pt x="80" y="49"/>
                    </a:lnTo>
                    <a:lnTo>
                      <a:pt x="83" y="52"/>
                    </a:lnTo>
                    <a:lnTo>
                      <a:pt x="83" y="52"/>
                    </a:lnTo>
                    <a:lnTo>
                      <a:pt x="85" y="52"/>
                    </a:lnTo>
                    <a:lnTo>
                      <a:pt x="85" y="52"/>
                    </a:lnTo>
                    <a:lnTo>
                      <a:pt x="85" y="52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2" y="56"/>
                    </a:lnTo>
                    <a:lnTo>
                      <a:pt x="92" y="56"/>
                    </a:lnTo>
                    <a:lnTo>
                      <a:pt x="92" y="56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99" y="56"/>
                    </a:lnTo>
                    <a:lnTo>
                      <a:pt x="102" y="54"/>
                    </a:lnTo>
                    <a:lnTo>
                      <a:pt x="106" y="52"/>
                    </a:lnTo>
                    <a:lnTo>
                      <a:pt x="111" y="54"/>
                    </a:lnTo>
                    <a:lnTo>
                      <a:pt x="113" y="54"/>
                    </a:lnTo>
                    <a:lnTo>
                      <a:pt x="113" y="54"/>
                    </a:lnTo>
                    <a:lnTo>
                      <a:pt x="116" y="52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5" y="52"/>
                    </a:lnTo>
                    <a:lnTo>
                      <a:pt x="125" y="52"/>
                    </a:lnTo>
                    <a:lnTo>
                      <a:pt x="128" y="52"/>
                    </a:lnTo>
                    <a:lnTo>
                      <a:pt x="130" y="52"/>
                    </a:lnTo>
                    <a:lnTo>
                      <a:pt x="130" y="52"/>
                    </a:lnTo>
                    <a:lnTo>
                      <a:pt x="130" y="52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35" y="52"/>
                    </a:lnTo>
                    <a:lnTo>
                      <a:pt x="137" y="52"/>
                    </a:lnTo>
                    <a:lnTo>
                      <a:pt x="137" y="52"/>
                    </a:lnTo>
                    <a:lnTo>
                      <a:pt x="137" y="5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42" y="54"/>
                    </a:lnTo>
                    <a:lnTo>
                      <a:pt x="142" y="52"/>
                    </a:lnTo>
                    <a:lnTo>
                      <a:pt x="142" y="54"/>
                    </a:lnTo>
                    <a:lnTo>
                      <a:pt x="144" y="54"/>
                    </a:lnTo>
                    <a:lnTo>
                      <a:pt x="147" y="52"/>
                    </a:lnTo>
                    <a:lnTo>
                      <a:pt x="149" y="54"/>
                    </a:lnTo>
                    <a:lnTo>
                      <a:pt x="151" y="56"/>
                    </a:lnTo>
                    <a:lnTo>
                      <a:pt x="151" y="56"/>
                    </a:lnTo>
                    <a:lnTo>
                      <a:pt x="151" y="59"/>
                    </a:lnTo>
                    <a:lnTo>
                      <a:pt x="154" y="59"/>
                    </a:lnTo>
                    <a:lnTo>
                      <a:pt x="154" y="59"/>
                    </a:lnTo>
                    <a:lnTo>
                      <a:pt x="154" y="61"/>
                    </a:lnTo>
                    <a:lnTo>
                      <a:pt x="156" y="61"/>
                    </a:lnTo>
                    <a:lnTo>
                      <a:pt x="156" y="61"/>
                    </a:lnTo>
                    <a:lnTo>
                      <a:pt x="156" y="61"/>
                    </a:lnTo>
                    <a:lnTo>
                      <a:pt x="158" y="59"/>
                    </a:lnTo>
                    <a:lnTo>
                      <a:pt x="161" y="61"/>
                    </a:lnTo>
                    <a:lnTo>
                      <a:pt x="161" y="59"/>
                    </a:lnTo>
                    <a:lnTo>
                      <a:pt x="163" y="61"/>
                    </a:lnTo>
                    <a:lnTo>
                      <a:pt x="163" y="59"/>
                    </a:lnTo>
                    <a:lnTo>
                      <a:pt x="165" y="59"/>
                    </a:lnTo>
                    <a:lnTo>
                      <a:pt x="170" y="61"/>
                    </a:lnTo>
                    <a:lnTo>
                      <a:pt x="173" y="61"/>
                    </a:lnTo>
                    <a:lnTo>
                      <a:pt x="173" y="63"/>
                    </a:lnTo>
                    <a:lnTo>
                      <a:pt x="175" y="63"/>
                    </a:lnTo>
                    <a:lnTo>
                      <a:pt x="175" y="63"/>
                    </a:lnTo>
                    <a:lnTo>
                      <a:pt x="175" y="63"/>
                    </a:lnTo>
                    <a:lnTo>
                      <a:pt x="177" y="63"/>
                    </a:lnTo>
                    <a:lnTo>
                      <a:pt x="180" y="63"/>
                    </a:lnTo>
                    <a:lnTo>
                      <a:pt x="182" y="63"/>
                    </a:lnTo>
                    <a:lnTo>
                      <a:pt x="182" y="61"/>
                    </a:lnTo>
                    <a:lnTo>
                      <a:pt x="182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7" y="63"/>
                    </a:lnTo>
                    <a:lnTo>
                      <a:pt x="187" y="63"/>
                    </a:lnTo>
                    <a:lnTo>
                      <a:pt x="189" y="63"/>
                    </a:lnTo>
                    <a:lnTo>
                      <a:pt x="189" y="63"/>
                    </a:lnTo>
                    <a:lnTo>
                      <a:pt x="191" y="63"/>
                    </a:lnTo>
                    <a:lnTo>
                      <a:pt x="194" y="63"/>
                    </a:lnTo>
                    <a:lnTo>
                      <a:pt x="196" y="66"/>
                    </a:lnTo>
                    <a:lnTo>
                      <a:pt x="196" y="68"/>
                    </a:lnTo>
                    <a:lnTo>
                      <a:pt x="196" y="68"/>
                    </a:lnTo>
                    <a:lnTo>
                      <a:pt x="199" y="66"/>
                    </a:lnTo>
                    <a:lnTo>
                      <a:pt x="201" y="66"/>
                    </a:lnTo>
                    <a:lnTo>
                      <a:pt x="201" y="66"/>
                    </a:lnTo>
                    <a:lnTo>
                      <a:pt x="201" y="68"/>
                    </a:lnTo>
                    <a:lnTo>
                      <a:pt x="203" y="68"/>
                    </a:lnTo>
                    <a:lnTo>
                      <a:pt x="206" y="66"/>
                    </a:lnTo>
                    <a:lnTo>
                      <a:pt x="208" y="63"/>
                    </a:lnTo>
                    <a:lnTo>
                      <a:pt x="213" y="68"/>
                    </a:lnTo>
                    <a:lnTo>
                      <a:pt x="213" y="68"/>
                    </a:lnTo>
                    <a:lnTo>
                      <a:pt x="215" y="68"/>
                    </a:lnTo>
                    <a:lnTo>
                      <a:pt x="215" y="68"/>
                    </a:lnTo>
                    <a:lnTo>
                      <a:pt x="217" y="68"/>
                    </a:lnTo>
                    <a:lnTo>
                      <a:pt x="220" y="70"/>
                    </a:lnTo>
                    <a:lnTo>
                      <a:pt x="220" y="73"/>
                    </a:lnTo>
                    <a:lnTo>
                      <a:pt x="220" y="73"/>
                    </a:lnTo>
                    <a:lnTo>
                      <a:pt x="222" y="73"/>
                    </a:lnTo>
                    <a:lnTo>
                      <a:pt x="222" y="75"/>
                    </a:lnTo>
                    <a:lnTo>
                      <a:pt x="225" y="75"/>
                    </a:lnTo>
                    <a:lnTo>
                      <a:pt x="225" y="75"/>
                    </a:lnTo>
                    <a:lnTo>
                      <a:pt x="225" y="75"/>
                    </a:lnTo>
                    <a:lnTo>
                      <a:pt x="227" y="78"/>
                    </a:lnTo>
                    <a:lnTo>
                      <a:pt x="229" y="78"/>
                    </a:lnTo>
                    <a:lnTo>
                      <a:pt x="229" y="78"/>
                    </a:lnTo>
                    <a:lnTo>
                      <a:pt x="229" y="78"/>
                    </a:lnTo>
                    <a:lnTo>
                      <a:pt x="229" y="80"/>
                    </a:lnTo>
                    <a:lnTo>
                      <a:pt x="232" y="80"/>
                    </a:lnTo>
                    <a:lnTo>
                      <a:pt x="234" y="80"/>
                    </a:lnTo>
                    <a:lnTo>
                      <a:pt x="234" y="80"/>
                    </a:lnTo>
                    <a:lnTo>
                      <a:pt x="236" y="80"/>
                    </a:lnTo>
                    <a:lnTo>
                      <a:pt x="239" y="82"/>
                    </a:lnTo>
                    <a:lnTo>
                      <a:pt x="239" y="80"/>
                    </a:lnTo>
                    <a:lnTo>
                      <a:pt x="241" y="82"/>
                    </a:lnTo>
                    <a:lnTo>
                      <a:pt x="246" y="82"/>
                    </a:lnTo>
                    <a:lnTo>
                      <a:pt x="248" y="82"/>
                    </a:lnTo>
                    <a:lnTo>
                      <a:pt x="248" y="85"/>
                    </a:lnTo>
                    <a:lnTo>
                      <a:pt x="248" y="85"/>
                    </a:lnTo>
                    <a:lnTo>
                      <a:pt x="248" y="85"/>
                    </a:lnTo>
                    <a:lnTo>
                      <a:pt x="250" y="82"/>
                    </a:lnTo>
                    <a:lnTo>
                      <a:pt x="253" y="85"/>
                    </a:lnTo>
                    <a:lnTo>
                      <a:pt x="255" y="82"/>
                    </a:lnTo>
                    <a:lnTo>
                      <a:pt x="258" y="82"/>
                    </a:lnTo>
                    <a:lnTo>
                      <a:pt x="260" y="82"/>
                    </a:lnTo>
                    <a:lnTo>
                      <a:pt x="267" y="82"/>
                    </a:lnTo>
                    <a:lnTo>
                      <a:pt x="269" y="82"/>
                    </a:lnTo>
                    <a:lnTo>
                      <a:pt x="272" y="82"/>
                    </a:lnTo>
                    <a:lnTo>
                      <a:pt x="274" y="80"/>
                    </a:lnTo>
                    <a:lnTo>
                      <a:pt x="276" y="82"/>
                    </a:lnTo>
                    <a:lnTo>
                      <a:pt x="279" y="82"/>
                    </a:lnTo>
                    <a:lnTo>
                      <a:pt x="281" y="82"/>
                    </a:lnTo>
                    <a:lnTo>
                      <a:pt x="284" y="82"/>
                    </a:lnTo>
                    <a:lnTo>
                      <a:pt x="286" y="82"/>
                    </a:lnTo>
                    <a:lnTo>
                      <a:pt x="293" y="82"/>
                    </a:lnTo>
                    <a:lnTo>
                      <a:pt x="295" y="82"/>
                    </a:lnTo>
                    <a:lnTo>
                      <a:pt x="295" y="82"/>
                    </a:lnTo>
                    <a:lnTo>
                      <a:pt x="298" y="85"/>
                    </a:lnTo>
                    <a:lnTo>
                      <a:pt x="298" y="87"/>
                    </a:lnTo>
                    <a:lnTo>
                      <a:pt x="298" y="87"/>
                    </a:lnTo>
                    <a:lnTo>
                      <a:pt x="298" y="87"/>
                    </a:lnTo>
                    <a:lnTo>
                      <a:pt x="300" y="87"/>
                    </a:lnTo>
                    <a:lnTo>
                      <a:pt x="300" y="89"/>
                    </a:lnTo>
                    <a:lnTo>
                      <a:pt x="302" y="89"/>
                    </a:lnTo>
                    <a:lnTo>
                      <a:pt x="302" y="92"/>
                    </a:lnTo>
                    <a:lnTo>
                      <a:pt x="302" y="94"/>
                    </a:lnTo>
                    <a:lnTo>
                      <a:pt x="305" y="96"/>
                    </a:lnTo>
                    <a:lnTo>
                      <a:pt x="307" y="99"/>
                    </a:lnTo>
                    <a:lnTo>
                      <a:pt x="307" y="99"/>
                    </a:lnTo>
                    <a:lnTo>
                      <a:pt x="307" y="99"/>
                    </a:lnTo>
                    <a:lnTo>
                      <a:pt x="310" y="99"/>
                    </a:lnTo>
                    <a:lnTo>
                      <a:pt x="310" y="96"/>
                    </a:lnTo>
                    <a:lnTo>
                      <a:pt x="307" y="94"/>
                    </a:lnTo>
                    <a:lnTo>
                      <a:pt x="310" y="92"/>
                    </a:lnTo>
                    <a:lnTo>
                      <a:pt x="312" y="92"/>
                    </a:lnTo>
                    <a:lnTo>
                      <a:pt x="312" y="92"/>
                    </a:lnTo>
                    <a:lnTo>
                      <a:pt x="314" y="92"/>
                    </a:lnTo>
                    <a:lnTo>
                      <a:pt x="317" y="92"/>
                    </a:lnTo>
                    <a:lnTo>
                      <a:pt x="317" y="92"/>
                    </a:lnTo>
                    <a:lnTo>
                      <a:pt x="317" y="92"/>
                    </a:lnTo>
                    <a:lnTo>
                      <a:pt x="319" y="92"/>
                    </a:lnTo>
                    <a:lnTo>
                      <a:pt x="321" y="92"/>
                    </a:lnTo>
                    <a:lnTo>
                      <a:pt x="324" y="92"/>
                    </a:lnTo>
                    <a:lnTo>
                      <a:pt x="324" y="89"/>
                    </a:lnTo>
                    <a:lnTo>
                      <a:pt x="324" y="89"/>
                    </a:lnTo>
                    <a:lnTo>
                      <a:pt x="324" y="89"/>
                    </a:lnTo>
                    <a:lnTo>
                      <a:pt x="326" y="89"/>
                    </a:lnTo>
                    <a:lnTo>
                      <a:pt x="326" y="89"/>
                    </a:lnTo>
                    <a:lnTo>
                      <a:pt x="328" y="89"/>
                    </a:lnTo>
                    <a:lnTo>
                      <a:pt x="328" y="87"/>
                    </a:lnTo>
                    <a:lnTo>
                      <a:pt x="331" y="87"/>
                    </a:lnTo>
                    <a:lnTo>
                      <a:pt x="328" y="85"/>
                    </a:lnTo>
                    <a:lnTo>
                      <a:pt x="331" y="85"/>
                    </a:lnTo>
                    <a:lnTo>
                      <a:pt x="331" y="82"/>
                    </a:lnTo>
                    <a:lnTo>
                      <a:pt x="331" y="82"/>
                    </a:lnTo>
                    <a:lnTo>
                      <a:pt x="331" y="80"/>
                    </a:lnTo>
                    <a:lnTo>
                      <a:pt x="331" y="80"/>
                    </a:lnTo>
                    <a:lnTo>
                      <a:pt x="331" y="80"/>
                    </a:lnTo>
                    <a:lnTo>
                      <a:pt x="331" y="78"/>
                    </a:lnTo>
                    <a:lnTo>
                      <a:pt x="328" y="78"/>
                    </a:lnTo>
                    <a:lnTo>
                      <a:pt x="328" y="78"/>
                    </a:lnTo>
                    <a:lnTo>
                      <a:pt x="328" y="78"/>
                    </a:lnTo>
                    <a:lnTo>
                      <a:pt x="328" y="75"/>
                    </a:lnTo>
                    <a:lnTo>
                      <a:pt x="326" y="75"/>
                    </a:lnTo>
                    <a:lnTo>
                      <a:pt x="326" y="73"/>
                    </a:lnTo>
                    <a:lnTo>
                      <a:pt x="324" y="73"/>
                    </a:lnTo>
                    <a:lnTo>
                      <a:pt x="324" y="70"/>
                    </a:lnTo>
                    <a:lnTo>
                      <a:pt x="324" y="70"/>
                    </a:lnTo>
                    <a:lnTo>
                      <a:pt x="326" y="70"/>
                    </a:lnTo>
                    <a:lnTo>
                      <a:pt x="326" y="70"/>
                    </a:lnTo>
                    <a:lnTo>
                      <a:pt x="328" y="68"/>
                    </a:lnTo>
                    <a:lnTo>
                      <a:pt x="326" y="68"/>
                    </a:lnTo>
                    <a:lnTo>
                      <a:pt x="328" y="68"/>
                    </a:lnTo>
                    <a:lnTo>
                      <a:pt x="326" y="66"/>
                    </a:lnTo>
                    <a:lnTo>
                      <a:pt x="324" y="66"/>
                    </a:lnTo>
                    <a:lnTo>
                      <a:pt x="324" y="66"/>
                    </a:lnTo>
                    <a:lnTo>
                      <a:pt x="324" y="66"/>
                    </a:lnTo>
                    <a:lnTo>
                      <a:pt x="324" y="63"/>
                    </a:lnTo>
                    <a:lnTo>
                      <a:pt x="321" y="63"/>
                    </a:lnTo>
                    <a:lnTo>
                      <a:pt x="321" y="61"/>
                    </a:lnTo>
                    <a:lnTo>
                      <a:pt x="321" y="61"/>
                    </a:lnTo>
                    <a:lnTo>
                      <a:pt x="324" y="61"/>
                    </a:lnTo>
                    <a:lnTo>
                      <a:pt x="321" y="59"/>
                    </a:lnTo>
                    <a:lnTo>
                      <a:pt x="321" y="59"/>
                    </a:lnTo>
                    <a:lnTo>
                      <a:pt x="324" y="59"/>
                    </a:lnTo>
                    <a:lnTo>
                      <a:pt x="324" y="59"/>
                    </a:lnTo>
                    <a:lnTo>
                      <a:pt x="324" y="56"/>
                    </a:lnTo>
                    <a:lnTo>
                      <a:pt x="328" y="56"/>
                    </a:lnTo>
                    <a:lnTo>
                      <a:pt x="326" y="54"/>
                    </a:lnTo>
                    <a:lnTo>
                      <a:pt x="326" y="54"/>
                    </a:lnTo>
                    <a:lnTo>
                      <a:pt x="328" y="52"/>
                    </a:lnTo>
                    <a:lnTo>
                      <a:pt x="328" y="52"/>
                    </a:lnTo>
                    <a:lnTo>
                      <a:pt x="326" y="52"/>
                    </a:lnTo>
                    <a:lnTo>
                      <a:pt x="328" y="49"/>
                    </a:lnTo>
                    <a:lnTo>
                      <a:pt x="328" y="49"/>
                    </a:lnTo>
                    <a:lnTo>
                      <a:pt x="328" y="49"/>
                    </a:lnTo>
                    <a:lnTo>
                      <a:pt x="331" y="49"/>
                    </a:lnTo>
                    <a:lnTo>
                      <a:pt x="331" y="47"/>
                    </a:lnTo>
                    <a:lnTo>
                      <a:pt x="333" y="44"/>
                    </a:lnTo>
                    <a:lnTo>
                      <a:pt x="333" y="44"/>
                    </a:lnTo>
                    <a:lnTo>
                      <a:pt x="333" y="44"/>
                    </a:lnTo>
                    <a:lnTo>
                      <a:pt x="336" y="44"/>
                    </a:lnTo>
                    <a:lnTo>
                      <a:pt x="338" y="44"/>
                    </a:lnTo>
                    <a:lnTo>
                      <a:pt x="338" y="44"/>
                    </a:lnTo>
                    <a:lnTo>
                      <a:pt x="338" y="44"/>
                    </a:lnTo>
                    <a:lnTo>
                      <a:pt x="340" y="42"/>
                    </a:lnTo>
                    <a:lnTo>
                      <a:pt x="340" y="44"/>
                    </a:lnTo>
                    <a:lnTo>
                      <a:pt x="343" y="44"/>
                    </a:lnTo>
                    <a:lnTo>
                      <a:pt x="343" y="42"/>
                    </a:lnTo>
                    <a:lnTo>
                      <a:pt x="343" y="42"/>
                    </a:lnTo>
                    <a:lnTo>
                      <a:pt x="345" y="42"/>
                    </a:lnTo>
                    <a:lnTo>
                      <a:pt x="347" y="42"/>
                    </a:lnTo>
                    <a:lnTo>
                      <a:pt x="347" y="40"/>
                    </a:lnTo>
                    <a:lnTo>
                      <a:pt x="347" y="37"/>
                    </a:lnTo>
                    <a:lnTo>
                      <a:pt x="347" y="37"/>
                    </a:lnTo>
                    <a:lnTo>
                      <a:pt x="350" y="35"/>
                    </a:lnTo>
                    <a:lnTo>
                      <a:pt x="352" y="37"/>
                    </a:lnTo>
                    <a:lnTo>
                      <a:pt x="352" y="37"/>
                    </a:lnTo>
                    <a:lnTo>
                      <a:pt x="359" y="35"/>
                    </a:lnTo>
                    <a:lnTo>
                      <a:pt x="359" y="37"/>
                    </a:lnTo>
                    <a:lnTo>
                      <a:pt x="362" y="37"/>
                    </a:lnTo>
                    <a:lnTo>
                      <a:pt x="362" y="42"/>
                    </a:lnTo>
                    <a:lnTo>
                      <a:pt x="366" y="42"/>
                    </a:lnTo>
                    <a:lnTo>
                      <a:pt x="366" y="42"/>
                    </a:lnTo>
                    <a:lnTo>
                      <a:pt x="366" y="42"/>
                    </a:lnTo>
                    <a:lnTo>
                      <a:pt x="369" y="42"/>
                    </a:lnTo>
                    <a:lnTo>
                      <a:pt x="366" y="37"/>
                    </a:lnTo>
                    <a:lnTo>
                      <a:pt x="366" y="37"/>
                    </a:lnTo>
                    <a:lnTo>
                      <a:pt x="369" y="37"/>
                    </a:lnTo>
                    <a:lnTo>
                      <a:pt x="371" y="40"/>
                    </a:lnTo>
                    <a:lnTo>
                      <a:pt x="371" y="44"/>
                    </a:lnTo>
                    <a:lnTo>
                      <a:pt x="371" y="44"/>
                    </a:lnTo>
                    <a:lnTo>
                      <a:pt x="373" y="44"/>
                    </a:lnTo>
                    <a:lnTo>
                      <a:pt x="373" y="42"/>
                    </a:lnTo>
                    <a:lnTo>
                      <a:pt x="376" y="40"/>
                    </a:lnTo>
                    <a:lnTo>
                      <a:pt x="376" y="37"/>
                    </a:lnTo>
                    <a:lnTo>
                      <a:pt x="376" y="37"/>
                    </a:lnTo>
                    <a:lnTo>
                      <a:pt x="378" y="42"/>
                    </a:lnTo>
                    <a:lnTo>
                      <a:pt x="380" y="42"/>
                    </a:lnTo>
                    <a:lnTo>
                      <a:pt x="380" y="42"/>
                    </a:lnTo>
                    <a:lnTo>
                      <a:pt x="380" y="37"/>
                    </a:lnTo>
                    <a:lnTo>
                      <a:pt x="383" y="37"/>
                    </a:lnTo>
                    <a:lnTo>
                      <a:pt x="385" y="37"/>
                    </a:lnTo>
                    <a:lnTo>
                      <a:pt x="385" y="35"/>
                    </a:lnTo>
                    <a:lnTo>
                      <a:pt x="390" y="35"/>
                    </a:lnTo>
                    <a:lnTo>
                      <a:pt x="390" y="35"/>
                    </a:lnTo>
                    <a:lnTo>
                      <a:pt x="390" y="37"/>
                    </a:lnTo>
                    <a:lnTo>
                      <a:pt x="392" y="37"/>
                    </a:lnTo>
                    <a:lnTo>
                      <a:pt x="395" y="37"/>
                    </a:lnTo>
                    <a:lnTo>
                      <a:pt x="395" y="37"/>
                    </a:lnTo>
                    <a:lnTo>
                      <a:pt x="392" y="33"/>
                    </a:lnTo>
                    <a:lnTo>
                      <a:pt x="397" y="30"/>
                    </a:lnTo>
                    <a:lnTo>
                      <a:pt x="397" y="30"/>
                    </a:lnTo>
                    <a:lnTo>
                      <a:pt x="399" y="28"/>
                    </a:lnTo>
                    <a:lnTo>
                      <a:pt x="399" y="26"/>
                    </a:lnTo>
                    <a:lnTo>
                      <a:pt x="399" y="26"/>
                    </a:lnTo>
                    <a:lnTo>
                      <a:pt x="402" y="23"/>
                    </a:lnTo>
                    <a:lnTo>
                      <a:pt x="404" y="23"/>
                    </a:lnTo>
                    <a:lnTo>
                      <a:pt x="404" y="23"/>
                    </a:lnTo>
                    <a:lnTo>
                      <a:pt x="402" y="19"/>
                    </a:lnTo>
                    <a:lnTo>
                      <a:pt x="404" y="19"/>
                    </a:lnTo>
                    <a:lnTo>
                      <a:pt x="404" y="16"/>
                    </a:lnTo>
                    <a:lnTo>
                      <a:pt x="406" y="14"/>
                    </a:lnTo>
                    <a:lnTo>
                      <a:pt x="411" y="16"/>
                    </a:lnTo>
                    <a:lnTo>
                      <a:pt x="411" y="16"/>
                    </a:lnTo>
                    <a:lnTo>
                      <a:pt x="413" y="14"/>
                    </a:lnTo>
                    <a:lnTo>
                      <a:pt x="416" y="14"/>
                    </a:lnTo>
                    <a:lnTo>
                      <a:pt x="416" y="14"/>
                    </a:lnTo>
                    <a:lnTo>
                      <a:pt x="416" y="11"/>
                    </a:lnTo>
                    <a:lnTo>
                      <a:pt x="416" y="11"/>
                    </a:lnTo>
                    <a:lnTo>
                      <a:pt x="413" y="11"/>
                    </a:lnTo>
                    <a:lnTo>
                      <a:pt x="413" y="14"/>
                    </a:lnTo>
                    <a:lnTo>
                      <a:pt x="411" y="14"/>
                    </a:lnTo>
                    <a:lnTo>
                      <a:pt x="411" y="11"/>
                    </a:lnTo>
                    <a:lnTo>
                      <a:pt x="411" y="9"/>
                    </a:lnTo>
                    <a:lnTo>
                      <a:pt x="413" y="7"/>
                    </a:lnTo>
                    <a:lnTo>
                      <a:pt x="413" y="7"/>
                    </a:lnTo>
                    <a:lnTo>
                      <a:pt x="416" y="9"/>
                    </a:lnTo>
                    <a:lnTo>
                      <a:pt x="416" y="9"/>
                    </a:lnTo>
                    <a:lnTo>
                      <a:pt x="416" y="11"/>
                    </a:lnTo>
                    <a:lnTo>
                      <a:pt x="416" y="11"/>
                    </a:lnTo>
                    <a:lnTo>
                      <a:pt x="421" y="9"/>
                    </a:lnTo>
                    <a:lnTo>
                      <a:pt x="421" y="9"/>
                    </a:lnTo>
                    <a:lnTo>
                      <a:pt x="423" y="9"/>
                    </a:lnTo>
                    <a:lnTo>
                      <a:pt x="423" y="9"/>
                    </a:lnTo>
                    <a:lnTo>
                      <a:pt x="423" y="9"/>
                    </a:lnTo>
                    <a:lnTo>
                      <a:pt x="425" y="9"/>
                    </a:lnTo>
                    <a:lnTo>
                      <a:pt x="425" y="9"/>
                    </a:lnTo>
                    <a:lnTo>
                      <a:pt x="425" y="11"/>
                    </a:lnTo>
                    <a:lnTo>
                      <a:pt x="425" y="9"/>
                    </a:lnTo>
                    <a:lnTo>
                      <a:pt x="425" y="9"/>
                    </a:lnTo>
                    <a:lnTo>
                      <a:pt x="425" y="9"/>
                    </a:lnTo>
                    <a:lnTo>
                      <a:pt x="428" y="9"/>
                    </a:lnTo>
                    <a:lnTo>
                      <a:pt x="428" y="11"/>
                    </a:lnTo>
                    <a:lnTo>
                      <a:pt x="428" y="9"/>
                    </a:lnTo>
                    <a:lnTo>
                      <a:pt x="430" y="11"/>
                    </a:lnTo>
                    <a:lnTo>
                      <a:pt x="430" y="11"/>
                    </a:lnTo>
                    <a:lnTo>
                      <a:pt x="430" y="14"/>
                    </a:lnTo>
                    <a:lnTo>
                      <a:pt x="430" y="14"/>
                    </a:lnTo>
                    <a:lnTo>
                      <a:pt x="432" y="14"/>
                    </a:lnTo>
                    <a:lnTo>
                      <a:pt x="432" y="14"/>
                    </a:lnTo>
                    <a:lnTo>
                      <a:pt x="435" y="14"/>
                    </a:lnTo>
                    <a:lnTo>
                      <a:pt x="435" y="14"/>
                    </a:lnTo>
                    <a:lnTo>
                      <a:pt x="435" y="14"/>
                    </a:lnTo>
                    <a:lnTo>
                      <a:pt x="439" y="16"/>
                    </a:lnTo>
                    <a:lnTo>
                      <a:pt x="439" y="19"/>
                    </a:lnTo>
                    <a:lnTo>
                      <a:pt x="439" y="21"/>
                    </a:lnTo>
                    <a:lnTo>
                      <a:pt x="439" y="21"/>
                    </a:lnTo>
                    <a:lnTo>
                      <a:pt x="439" y="21"/>
                    </a:lnTo>
                    <a:lnTo>
                      <a:pt x="439" y="21"/>
                    </a:lnTo>
                    <a:lnTo>
                      <a:pt x="442" y="23"/>
                    </a:lnTo>
                    <a:lnTo>
                      <a:pt x="442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3"/>
                    </a:lnTo>
                    <a:lnTo>
                      <a:pt x="444" y="21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4" y="19"/>
                    </a:lnTo>
                    <a:lnTo>
                      <a:pt x="444" y="16"/>
                    </a:lnTo>
                    <a:lnTo>
                      <a:pt x="444" y="16"/>
                    </a:lnTo>
                    <a:lnTo>
                      <a:pt x="444" y="16"/>
                    </a:lnTo>
                    <a:lnTo>
                      <a:pt x="449" y="14"/>
                    </a:lnTo>
                    <a:lnTo>
                      <a:pt x="451" y="14"/>
                    </a:lnTo>
                    <a:lnTo>
                      <a:pt x="451" y="11"/>
                    </a:lnTo>
                    <a:lnTo>
                      <a:pt x="454" y="14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6" y="11"/>
                    </a:lnTo>
                    <a:lnTo>
                      <a:pt x="456" y="14"/>
                    </a:lnTo>
                    <a:lnTo>
                      <a:pt x="458" y="14"/>
                    </a:lnTo>
                    <a:lnTo>
                      <a:pt x="458" y="14"/>
                    </a:lnTo>
                    <a:lnTo>
                      <a:pt x="458" y="14"/>
                    </a:lnTo>
                    <a:lnTo>
                      <a:pt x="461" y="14"/>
                    </a:lnTo>
                    <a:lnTo>
                      <a:pt x="461" y="14"/>
                    </a:lnTo>
                    <a:lnTo>
                      <a:pt x="461" y="16"/>
                    </a:lnTo>
                    <a:lnTo>
                      <a:pt x="463" y="16"/>
                    </a:lnTo>
                    <a:lnTo>
                      <a:pt x="463" y="16"/>
                    </a:lnTo>
                    <a:lnTo>
                      <a:pt x="463" y="14"/>
                    </a:lnTo>
                    <a:lnTo>
                      <a:pt x="465" y="14"/>
                    </a:lnTo>
                    <a:lnTo>
                      <a:pt x="465" y="11"/>
                    </a:lnTo>
                    <a:lnTo>
                      <a:pt x="465" y="11"/>
                    </a:lnTo>
                    <a:lnTo>
                      <a:pt x="465" y="11"/>
                    </a:lnTo>
                    <a:lnTo>
                      <a:pt x="463" y="11"/>
                    </a:lnTo>
                    <a:lnTo>
                      <a:pt x="463" y="11"/>
                    </a:lnTo>
                    <a:lnTo>
                      <a:pt x="463" y="11"/>
                    </a:lnTo>
                    <a:lnTo>
                      <a:pt x="463" y="9"/>
                    </a:lnTo>
                    <a:lnTo>
                      <a:pt x="463" y="9"/>
                    </a:lnTo>
                    <a:lnTo>
                      <a:pt x="465" y="9"/>
                    </a:lnTo>
                    <a:lnTo>
                      <a:pt x="468" y="9"/>
                    </a:lnTo>
                    <a:lnTo>
                      <a:pt x="468" y="9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68" y="11"/>
                    </a:lnTo>
                    <a:lnTo>
                      <a:pt x="470" y="14"/>
                    </a:lnTo>
                    <a:lnTo>
                      <a:pt x="470" y="14"/>
                    </a:lnTo>
                    <a:lnTo>
                      <a:pt x="473" y="14"/>
                    </a:lnTo>
                    <a:lnTo>
                      <a:pt x="475" y="11"/>
                    </a:lnTo>
                    <a:lnTo>
                      <a:pt x="475" y="9"/>
                    </a:lnTo>
                    <a:lnTo>
                      <a:pt x="477" y="11"/>
                    </a:lnTo>
                    <a:lnTo>
                      <a:pt x="477" y="14"/>
                    </a:lnTo>
                    <a:lnTo>
                      <a:pt x="477" y="11"/>
                    </a:lnTo>
                    <a:lnTo>
                      <a:pt x="477" y="11"/>
                    </a:lnTo>
                    <a:lnTo>
                      <a:pt x="477" y="11"/>
                    </a:lnTo>
                    <a:lnTo>
                      <a:pt x="480" y="11"/>
                    </a:lnTo>
                    <a:lnTo>
                      <a:pt x="480" y="9"/>
                    </a:lnTo>
                    <a:lnTo>
                      <a:pt x="482" y="9"/>
                    </a:lnTo>
                    <a:lnTo>
                      <a:pt x="482" y="9"/>
                    </a:lnTo>
                    <a:lnTo>
                      <a:pt x="484" y="11"/>
                    </a:lnTo>
                    <a:lnTo>
                      <a:pt x="487" y="11"/>
                    </a:lnTo>
                    <a:lnTo>
                      <a:pt x="484" y="9"/>
                    </a:lnTo>
                    <a:lnTo>
                      <a:pt x="484" y="9"/>
                    </a:lnTo>
                    <a:lnTo>
                      <a:pt x="487" y="9"/>
                    </a:lnTo>
                    <a:lnTo>
                      <a:pt x="487" y="7"/>
                    </a:lnTo>
                    <a:lnTo>
                      <a:pt x="489" y="9"/>
                    </a:lnTo>
                    <a:lnTo>
                      <a:pt x="489" y="9"/>
                    </a:lnTo>
                    <a:lnTo>
                      <a:pt x="489" y="11"/>
                    </a:lnTo>
                    <a:lnTo>
                      <a:pt x="489" y="14"/>
                    </a:lnTo>
                    <a:lnTo>
                      <a:pt x="494" y="9"/>
                    </a:lnTo>
                    <a:lnTo>
                      <a:pt x="491" y="9"/>
                    </a:lnTo>
                    <a:lnTo>
                      <a:pt x="491" y="9"/>
                    </a:lnTo>
                    <a:lnTo>
                      <a:pt x="494" y="7"/>
                    </a:lnTo>
                    <a:lnTo>
                      <a:pt x="494" y="9"/>
                    </a:lnTo>
                    <a:lnTo>
                      <a:pt x="494" y="9"/>
                    </a:lnTo>
                    <a:lnTo>
                      <a:pt x="494" y="9"/>
                    </a:lnTo>
                    <a:lnTo>
                      <a:pt x="496" y="9"/>
                    </a:lnTo>
                    <a:lnTo>
                      <a:pt x="499" y="9"/>
                    </a:lnTo>
                    <a:lnTo>
                      <a:pt x="499" y="11"/>
                    </a:lnTo>
                    <a:lnTo>
                      <a:pt x="499" y="9"/>
                    </a:lnTo>
                    <a:lnTo>
                      <a:pt x="503" y="11"/>
                    </a:lnTo>
                    <a:lnTo>
                      <a:pt x="503" y="11"/>
                    </a:lnTo>
                    <a:lnTo>
                      <a:pt x="503" y="14"/>
                    </a:lnTo>
                    <a:lnTo>
                      <a:pt x="503" y="14"/>
                    </a:lnTo>
                    <a:lnTo>
                      <a:pt x="506" y="14"/>
                    </a:lnTo>
                    <a:lnTo>
                      <a:pt x="506" y="14"/>
                    </a:lnTo>
                    <a:lnTo>
                      <a:pt x="506" y="14"/>
                    </a:lnTo>
                    <a:lnTo>
                      <a:pt x="506" y="14"/>
                    </a:lnTo>
                    <a:lnTo>
                      <a:pt x="508" y="14"/>
                    </a:lnTo>
                    <a:lnTo>
                      <a:pt x="508" y="16"/>
                    </a:lnTo>
                    <a:lnTo>
                      <a:pt x="506" y="16"/>
                    </a:lnTo>
                    <a:lnTo>
                      <a:pt x="506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9"/>
                    </a:lnTo>
                    <a:lnTo>
                      <a:pt x="508" y="19"/>
                    </a:lnTo>
                    <a:lnTo>
                      <a:pt x="510" y="19"/>
                    </a:lnTo>
                    <a:lnTo>
                      <a:pt x="510" y="21"/>
                    </a:lnTo>
                    <a:lnTo>
                      <a:pt x="513" y="21"/>
                    </a:lnTo>
                    <a:lnTo>
                      <a:pt x="513" y="21"/>
                    </a:lnTo>
                    <a:lnTo>
                      <a:pt x="513" y="19"/>
                    </a:lnTo>
                    <a:lnTo>
                      <a:pt x="515" y="23"/>
                    </a:lnTo>
                    <a:lnTo>
                      <a:pt x="515" y="23"/>
                    </a:lnTo>
                    <a:lnTo>
                      <a:pt x="515" y="21"/>
                    </a:lnTo>
                    <a:lnTo>
                      <a:pt x="515" y="21"/>
                    </a:lnTo>
                    <a:lnTo>
                      <a:pt x="515" y="19"/>
                    </a:lnTo>
                    <a:lnTo>
                      <a:pt x="515" y="19"/>
                    </a:lnTo>
                    <a:lnTo>
                      <a:pt x="515" y="21"/>
                    </a:lnTo>
                    <a:lnTo>
                      <a:pt x="517" y="23"/>
                    </a:lnTo>
                    <a:lnTo>
                      <a:pt x="517" y="26"/>
                    </a:lnTo>
                    <a:lnTo>
                      <a:pt x="520" y="26"/>
                    </a:lnTo>
                    <a:lnTo>
                      <a:pt x="522" y="26"/>
                    </a:lnTo>
                    <a:lnTo>
                      <a:pt x="520" y="26"/>
                    </a:lnTo>
                    <a:lnTo>
                      <a:pt x="520" y="28"/>
                    </a:lnTo>
                    <a:lnTo>
                      <a:pt x="522" y="28"/>
                    </a:lnTo>
                    <a:lnTo>
                      <a:pt x="522" y="26"/>
                    </a:lnTo>
                    <a:lnTo>
                      <a:pt x="525" y="28"/>
                    </a:lnTo>
                    <a:lnTo>
                      <a:pt x="525" y="28"/>
                    </a:lnTo>
                    <a:lnTo>
                      <a:pt x="527" y="28"/>
                    </a:lnTo>
                    <a:lnTo>
                      <a:pt x="525" y="30"/>
                    </a:lnTo>
                    <a:lnTo>
                      <a:pt x="527" y="30"/>
                    </a:lnTo>
                    <a:lnTo>
                      <a:pt x="527" y="33"/>
                    </a:lnTo>
                    <a:lnTo>
                      <a:pt x="527" y="30"/>
                    </a:lnTo>
                    <a:lnTo>
                      <a:pt x="529" y="33"/>
                    </a:lnTo>
                    <a:lnTo>
                      <a:pt x="529" y="30"/>
                    </a:lnTo>
                    <a:lnTo>
                      <a:pt x="529" y="30"/>
                    </a:lnTo>
                    <a:lnTo>
                      <a:pt x="529" y="33"/>
                    </a:lnTo>
                    <a:lnTo>
                      <a:pt x="532" y="33"/>
                    </a:lnTo>
                    <a:lnTo>
                      <a:pt x="532" y="33"/>
                    </a:lnTo>
                    <a:lnTo>
                      <a:pt x="532" y="33"/>
                    </a:lnTo>
                    <a:lnTo>
                      <a:pt x="532" y="33"/>
                    </a:lnTo>
                    <a:lnTo>
                      <a:pt x="532" y="30"/>
                    </a:lnTo>
                    <a:lnTo>
                      <a:pt x="534" y="30"/>
                    </a:lnTo>
                    <a:lnTo>
                      <a:pt x="534" y="33"/>
                    </a:lnTo>
                    <a:lnTo>
                      <a:pt x="532" y="33"/>
                    </a:lnTo>
                    <a:lnTo>
                      <a:pt x="534" y="35"/>
                    </a:lnTo>
                    <a:lnTo>
                      <a:pt x="534" y="35"/>
                    </a:lnTo>
                    <a:lnTo>
                      <a:pt x="534" y="33"/>
                    </a:lnTo>
                    <a:lnTo>
                      <a:pt x="534" y="35"/>
                    </a:lnTo>
                    <a:lnTo>
                      <a:pt x="536" y="35"/>
                    </a:lnTo>
                    <a:lnTo>
                      <a:pt x="536" y="35"/>
                    </a:lnTo>
                    <a:lnTo>
                      <a:pt x="536" y="35"/>
                    </a:lnTo>
                    <a:lnTo>
                      <a:pt x="536" y="35"/>
                    </a:lnTo>
                    <a:lnTo>
                      <a:pt x="539" y="35"/>
                    </a:lnTo>
                    <a:lnTo>
                      <a:pt x="539" y="35"/>
                    </a:lnTo>
                    <a:lnTo>
                      <a:pt x="539" y="35"/>
                    </a:lnTo>
                    <a:lnTo>
                      <a:pt x="539" y="35"/>
                    </a:lnTo>
                    <a:lnTo>
                      <a:pt x="541" y="37"/>
                    </a:lnTo>
                    <a:lnTo>
                      <a:pt x="543" y="37"/>
                    </a:lnTo>
                    <a:lnTo>
                      <a:pt x="543" y="35"/>
                    </a:lnTo>
                    <a:lnTo>
                      <a:pt x="543" y="35"/>
                    </a:lnTo>
                    <a:lnTo>
                      <a:pt x="543" y="35"/>
                    </a:lnTo>
                    <a:lnTo>
                      <a:pt x="543" y="35"/>
                    </a:lnTo>
                    <a:lnTo>
                      <a:pt x="546" y="35"/>
                    </a:lnTo>
                    <a:lnTo>
                      <a:pt x="543" y="35"/>
                    </a:lnTo>
                    <a:lnTo>
                      <a:pt x="543" y="35"/>
                    </a:lnTo>
                    <a:lnTo>
                      <a:pt x="546" y="35"/>
                    </a:lnTo>
                    <a:lnTo>
                      <a:pt x="546" y="35"/>
                    </a:lnTo>
                    <a:lnTo>
                      <a:pt x="546" y="35"/>
                    </a:lnTo>
                    <a:lnTo>
                      <a:pt x="546" y="35"/>
                    </a:lnTo>
                    <a:lnTo>
                      <a:pt x="548" y="35"/>
                    </a:lnTo>
                    <a:lnTo>
                      <a:pt x="548" y="35"/>
                    </a:lnTo>
                    <a:lnTo>
                      <a:pt x="548" y="35"/>
                    </a:lnTo>
                    <a:lnTo>
                      <a:pt x="551" y="35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51" y="33"/>
                    </a:lnTo>
                    <a:lnTo>
                      <a:pt x="551" y="33"/>
                    </a:lnTo>
                    <a:lnTo>
                      <a:pt x="551" y="33"/>
                    </a:lnTo>
                    <a:lnTo>
                      <a:pt x="551" y="30"/>
                    </a:lnTo>
                    <a:lnTo>
                      <a:pt x="551" y="30"/>
                    </a:lnTo>
                    <a:lnTo>
                      <a:pt x="553" y="30"/>
                    </a:lnTo>
                    <a:lnTo>
                      <a:pt x="553" y="28"/>
                    </a:lnTo>
                    <a:lnTo>
                      <a:pt x="555" y="28"/>
                    </a:lnTo>
                    <a:lnTo>
                      <a:pt x="555" y="28"/>
                    </a:lnTo>
                    <a:lnTo>
                      <a:pt x="558" y="28"/>
                    </a:lnTo>
                    <a:lnTo>
                      <a:pt x="558" y="28"/>
                    </a:lnTo>
                    <a:lnTo>
                      <a:pt x="558" y="28"/>
                    </a:lnTo>
                    <a:lnTo>
                      <a:pt x="560" y="28"/>
                    </a:lnTo>
                    <a:lnTo>
                      <a:pt x="560" y="28"/>
                    </a:lnTo>
                    <a:lnTo>
                      <a:pt x="560" y="28"/>
                    </a:lnTo>
                    <a:lnTo>
                      <a:pt x="560" y="26"/>
                    </a:lnTo>
                    <a:lnTo>
                      <a:pt x="562" y="28"/>
                    </a:lnTo>
                    <a:lnTo>
                      <a:pt x="562" y="26"/>
                    </a:lnTo>
                    <a:lnTo>
                      <a:pt x="562" y="26"/>
                    </a:lnTo>
                    <a:lnTo>
                      <a:pt x="562" y="28"/>
                    </a:lnTo>
                    <a:lnTo>
                      <a:pt x="562" y="26"/>
                    </a:lnTo>
                    <a:lnTo>
                      <a:pt x="565" y="26"/>
                    </a:lnTo>
                    <a:lnTo>
                      <a:pt x="565" y="26"/>
                    </a:lnTo>
                    <a:lnTo>
                      <a:pt x="565" y="26"/>
                    </a:lnTo>
                    <a:lnTo>
                      <a:pt x="567" y="26"/>
                    </a:lnTo>
                    <a:lnTo>
                      <a:pt x="567" y="26"/>
                    </a:lnTo>
                    <a:lnTo>
                      <a:pt x="567" y="26"/>
                    </a:lnTo>
                    <a:lnTo>
                      <a:pt x="567" y="23"/>
                    </a:lnTo>
                    <a:lnTo>
                      <a:pt x="567" y="26"/>
                    </a:lnTo>
                    <a:lnTo>
                      <a:pt x="567" y="23"/>
                    </a:lnTo>
                    <a:lnTo>
                      <a:pt x="569" y="23"/>
                    </a:lnTo>
                    <a:lnTo>
                      <a:pt x="569" y="23"/>
                    </a:lnTo>
                    <a:lnTo>
                      <a:pt x="569" y="23"/>
                    </a:lnTo>
                    <a:lnTo>
                      <a:pt x="569" y="23"/>
                    </a:lnTo>
                    <a:lnTo>
                      <a:pt x="572" y="21"/>
                    </a:lnTo>
                    <a:lnTo>
                      <a:pt x="574" y="21"/>
                    </a:lnTo>
                    <a:lnTo>
                      <a:pt x="574" y="21"/>
                    </a:lnTo>
                    <a:lnTo>
                      <a:pt x="574" y="21"/>
                    </a:lnTo>
                    <a:lnTo>
                      <a:pt x="576" y="21"/>
                    </a:lnTo>
                    <a:lnTo>
                      <a:pt x="574" y="19"/>
                    </a:lnTo>
                    <a:lnTo>
                      <a:pt x="576" y="19"/>
                    </a:lnTo>
                    <a:lnTo>
                      <a:pt x="576" y="19"/>
                    </a:lnTo>
                    <a:lnTo>
                      <a:pt x="576" y="19"/>
                    </a:lnTo>
                    <a:lnTo>
                      <a:pt x="576" y="19"/>
                    </a:lnTo>
                    <a:lnTo>
                      <a:pt x="576" y="19"/>
                    </a:lnTo>
                    <a:lnTo>
                      <a:pt x="576" y="16"/>
                    </a:lnTo>
                    <a:lnTo>
                      <a:pt x="576" y="16"/>
                    </a:lnTo>
                    <a:lnTo>
                      <a:pt x="576" y="16"/>
                    </a:lnTo>
                    <a:lnTo>
                      <a:pt x="579" y="16"/>
                    </a:lnTo>
                    <a:lnTo>
                      <a:pt x="579" y="16"/>
                    </a:lnTo>
                    <a:lnTo>
                      <a:pt x="579" y="16"/>
                    </a:lnTo>
                    <a:lnTo>
                      <a:pt x="579" y="16"/>
                    </a:lnTo>
                    <a:lnTo>
                      <a:pt x="579" y="16"/>
                    </a:lnTo>
                    <a:lnTo>
                      <a:pt x="579" y="16"/>
                    </a:lnTo>
                    <a:lnTo>
                      <a:pt x="581" y="16"/>
                    </a:lnTo>
                    <a:lnTo>
                      <a:pt x="581" y="14"/>
                    </a:lnTo>
                    <a:lnTo>
                      <a:pt x="581" y="14"/>
                    </a:lnTo>
                    <a:lnTo>
                      <a:pt x="581" y="14"/>
                    </a:lnTo>
                    <a:lnTo>
                      <a:pt x="581" y="11"/>
                    </a:lnTo>
                    <a:lnTo>
                      <a:pt x="584" y="11"/>
                    </a:lnTo>
                    <a:lnTo>
                      <a:pt x="581" y="9"/>
                    </a:lnTo>
                    <a:lnTo>
                      <a:pt x="584" y="9"/>
                    </a:lnTo>
                    <a:lnTo>
                      <a:pt x="584" y="9"/>
                    </a:lnTo>
                    <a:lnTo>
                      <a:pt x="586" y="9"/>
                    </a:lnTo>
                    <a:lnTo>
                      <a:pt x="586" y="9"/>
                    </a:lnTo>
                    <a:lnTo>
                      <a:pt x="588" y="9"/>
                    </a:lnTo>
                    <a:lnTo>
                      <a:pt x="588" y="7"/>
                    </a:lnTo>
                    <a:lnTo>
                      <a:pt x="591" y="7"/>
                    </a:lnTo>
                    <a:lnTo>
                      <a:pt x="591" y="7"/>
                    </a:lnTo>
                    <a:lnTo>
                      <a:pt x="591" y="7"/>
                    </a:lnTo>
                    <a:lnTo>
                      <a:pt x="593" y="7"/>
                    </a:lnTo>
                    <a:lnTo>
                      <a:pt x="593" y="7"/>
                    </a:lnTo>
                    <a:lnTo>
                      <a:pt x="595" y="9"/>
                    </a:lnTo>
                    <a:lnTo>
                      <a:pt x="595" y="7"/>
                    </a:lnTo>
                    <a:lnTo>
                      <a:pt x="595" y="7"/>
                    </a:lnTo>
                    <a:lnTo>
                      <a:pt x="595" y="9"/>
                    </a:lnTo>
                    <a:lnTo>
                      <a:pt x="595" y="7"/>
                    </a:lnTo>
                    <a:lnTo>
                      <a:pt x="598" y="7"/>
                    </a:lnTo>
                    <a:lnTo>
                      <a:pt x="595" y="7"/>
                    </a:lnTo>
                    <a:lnTo>
                      <a:pt x="598" y="7"/>
                    </a:lnTo>
                    <a:lnTo>
                      <a:pt x="598" y="7"/>
                    </a:lnTo>
                    <a:lnTo>
                      <a:pt x="600" y="7"/>
                    </a:lnTo>
                    <a:lnTo>
                      <a:pt x="600" y="7"/>
                    </a:lnTo>
                    <a:lnTo>
                      <a:pt x="600" y="7"/>
                    </a:lnTo>
                    <a:lnTo>
                      <a:pt x="600" y="7"/>
                    </a:lnTo>
                    <a:lnTo>
                      <a:pt x="602" y="7"/>
                    </a:lnTo>
                    <a:lnTo>
                      <a:pt x="605" y="7"/>
                    </a:lnTo>
                    <a:lnTo>
                      <a:pt x="605" y="7"/>
                    </a:lnTo>
                    <a:lnTo>
                      <a:pt x="605" y="9"/>
                    </a:lnTo>
                    <a:lnTo>
                      <a:pt x="607" y="9"/>
                    </a:lnTo>
                    <a:lnTo>
                      <a:pt x="607" y="9"/>
                    </a:lnTo>
                    <a:lnTo>
                      <a:pt x="607" y="7"/>
                    </a:lnTo>
                    <a:lnTo>
                      <a:pt x="610" y="7"/>
                    </a:lnTo>
                    <a:lnTo>
                      <a:pt x="610" y="9"/>
                    </a:lnTo>
                    <a:lnTo>
                      <a:pt x="610" y="9"/>
                    </a:lnTo>
                    <a:lnTo>
                      <a:pt x="612" y="9"/>
                    </a:lnTo>
                    <a:lnTo>
                      <a:pt x="612" y="7"/>
                    </a:lnTo>
                    <a:lnTo>
                      <a:pt x="614" y="7"/>
                    </a:lnTo>
                    <a:lnTo>
                      <a:pt x="614" y="7"/>
                    </a:lnTo>
                    <a:lnTo>
                      <a:pt x="614" y="7"/>
                    </a:lnTo>
                    <a:lnTo>
                      <a:pt x="614" y="7"/>
                    </a:lnTo>
                    <a:lnTo>
                      <a:pt x="617" y="4"/>
                    </a:lnTo>
                    <a:lnTo>
                      <a:pt x="617" y="4"/>
                    </a:lnTo>
                    <a:lnTo>
                      <a:pt x="617" y="4"/>
                    </a:lnTo>
                    <a:lnTo>
                      <a:pt x="617" y="4"/>
                    </a:lnTo>
                    <a:lnTo>
                      <a:pt x="619" y="4"/>
                    </a:lnTo>
                    <a:lnTo>
                      <a:pt x="619" y="4"/>
                    </a:lnTo>
                    <a:lnTo>
                      <a:pt x="617" y="4"/>
                    </a:lnTo>
                    <a:lnTo>
                      <a:pt x="636" y="4"/>
                    </a:lnTo>
                    <a:lnTo>
                      <a:pt x="650" y="4"/>
                    </a:lnTo>
                    <a:lnTo>
                      <a:pt x="654" y="4"/>
                    </a:lnTo>
                    <a:lnTo>
                      <a:pt x="654" y="4"/>
                    </a:lnTo>
                    <a:lnTo>
                      <a:pt x="654" y="4"/>
                    </a:lnTo>
                    <a:lnTo>
                      <a:pt x="654" y="4"/>
                    </a:lnTo>
                    <a:lnTo>
                      <a:pt x="654" y="2"/>
                    </a:lnTo>
                    <a:lnTo>
                      <a:pt x="657" y="0"/>
                    </a:lnTo>
                    <a:lnTo>
                      <a:pt x="659" y="2"/>
                    </a:lnTo>
                    <a:lnTo>
                      <a:pt x="659" y="2"/>
                    </a:lnTo>
                    <a:lnTo>
                      <a:pt x="659" y="4"/>
                    </a:lnTo>
                    <a:lnTo>
                      <a:pt x="662" y="4"/>
                    </a:lnTo>
                    <a:lnTo>
                      <a:pt x="662" y="4"/>
                    </a:lnTo>
                    <a:lnTo>
                      <a:pt x="662" y="4"/>
                    </a:lnTo>
                    <a:lnTo>
                      <a:pt x="662" y="4"/>
                    </a:lnTo>
                    <a:lnTo>
                      <a:pt x="662" y="4"/>
                    </a:lnTo>
                    <a:lnTo>
                      <a:pt x="664" y="4"/>
                    </a:lnTo>
                    <a:lnTo>
                      <a:pt x="664" y="4"/>
                    </a:lnTo>
                    <a:lnTo>
                      <a:pt x="664" y="7"/>
                    </a:lnTo>
                    <a:lnTo>
                      <a:pt x="662" y="14"/>
                    </a:lnTo>
                    <a:lnTo>
                      <a:pt x="664" y="16"/>
                    </a:lnTo>
                    <a:lnTo>
                      <a:pt x="664" y="16"/>
                    </a:lnTo>
                    <a:lnTo>
                      <a:pt x="664" y="23"/>
                    </a:lnTo>
                    <a:lnTo>
                      <a:pt x="666" y="28"/>
                    </a:lnTo>
                    <a:lnTo>
                      <a:pt x="669" y="28"/>
                    </a:lnTo>
                    <a:lnTo>
                      <a:pt x="669" y="28"/>
                    </a:lnTo>
                    <a:lnTo>
                      <a:pt x="671" y="28"/>
                    </a:lnTo>
                    <a:lnTo>
                      <a:pt x="673" y="28"/>
                    </a:lnTo>
                    <a:lnTo>
                      <a:pt x="673" y="28"/>
                    </a:lnTo>
                    <a:lnTo>
                      <a:pt x="673" y="33"/>
                    </a:lnTo>
                    <a:lnTo>
                      <a:pt x="673" y="35"/>
                    </a:lnTo>
                    <a:lnTo>
                      <a:pt x="676" y="35"/>
                    </a:lnTo>
                    <a:lnTo>
                      <a:pt x="676" y="35"/>
                    </a:lnTo>
                    <a:lnTo>
                      <a:pt x="678" y="35"/>
                    </a:lnTo>
                    <a:lnTo>
                      <a:pt x="678" y="35"/>
                    </a:lnTo>
                    <a:lnTo>
                      <a:pt x="676" y="37"/>
                    </a:lnTo>
                    <a:lnTo>
                      <a:pt x="676" y="37"/>
                    </a:lnTo>
                    <a:lnTo>
                      <a:pt x="671" y="44"/>
                    </a:lnTo>
                    <a:lnTo>
                      <a:pt x="669" y="49"/>
                    </a:lnTo>
                    <a:lnTo>
                      <a:pt x="669" y="54"/>
                    </a:lnTo>
                    <a:lnTo>
                      <a:pt x="664" y="59"/>
                    </a:lnTo>
                    <a:lnTo>
                      <a:pt x="664" y="63"/>
                    </a:lnTo>
                    <a:lnTo>
                      <a:pt x="664" y="66"/>
                    </a:lnTo>
                    <a:lnTo>
                      <a:pt x="662" y="68"/>
                    </a:lnTo>
                    <a:lnTo>
                      <a:pt x="659" y="73"/>
                    </a:lnTo>
                    <a:lnTo>
                      <a:pt x="657" y="78"/>
                    </a:lnTo>
                    <a:lnTo>
                      <a:pt x="657" y="80"/>
                    </a:lnTo>
                    <a:lnTo>
                      <a:pt x="654" y="82"/>
                    </a:lnTo>
                    <a:lnTo>
                      <a:pt x="654" y="87"/>
                    </a:lnTo>
                    <a:lnTo>
                      <a:pt x="652" y="94"/>
                    </a:lnTo>
                    <a:lnTo>
                      <a:pt x="652" y="96"/>
                    </a:lnTo>
                    <a:lnTo>
                      <a:pt x="654" y="99"/>
                    </a:lnTo>
                    <a:lnTo>
                      <a:pt x="652" y="101"/>
                    </a:lnTo>
                    <a:lnTo>
                      <a:pt x="654" y="106"/>
                    </a:lnTo>
                    <a:lnTo>
                      <a:pt x="654" y="106"/>
                    </a:lnTo>
                    <a:lnTo>
                      <a:pt x="654" y="106"/>
                    </a:lnTo>
                    <a:lnTo>
                      <a:pt x="657" y="108"/>
                    </a:lnTo>
                    <a:lnTo>
                      <a:pt x="657" y="106"/>
                    </a:lnTo>
                    <a:lnTo>
                      <a:pt x="659" y="106"/>
                    </a:lnTo>
                    <a:lnTo>
                      <a:pt x="659" y="108"/>
                    </a:lnTo>
                    <a:lnTo>
                      <a:pt x="662" y="108"/>
                    </a:lnTo>
                    <a:lnTo>
                      <a:pt x="664" y="108"/>
                    </a:lnTo>
                    <a:lnTo>
                      <a:pt x="664" y="108"/>
                    </a:lnTo>
                    <a:lnTo>
                      <a:pt x="664" y="108"/>
                    </a:lnTo>
                    <a:lnTo>
                      <a:pt x="666" y="108"/>
                    </a:lnTo>
                    <a:lnTo>
                      <a:pt x="664" y="111"/>
                    </a:lnTo>
                    <a:lnTo>
                      <a:pt x="666" y="111"/>
                    </a:lnTo>
                    <a:lnTo>
                      <a:pt x="664" y="111"/>
                    </a:lnTo>
                    <a:lnTo>
                      <a:pt x="664" y="111"/>
                    </a:lnTo>
                    <a:lnTo>
                      <a:pt x="664" y="115"/>
                    </a:lnTo>
                    <a:lnTo>
                      <a:pt x="662" y="115"/>
                    </a:lnTo>
                    <a:lnTo>
                      <a:pt x="659" y="115"/>
                    </a:lnTo>
                    <a:lnTo>
                      <a:pt x="659" y="120"/>
                    </a:lnTo>
                    <a:lnTo>
                      <a:pt x="657" y="125"/>
                    </a:lnTo>
                    <a:lnTo>
                      <a:pt x="659" y="125"/>
                    </a:lnTo>
                    <a:lnTo>
                      <a:pt x="657" y="127"/>
                    </a:lnTo>
                    <a:lnTo>
                      <a:pt x="659" y="127"/>
                    </a:lnTo>
                    <a:lnTo>
                      <a:pt x="662" y="127"/>
                    </a:lnTo>
                    <a:lnTo>
                      <a:pt x="659" y="130"/>
                    </a:lnTo>
                    <a:lnTo>
                      <a:pt x="659" y="132"/>
                    </a:lnTo>
                    <a:lnTo>
                      <a:pt x="662" y="132"/>
                    </a:lnTo>
                    <a:lnTo>
                      <a:pt x="659" y="132"/>
                    </a:lnTo>
                    <a:lnTo>
                      <a:pt x="662" y="134"/>
                    </a:lnTo>
                    <a:lnTo>
                      <a:pt x="659" y="134"/>
                    </a:lnTo>
                    <a:lnTo>
                      <a:pt x="659" y="134"/>
                    </a:lnTo>
                    <a:lnTo>
                      <a:pt x="662" y="137"/>
                    </a:lnTo>
                    <a:lnTo>
                      <a:pt x="662" y="137"/>
                    </a:lnTo>
                    <a:lnTo>
                      <a:pt x="664" y="137"/>
                    </a:lnTo>
                    <a:lnTo>
                      <a:pt x="664" y="137"/>
                    </a:lnTo>
                    <a:lnTo>
                      <a:pt x="664" y="137"/>
                    </a:lnTo>
                    <a:lnTo>
                      <a:pt x="664" y="137"/>
                    </a:lnTo>
                    <a:lnTo>
                      <a:pt x="664" y="137"/>
                    </a:lnTo>
                    <a:lnTo>
                      <a:pt x="666" y="137"/>
                    </a:lnTo>
                    <a:lnTo>
                      <a:pt x="666" y="137"/>
                    </a:lnTo>
                    <a:lnTo>
                      <a:pt x="666" y="139"/>
                    </a:lnTo>
                    <a:lnTo>
                      <a:pt x="669" y="139"/>
                    </a:lnTo>
                    <a:lnTo>
                      <a:pt x="666" y="139"/>
                    </a:lnTo>
                    <a:lnTo>
                      <a:pt x="669" y="141"/>
                    </a:lnTo>
                    <a:lnTo>
                      <a:pt x="666" y="141"/>
                    </a:lnTo>
                    <a:lnTo>
                      <a:pt x="666" y="141"/>
                    </a:lnTo>
                    <a:lnTo>
                      <a:pt x="666" y="144"/>
                    </a:lnTo>
                    <a:lnTo>
                      <a:pt x="664" y="146"/>
                    </a:lnTo>
                    <a:lnTo>
                      <a:pt x="664" y="146"/>
                    </a:lnTo>
                    <a:lnTo>
                      <a:pt x="664" y="148"/>
                    </a:lnTo>
                    <a:lnTo>
                      <a:pt x="664" y="148"/>
                    </a:lnTo>
                    <a:lnTo>
                      <a:pt x="664" y="148"/>
                    </a:lnTo>
                    <a:lnTo>
                      <a:pt x="664" y="151"/>
                    </a:lnTo>
                    <a:lnTo>
                      <a:pt x="664" y="148"/>
                    </a:lnTo>
                    <a:lnTo>
                      <a:pt x="662" y="148"/>
                    </a:lnTo>
                    <a:lnTo>
                      <a:pt x="662" y="151"/>
                    </a:lnTo>
                    <a:lnTo>
                      <a:pt x="664" y="153"/>
                    </a:lnTo>
                    <a:lnTo>
                      <a:pt x="666" y="156"/>
                    </a:lnTo>
                    <a:lnTo>
                      <a:pt x="669" y="158"/>
                    </a:lnTo>
                    <a:lnTo>
                      <a:pt x="669" y="158"/>
                    </a:lnTo>
                    <a:lnTo>
                      <a:pt x="671" y="158"/>
                    </a:lnTo>
                    <a:lnTo>
                      <a:pt x="671" y="156"/>
                    </a:lnTo>
                    <a:lnTo>
                      <a:pt x="671" y="156"/>
                    </a:lnTo>
                    <a:lnTo>
                      <a:pt x="673" y="153"/>
                    </a:lnTo>
                    <a:lnTo>
                      <a:pt x="673" y="153"/>
                    </a:lnTo>
                    <a:lnTo>
                      <a:pt x="673" y="153"/>
                    </a:lnTo>
                    <a:lnTo>
                      <a:pt x="673" y="153"/>
                    </a:lnTo>
                    <a:lnTo>
                      <a:pt x="676" y="151"/>
                    </a:lnTo>
                    <a:lnTo>
                      <a:pt x="676" y="153"/>
                    </a:lnTo>
                    <a:lnTo>
                      <a:pt x="673" y="153"/>
                    </a:lnTo>
                    <a:lnTo>
                      <a:pt x="676" y="156"/>
                    </a:lnTo>
                    <a:lnTo>
                      <a:pt x="678" y="156"/>
                    </a:lnTo>
                    <a:lnTo>
                      <a:pt x="678" y="156"/>
                    </a:lnTo>
                    <a:lnTo>
                      <a:pt x="678" y="156"/>
                    </a:lnTo>
                    <a:lnTo>
                      <a:pt x="678" y="156"/>
                    </a:lnTo>
                    <a:lnTo>
                      <a:pt x="680" y="156"/>
                    </a:lnTo>
                    <a:lnTo>
                      <a:pt x="680" y="156"/>
                    </a:lnTo>
                    <a:lnTo>
                      <a:pt x="680" y="158"/>
                    </a:lnTo>
                    <a:lnTo>
                      <a:pt x="678" y="158"/>
                    </a:lnTo>
                    <a:lnTo>
                      <a:pt x="678" y="158"/>
                    </a:lnTo>
                    <a:lnTo>
                      <a:pt x="678" y="160"/>
                    </a:lnTo>
                    <a:lnTo>
                      <a:pt x="676" y="160"/>
                    </a:lnTo>
                    <a:lnTo>
                      <a:pt x="678" y="163"/>
                    </a:lnTo>
                    <a:lnTo>
                      <a:pt x="678" y="163"/>
                    </a:lnTo>
                    <a:lnTo>
                      <a:pt x="680" y="163"/>
                    </a:lnTo>
                    <a:lnTo>
                      <a:pt x="678" y="165"/>
                    </a:lnTo>
                    <a:lnTo>
                      <a:pt x="678" y="165"/>
                    </a:lnTo>
                    <a:lnTo>
                      <a:pt x="678" y="165"/>
                    </a:lnTo>
                    <a:lnTo>
                      <a:pt x="676" y="165"/>
                    </a:lnTo>
                    <a:lnTo>
                      <a:pt x="673" y="165"/>
                    </a:lnTo>
                    <a:lnTo>
                      <a:pt x="673" y="165"/>
                    </a:lnTo>
                    <a:lnTo>
                      <a:pt x="676" y="165"/>
                    </a:lnTo>
                    <a:lnTo>
                      <a:pt x="676" y="163"/>
                    </a:lnTo>
                    <a:lnTo>
                      <a:pt x="673" y="163"/>
                    </a:lnTo>
                    <a:lnTo>
                      <a:pt x="673" y="160"/>
                    </a:lnTo>
                    <a:lnTo>
                      <a:pt x="671" y="163"/>
                    </a:lnTo>
                    <a:lnTo>
                      <a:pt x="669" y="163"/>
                    </a:lnTo>
                    <a:lnTo>
                      <a:pt x="669" y="163"/>
                    </a:lnTo>
                    <a:lnTo>
                      <a:pt x="666" y="165"/>
                    </a:lnTo>
                    <a:lnTo>
                      <a:pt x="666" y="165"/>
                    </a:lnTo>
                    <a:lnTo>
                      <a:pt x="664" y="165"/>
                    </a:lnTo>
                    <a:lnTo>
                      <a:pt x="664" y="165"/>
                    </a:lnTo>
                    <a:lnTo>
                      <a:pt x="662" y="165"/>
                    </a:lnTo>
                    <a:lnTo>
                      <a:pt x="662" y="170"/>
                    </a:lnTo>
                    <a:lnTo>
                      <a:pt x="662" y="170"/>
                    </a:lnTo>
                    <a:lnTo>
                      <a:pt x="662" y="172"/>
                    </a:lnTo>
                    <a:lnTo>
                      <a:pt x="664" y="177"/>
                    </a:lnTo>
                    <a:lnTo>
                      <a:pt x="664" y="179"/>
                    </a:lnTo>
                    <a:lnTo>
                      <a:pt x="666" y="179"/>
                    </a:lnTo>
                    <a:lnTo>
                      <a:pt x="666" y="179"/>
                    </a:lnTo>
                    <a:lnTo>
                      <a:pt x="666" y="179"/>
                    </a:lnTo>
                    <a:lnTo>
                      <a:pt x="669" y="177"/>
                    </a:lnTo>
                    <a:lnTo>
                      <a:pt x="669" y="177"/>
                    </a:lnTo>
                    <a:lnTo>
                      <a:pt x="669" y="179"/>
                    </a:lnTo>
                    <a:lnTo>
                      <a:pt x="669" y="179"/>
                    </a:lnTo>
                    <a:lnTo>
                      <a:pt x="669" y="177"/>
                    </a:lnTo>
                    <a:lnTo>
                      <a:pt x="671" y="177"/>
                    </a:lnTo>
                    <a:lnTo>
                      <a:pt x="671" y="177"/>
                    </a:lnTo>
                    <a:lnTo>
                      <a:pt x="671" y="179"/>
                    </a:lnTo>
                    <a:lnTo>
                      <a:pt x="671" y="181"/>
                    </a:lnTo>
                    <a:lnTo>
                      <a:pt x="673" y="181"/>
                    </a:lnTo>
                    <a:lnTo>
                      <a:pt x="673" y="181"/>
                    </a:lnTo>
                    <a:lnTo>
                      <a:pt x="673" y="181"/>
                    </a:lnTo>
                    <a:lnTo>
                      <a:pt x="671" y="181"/>
                    </a:lnTo>
                    <a:lnTo>
                      <a:pt x="671" y="184"/>
                    </a:lnTo>
                    <a:lnTo>
                      <a:pt x="671" y="184"/>
                    </a:lnTo>
                    <a:lnTo>
                      <a:pt x="673" y="186"/>
                    </a:lnTo>
                    <a:lnTo>
                      <a:pt x="671" y="189"/>
                    </a:lnTo>
                    <a:lnTo>
                      <a:pt x="671" y="186"/>
                    </a:lnTo>
                    <a:lnTo>
                      <a:pt x="671" y="186"/>
                    </a:lnTo>
                    <a:lnTo>
                      <a:pt x="671" y="184"/>
                    </a:lnTo>
                    <a:lnTo>
                      <a:pt x="671" y="184"/>
                    </a:lnTo>
                    <a:lnTo>
                      <a:pt x="669" y="184"/>
                    </a:lnTo>
                    <a:lnTo>
                      <a:pt x="669" y="189"/>
                    </a:lnTo>
                    <a:lnTo>
                      <a:pt x="669" y="189"/>
                    </a:lnTo>
                    <a:lnTo>
                      <a:pt x="669" y="191"/>
                    </a:lnTo>
                    <a:lnTo>
                      <a:pt x="669" y="191"/>
                    </a:lnTo>
                    <a:lnTo>
                      <a:pt x="669" y="191"/>
                    </a:lnTo>
                    <a:lnTo>
                      <a:pt x="669" y="191"/>
                    </a:lnTo>
                    <a:lnTo>
                      <a:pt x="669" y="193"/>
                    </a:lnTo>
                    <a:lnTo>
                      <a:pt x="666" y="193"/>
                    </a:lnTo>
                    <a:lnTo>
                      <a:pt x="666" y="193"/>
                    </a:lnTo>
                    <a:lnTo>
                      <a:pt x="664" y="193"/>
                    </a:lnTo>
                    <a:lnTo>
                      <a:pt x="664" y="193"/>
                    </a:lnTo>
                    <a:lnTo>
                      <a:pt x="664" y="193"/>
                    </a:lnTo>
                    <a:lnTo>
                      <a:pt x="662" y="193"/>
                    </a:lnTo>
                    <a:lnTo>
                      <a:pt x="659" y="196"/>
                    </a:lnTo>
                    <a:lnTo>
                      <a:pt x="659" y="198"/>
                    </a:lnTo>
                    <a:lnTo>
                      <a:pt x="659" y="200"/>
                    </a:lnTo>
                    <a:lnTo>
                      <a:pt x="657" y="200"/>
                    </a:lnTo>
                    <a:lnTo>
                      <a:pt x="659" y="205"/>
                    </a:lnTo>
                    <a:lnTo>
                      <a:pt x="659" y="207"/>
                    </a:lnTo>
                    <a:lnTo>
                      <a:pt x="662" y="207"/>
                    </a:lnTo>
                    <a:lnTo>
                      <a:pt x="662" y="210"/>
                    </a:lnTo>
                    <a:lnTo>
                      <a:pt x="664" y="212"/>
                    </a:lnTo>
                    <a:lnTo>
                      <a:pt x="666" y="212"/>
                    </a:lnTo>
                    <a:lnTo>
                      <a:pt x="666" y="212"/>
                    </a:lnTo>
                    <a:lnTo>
                      <a:pt x="669" y="215"/>
                    </a:lnTo>
                    <a:lnTo>
                      <a:pt x="666" y="217"/>
                    </a:lnTo>
                    <a:lnTo>
                      <a:pt x="669" y="217"/>
                    </a:lnTo>
                    <a:lnTo>
                      <a:pt x="666" y="217"/>
                    </a:lnTo>
                    <a:lnTo>
                      <a:pt x="666" y="217"/>
                    </a:lnTo>
                    <a:lnTo>
                      <a:pt x="664" y="217"/>
                    </a:lnTo>
                    <a:lnTo>
                      <a:pt x="664" y="217"/>
                    </a:lnTo>
                    <a:lnTo>
                      <a:pt x="664" y="217"/>
                    </a:lnTo>
                    <a:lnTo>
                      <a:pt x="664" y="217"/>
                    </a:lnTo>
                    <a:lnTo>
                      <a:pt x="662" y="217"/>
                    </a:lnTo>
                    <a:lnTo>
                      <a:pt x="659" y="217"/>
                    </a:lnTo>
                    <a:lnTo>
                      <a:pt x="662" y="217"/>
                    </a:lnTo>
                    <a:lnTo>
                      <a:pt x="659" y="219"/>
                    </a:lnTo>
                    <a:lnTo>
                      <a:pt x="659" y="219"/>
                    </a:lnTo>
                    <a:lnTo>
                      <a:pt x="659" y="222"/>
                    </a:lnTo>
                    <a:lnTo>
                      <a:pt x="657" y="219"/>
                    </a:lnTo>
                    <a:lnTo>
                      <a:pt x="657" y="222"/>
                    </a:lnTo>
                    <a:lnTo>
                      <a:pt x="659" y="222"/>
                    </a:lnTo>
                    <a:lnTo>
                      <a:pt x="662" y="224"/>
                    </a:lnTo>
                    <a:lnTo>
                      <a:pt x="664" y="224"/>
                    </a:lnTo>
                    <a:lnTo>
                      <a:pt x="664" y="226"/>
                    </a:lnTo>
                    <a:lnTo>
                      <a:pt x="664" y="226"/>
                    </a:lnTo>
                    <a:lnTo>
                      <a:pt x="664" y="229"/>
                    </a:lnTo>
                    <a:lnTo>
                      <a:pt x="664" y="229"/>
                    </a:lnTo>
                    <a:lnTo>
                      <a:pt x="664" y="231"/>
                    </a:lnTo>
                    <a:lnTo>
                      <a:pt x="664" y="233"/>
                    </a:lnTo>
                    <a:lnTo>
                      <a:pt x="664" y="236"/>
                    </a:lnTo>
                    <a:lnTo>
                      <a:pt x="664" y="236"/>
                    </a:lnTo>
                    <a:lnTo>
                      <a:pt x="664" y="238"/>
                    </a:lnTo>
                    <a:lnTo>
                      <a:pt x="664" y="238"/>
                    </a:lnTo>
                    <a:lnTo>
                      <a:pt x="664" y="241"/>
                    </a:lnTo>
                    <a:lnTo>
                      <a:pt x="664" y="243"/>
                    </a:lnTo>
                    <a:lnTo>
                      <a:pt x="666" y="245"/>
                    </a:lnTo>
                    <a:lnTo>
                      <a:pt x="666" y="248"/>
                    </a:lnTo>
                    <a:lnTo>
                      <a:pt x="666" y="248"/>
                    </a:lnTo>
                    <a:lnTo>
                      <a:pt x="666" y="248"/>
                    </a:lnTo>
                    <a:lnTo>
                      <a:pt x="664" y="248"/>
                    </a:lnTo>
                    <a:lnTo>
                      <a:pt x="664" y="248"/>
                    </a:lnTo>
                    <a:lnTo>
                      <a:pt x="664" y="250"/>
                    </a:lnTo>
                    <a:lnTo>
                      <a:pt x="664" y="252"/>
                    </a:lnTo>
                    <a:lnTo>
                      <a:pt x="664" y="252"/>
                    </a:lnTo>
                    <a:lnTo>
                      <a:pt x="664" y="252"/>
                    </a:lnTo>
                    <a:lnTo>
                      <a:pt x="666" y="252"/>
                    </a:lnTo>
                    <a:lnTo>
                      <a:pt x="666" y="255"/>
                    </a:lnTo>
                    <a:lnTo>
                      <a:pt x="666" y="255"/>
                    </a:lnTo>
                    <a:lnTo>
                      <a:pt x="664" y="255"/>
                    </a:lnTo>
                    <a:lnTo>
                      <a:pt x="664" y="257"/>
                    </a:lnTo>
                    <a:lnTo>
                      <a:pt x="662" y="259"/>
                    </a:lnTo>
                    <a:lnTo>
                      <a:pt x="662" y="262"/>
                    </a:lnTo>
                    <a:lnTo>
                      <a:pt x="662" y="262"/>
                    </a:lnTo>
                    <a:lnTo>
                      <a:pt x="662" y="262"/>
                    </a:lnTo>
                    <a:lnTo>
                      <a:pt x="662" y="264"/>
                    </a:lnTo>
                    <a:lnTo>
                      <a:pt x="662" y="264"/>
                    </a:lnTo>
                    <a:lnTo>
                      <a:pt x="659" y="267"/>
                    </a:lnTo>
                    <a:lnTo>
                      <a:pt x="659" y="269"/>
                    </a:lnTo>
                    <a:lnTo>
                      <a:pt x="662" y="271"/>
                    </a:lnTo>
                    <a:lnTo>
                      <a:pt x="662" y="271"/>
                    </a:lnTo>
                    <a:lnTo>
                      <a:pt x="664" y="271"/>
                    </a:lnTo>
                    <a:lnTo>
                      <a:pt x="664" y="274"/>
                    </a:lnTo>
                    <a:lnTo>
                      <a:pt x="664" y="271"/>
                    </a:lnTo>
                    <a:lnTo>
                      <a:pt x="662" y="274"/>
                    </a:lnTo>
                    <a:lnTo>
                      <a:pt x="662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8"/>
                    </a:lnTo>
                    <a:lnTo>
                      <a:pt x="659" y="278"/>
                    </a:lnTo>
                    <a:lnTo>
                      <a:pt x="659" y="281"/>
                    </a:lnTo>
                    <a:lnTo>
                      <a:pt x="659" y="281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9" y="283"/>
                    </a:lnTo>
                    <a:lnTo>
                      <a:pt x="657" y="285"/>
                    </a:lnTo>
                    <a:lnTo>
                      <a:pt x="657" y="285"/>
                    </a:lnTo>
                    <a:lnTo>
                      <a:pt x="659" y="285"/>
                    </a:lnTo>
                    <a:lnTo>
                      <a:pt x="657" y="285"/>
                    </a:lnTo>
                    <a:lnTo>
                      <a:pt x="657" y="288"/>
                    </a:lnTo>
                    <a:lnTo>
                      <a:pt x="657" y="288"/>
                    </a:lnTo>
                    <a:lnTo>
                      <a:pt x="654" y="293"/>
                    </a:lnTo>
                    <a:lnTo>
                      <a:pt x="654" y="293"/>
                    </a:lnTo>
                    <a:lnTo>
                      <a:pt x="657" y="293"/>
                    </a:lnTo>
                    <a:lnTo>
                      <a:pt x="657" y="293"/>
                    </a:lnTo>
                    <a:lnTo>
                      <a:pt x="654" y="295"/>
                    </a:lnTo>
                    <a:lnTo>
                      <a:pt x="654" y="295"/>
                    </a:lnTo>
                    <a:lnTo>
                      <a:pt x="654" y="295"/>
                    </a:lnTo>
                    <a:lnTo>
                      <a:pt x="654" y="297"/>
                    </a:lnTo>
                    <a:lnTo>
                      <a:pt x="657" y="300"/>
                    </a:lnTo>
                    <a:lnTo>
                      <a:pt x="657" y="297"/>
                    </a:lnTo>
                    <a:lnTo>
                      <a:pt x="657" y="300"/>
                    </a:lnTo>
                    <a:lnTo>
                      <a:pt x="654" y="302"/>
                    </a:lnTo>
                    <a:lnTo>
                      <a:pt x="650" y="307"/>
                    </a:lnTo>
                    <a:lnTo>
                      <a:pt x="650" y="311"/>
                    </a:lnTo>
                    <a:lnTo>
                      <a:pt x="650" y="311"/>
                    </a:lnTo>
                    <a:lnTo>
                      <a:pt x="652" y="311"/>
                    </a:lnTo>
                    <a:lnTo>
                      <a:pt x="650" y="311"/>
                    </a:lnTo>
                    <a:lnTo>
                      <a:pt x="647" y="316"/>
                    </a:lnTo>
                    <a:lnTo>
                      <a:pt x="645" y="319"/>
                    </a:lnTo>
                    <a:lnTo>
                      <a:pt x="645" y="321"/>
                    </a:lnTo>
                    <a:lnTo>
                      <a:pt x="645" y="323"/>
                    </a:lnTo>
                    <a:lnTo>
                      <a:pt x="645" y="323"/>
                    </a:lnTo>
                    <a:lnTo>
                      <a:pt x="645" y="323"/>
                    </a:lnTo>
                    <a:lnTo>
                      <a:pt x="643" y="326"/>
                    </a:lnTo>
                    <a:lnTo>
                      <a:pt x="643" y="328"/>
                    </a:lnTo>
                    <a:lnTo>
                      <a:pt x="643" y="333"/>
                    </a:lnTo>
                    <a:lnTo>
                      <a:pt x="645" y="333"/>
                    </a:lnTo>
                    <a:lnTo>
                      <a:pt x="645" y="333"/>
                    </a:lnTo>
                    <a:lnTo>
                      <a:pt x="645" y="335"/>
                    </a:lnTo>
                    <a:lnTo>
                      <a:pt x="645" y="335"/>
                    </a:lnTo>
                    <a:lnTo>
                      <a:pt x="643" y="335"/>
                    </a:lnTo>
                    <a:lnTo>
                      <a:pt x="643" y="337"/>
                    </a:lnTo>
                    <a:lnTo>
                      <a:pt x="645" y="337"/>
                    </a:lnTo>
                    <a:lnTo>
                      <a:pt x="643" y="337"/>
                    </a:lnTo>
                    <a:lnTo>
                      <a:pt x="643" y="340"/>
                    </a:lnTo>
                    <a:lnTo>
                      <a:pt x="640" y="340"/>
                    </a:lnTo>
                    <a:lnTo>
                      <a:pt x="640" y="342"/>
                    </a:lnTo>
                    <a:lnTo>
                      <a:pt x="640" y="342"/>
                    </a:lnTo>
                    <a:lnTo>
                      <a:pt x="638" y="342"/>
                    </a:lnTo>
                    <a:lnTo>
                      <a:pt x="636" y="344"/>
                    </a:lnTo>
                    <a:lnTo>
                      <a:pt x="636" y="347"/>
                    </a:lnTo>
                    <a:lnTo>
                      <a:pt x="638" y="347"/>
                    </a:lnTo>
                    <a:lnTo>
                      <a:pt x="636" y="347"/>
                    </a:lnTo>
                    <a:lnTo>
                      <a:pt x="636" y="347"/>
                    </a:lnTo>
                    <a:lnTo>
                      <a:pt x="633" y="347"/>
                    </a:lnTo>
                    <a:lnTo>
                      <a:pt x="633" y="347"/>
                    </a:lnTo>
                    <a:lnTo>
                      <a:pt x="631" y="349"/>
                    </a:lnTo>
                    <a:lnTo>
                      <a:pt x="624" y="352"/>
                    </a:lnTo>
                    <a:lnTo>
                      <a:pt x="614" y="356"/>
                    </a:lnTo>
                    <a:lnTo>
                      <a:pt x="602" y="363"/>
                    </a:lnTo>
                    <a:lnTo>
                      <a:pt x="588" y="373"/>
                    </a:lnTo>
                    <a:lnTo>
                      <a:pt x="576" y="382"/>
                    </a:lnTo>
                    <a:lnTo>
                      <a:pt x="572" y="387"/>
                    </a:lnTo>
                    <a:lnTo>
                      <a:pt x="572" y="387"/>
                    </a:lnTo>
                    <a:lnTo>
                      <a:pt x="565" y="392"/>
                    </a:lnTo>
                    <a:lnTo>
                      <a:pt x="560" y="399"/>
                    </a:lnTo>
                    <a:lnTo>
                      <a:pt x="548" y="411"/>
                    </a:lnTo>
                    <a:lnTo>
                      <a:pt x="548" y="411"/>
                    </a:lnTo>
                    <a:lnTo>
                      <a:pt x="532" y="430"/>
                    </a:lnTo>
                    <a:lnTo>
                      <a:pt x="522" y="441"/>
                    </a:lnTo>
                    <a:lnTo>
                      <a:pt x="520" y="441"/>
                    </a:lnTo>
                    <a:lnTo>
                      <a:pt x="520" y="441"/>
                    </a:lnTo>
                    <a:lnTo>
                      <a:pt x="517" y="441"/>
                    </a:lnTo>
                    <a:lnTo>
                      <a:pt x="517" y="441"/>
                    </a:lnTo>
                    <a:lnTo>
                      <a:pt x="520" y="439"/>
                    </a:lnTo>
                    <a:lnTo>
                      <a:pt x="520" y="439"/>
                    </a:lnTo>
                    <a:lnTo>
                      <a:pt x="520" y="439"/>
                    </a:lnTo>
                    <a:lnTo>
                      <a:pt x="520" y="439"/>
                    </a:lnTo>
                    <a:lnTo>
                      <a:pt x="517" y="439"/>
                    </a:lnTo>
                    <a:lnTo>
                      <a:pt x="517" y="439"/>
                    </a:lnTo>
                    <a:lnTo>
                      <a:pt x="517" y="437"/>
                    </a:lnTo>
                    <a:lnTo>
                      <a:pt x="515" y="439"/>
                    </a:lnTo>
                    <a:lnTo>
                      <a:pt x="515" y="439"/>
                    </a:lnTo>
                    <a:lnTo>
                      <a:pt x="513" y="437"/>
                    </a:lnTo>
                    <a:lnTo>
                      <a:pt x="513" y="437"/>
                    </a:lnTo>
                    <a:lnTo>
                      <a:pt x="510" y="437"/>
                    </a:lnTo>
                    <a:lnTo>
                      <a:pt x="510" y="437"/>
                    </a:lnTo>
                    <a:lnTo>
                      <a:pt x="508" y="437"/>
                    </a:lnTo>
                    <a:lnTo>
                      <a:pt x="508" y="437"/>
                    </a:lnTo>
                    <a:lnTo>
                      <a:pt x="508" y="434"/>
                    </a:lnTo>
                    <a:lnTo>
                      <a:pt x="508" y="434"/>
                    </a:lnTo>
                    <a:lnTo>
                      <a:pt x="506" y="434"/>
                    </a:lnTo>
                    <a:lnTo>
                      <a:pt x="506" y="434"/>
                    </a:lnTo>
                    <a:lnTo>
                      <a:pt x="506" y="434"/>
                    </a:lnTo>
                    <a:lnTo>
                      <a:pt x="506" y="432"/>
                    </a:lnTo>
                    <a:lnTo>
                      <a:pt x="506" y="432"/>
                    </a:lnTo>
                    <a:lnTo>
                      <a:pt x="506" y="432"/>
                    </a:lnTo>
                    <a:lnTo>
                      <a:pt x="506" y="432"/>
                    </a:lnTo>
                    <a:lnTo>
                      <a:pt x="506" y="430"/>
                    </a:lnTo>
                    <a:lnTo>
                      <a:pt x="503" y="430"/>
                    </a:lnTo>
                    <a:lnTo>
                      <a:pt x="503" y="430"/>
                    </a:lnTo>
                    <a:lnTo>
                      <a:pt x="503" y="427"/>
                    </a:lnTo>
                    <a:lnTo>
                      <a:pt x="501" y="427"/>
                    </a:lnTo>
                    <a:lnTo>
                      <a:pt x="499" y="427"/>
                    </a:lnTo>
                    <a:lnTo>
                      <a:pt x="496" y="427"/>
                    </a:lnTo>
                    <a:lnTo>
                      <a:pt x="496" y="427"/>
                    </a:lnTo>
                    <a:lnTo>
                      <a:pt x="494" y="425"/>
                    </a:lnTo>
                    <a:lnTo>
                      <a:pt x="494" y="425"/>
                    </a:lnTo>
                    <a:lnTo>
                      <a:pt x="494" y="425"/>
                    </a:lnTo>
                    <a:lnTo>
                      <a:pt x="494" y="425"/>
                    </a:lnTo>
                    <a:lnTo>
                      <a:pt x="491" y="425"/>
                    </a:lnTo>
                    <a:lnTo>
                      <a:pt x="489" y="425"/>
                    </a:lnTo>
                    <a:lnTo>
                      <a:pt x="489" y="427"/>
                    </a:lnTo>
                    <a:lnTo>
                      <a:pt x="487" y="427"/>
                    </a:lnTo>
                    <a:lnTo>
                      <a:pt x="487" y="430"/>
                    </a:lnTo>
                    <a:lnTo>
                      <a:pt x="484" y="427"/>
                    </a:lnTo>
                    <a:lnTo>
                      <a:pt x="482" y="430"/>
                    </a:lnTo>
                    <a:lnTo>
                      <a:pt x="480" y="430"/>
                    </a:lnTo>
                    <a:lnTo>
                      <a:pt x="477" y="430"/>
                    </a:lnTo>
                    <a:lnTo>
                      <a:pt x="477" y="432"/>
                    </a:lnTo>
                    <a:lnTo>
                      <a:pt x="477" y="432"/>
                    </a:lnTo>
                    <a:lnTo>
                      <a:pt x="475" y="432"/>
                    </a:lnTo>
                    <a:lnTo>
                      <a:pt x="473" y="432"/>
                    </a:lnTo>
                    <a:lnTo>
                      <a:pt x="473" y="432"/>
                    </a:lnTo>
                    <a:lnTo>
                      <a:pt x="470" y="432"/>
                    </a:lnTo>
                    <a:lnTo>
                      <a:pt x="473" y="437"/>
                    </a:lnTo>
                    <a:lnTo>
                      <a:pt x="473" y="437"/>
                    </a:lnTo>
                    <a:lnTo>
                      <a:pt x="475" y="437"/>
                    </a:lnTo>
                    <a:lnTo>
                      <a:pt x="477" y="439"/>
                    </a:lnTo>
                    <a:lnTo>
                      <a:pt x="477" y="439"/>
                    </a:lnTo>
                    <a:lnTo>
                      <a:pt x="482" y="444"/>
                    </a:lnTo>
                    <a:lnTo>
                      <a:pt x="480" y="444"/>
                    </a:lnTo>
                    <a:lnTo>
                      <a:pt x="477" y="444"/>
                    </a:lnTo>
                    <a:lnTo>
                      <a:pt x="480" y="441"/>
                    </a:lnTo>
                    <a:lnTo>
                      <a:pt x="480" y="441"/>
                    </a:lnTo>
                    <a:lnTo>
                      <a:pt x="477" y="441"/>
                    </a:lnTo>
                    <a:lnTo>
                      <a:pt x="477" y="441"/>
                    </a:lnTo>
                    <a:lnTo>
                      <a:pt x="477" y="441"/>
                    </a:lnTo>
                    <a:lnTo>
                      <a:pt x="475" y="441"/>
                    </a:lnTo>
                    <a:lnTo>
                      <a:pt x="475" y="439"/>
                    </a:lnTo>
                    <a:lnTo>
                      <a:pt x="475" y="439"/>
                    </a:lnTo>
                    <a:lnTo>
                      <a:pt x="473" y="439"/>
                    </a:lnTo>
                    <a:lnTo>
                      <a:pt x="473" y="439"/>
                    </a:lnTo>
                    <a:lnTo>
                      <a:pt x="473" y="439"/>
                    </a:lnTo>
                    <a:lnTo>
                      <a:pt x="470" y="437"/>
                    </a:lnTo>
                    <a:lnTo>
                      <a:pt x="470" y="437"/>
                    </a:lnTo>
                    <a:lnTo>
                      <a:pt x="470" y="437"/>
                    </a:lnTo>
                    <a:lnTo>
                      <a:pt x="470" y="437"/>
                    </a:lnTo>
                    <a:lnTo>
                      <a:pt x="470" y="437"/>
                    </a:lnTo>
                    <a:lnTo>
                      <a:pt x="470" y="439"/>
                    </a:lnTo>
                    <a:lnTo>
                      <a:pt x="468" y="439"/>
                    </a:lnTo>
                    <a:lnTo>
                      <a:pt x="468" y="437"/>
                    </a:lnTo>
                    <a:lnTo>
                      <a:pt x="468" y="437"/>
                    </a:lnTo>
                    <a:lnTo>
                      <a:pt x="468" y="437"/>
                    </a:lnTo>
                    <a:lnTo>
                      <a:pt x="468" y="437"/>
                    </a:lnTo>
                    <a:lnTo>
                      <a:pt x="468" y="434"/>
                    </a:lnTo>
                    <a:lnTo>
                      <a:pt x="468" y="432"/>
                    </a:lnTo>
                    <a:lnTo>
                      <a:pt x="468" y="432"/>
                    </a:lnTo>
                    <a:lnTo>
                      <a:pt x="468" y="432"/>
                    </a:lnTo>
                    <a:lnTo>
                      <a:pt x="468" y="432"/>
                    </a:lnTo>
                    <a:lnTo>
                      <a:pt x="465" y="432"/>
                    </a:lnTo>
                    <a:lnTo>
                      <a:pt x="465" y="432"/>
                    </a:lnTo>
                    <a:lnTo>
                      <a:pt x="468" y="430"/>
                    </a:lnTo>
                    <a:lnTo>
                      <a:pt x="468" y="430"/>
                    </a:lnTo>
                    <a:lnTo>
                      <a:pt x="468" y="430"/>
                    </a:lnTo>
                    <a:lnTo>
                      <a:pt x="468" y="430"/>
                    </a:lnTo>
                    <a:lnTo>
                      <a:pt x="468" y="427"/>
                    </a:lnTo>
                    <a:lnTo>
                      <a:pt x="468" y="427"/>
                    </a:lnTo>
                    <a:lnTo>
                      <a:pt x="470" y="427"/>
                    </a:lnTo>
                    <a:lnTo>
                      <a:pt x="470" y="427"/>
                    </a:lnTo>
                    <a:lnTo>
                      <a:pt x="468" y="425"/>
                    </a:lnTo>
                    <a:lnTo>
                      <a:pt x="468" y="425"/>
                    </a:lnTo>
                    <a:lnTo>
                      <a:pt x="468" y="422"/>
                    </a:lnTo>
                    <a:lnTo>
                      <a:pt x="468" y="425"/>
                    </a:lnTo>
                    <a:lnTo>
                      <a:pt x="470" y="425"/>
                    </a:lnTo>
                    <a:lnTo>
                      <a:pt x="470" y="425"/>
                    </a:lnTo>
                    <a:lnTo>
                      <a:pt x="470" y="425"/>
                    </a:lnTo>
                    <a:lnTo>
                      <a:pt x="470" y="427"/>
                    </a:lnTo>
                    <a:lnTo>
                      <a:pt x="473" y="427"/>
                    </a:lnTo>
                    <a:lnTo>
                      <a:pt x="473" y="427"/>
                    </a:lnTo>
                    <a:lnTo>
                      <a:pt x="473" y="427"/>
                    </a:lnTo>
                    <a:lnTo>
                      <a:pt x="473" y="430"/>
                    </a:lnTo>
                    <a:lnTo>
                      <a:pt x="473" y="430"/>
                    </a:lnTo>
                    <a:lnTo>
                      <a:pt x="475" y="427"/>
                    </a:lnTo>
                    <a:lnTo>
                      <a:pt x="473" y="430"/>
                    </a:lnTo>
                    <a:lnTo>
                      <a:pt x="475" y="430"/>
                    </a:lnTo>
                    <a:lnTo>
                      <a:pt x="475" y="427"/>
                    </a:lnTo>
                    <a:lnTo>
                      <a:pt x="475" y="427"/>
                    </a:lnTo>
                    <a:lnTo>
                      <a:pt x="475" y="427"/>
                    </a:lnTo>
                    <a:lnTo>
                      <a:pt x="475" y="425"/>
                    </a:lnTo>
                    <a:lnTo>
                      <a:pt x="475" y="425"/>
                    </a:lnTo>
                    <a:lnTo>
                      <a:pt x="475" y="425"/>
                    </a:lnTo>
                    <a:lnTo>
                      <a:pt x="475" y="425"/>
                    </a:lnTo>
                    <a:lnTo>
                      <a:pt x="475" y="422"/>
                    </a:lnTo>
                    <a:lnTo>
                      <a:pt x="473" y="422"/>
                    </a:lnTo>
                    <a:lnTo>
                      <a:pt x="473" y="422"/>
                    </a:lnTo>
                    <a:lnTo>
                      <a:pt x="473" y="420"/>
                    </a:lnTo>
                    <a:lnTo>
                      <a:pt x="473" y="420"/>
                    </a:lnTo>
                    <a:lnTo>
                      <a:pt x="475" y="420"/>
                    </a:lnTo>
                    <a:lnTo>
                      <a:pt x="477" y="420"/>
                    </a:lnTo>
                    <a:lnTo>
                      <a:pt x="477" y="420"/>
                    </a:lnTo>
                    <a:lnTo>
                      <a:pt x="477" y="420"/>
                    </a:lnTo>
                    <a:lnTo>
                      <a:pt x="475" y="420"/>
                    </a:lnTo>
                    <a:lnTo>
                      <a:pt x="475" y="422"/>
                    </a:lnTo>
                    <a:lnTo>
                      <a:pt x="477" y="422"/>
                    </a:lnTo>
                    <a:lnTo>
                      <a:pt x="475" y="422"/>
                    </a:lnTo>
                    <a:lnTo>
                      <a:pt x="477" y="422"/>
                    </a:lnTo>
                    <a:lnTo>
                      <a:pt x="477" y="422"/>
                    </a:lnTo>
                    <a:lnTo>
                      <a:pt x="477" y="422"/>
                    </a:lnTo>
                    <a:lnTo>
                      <a:pt x="477" y="422"/>
                    </a:lnTo>
                    <a:lnTo>
                      <a:pt x="480" y="422"/>
                    </a:lnTo>
                    <a:lnTo>
                      <a:pt x="480" y="422"/>
                    </a:lnTo>
                    <a:lnTo>
                      <a:pt x="480" y="422"/>
                    </a:lnTo>
                    <a:lnTo>
                      <a:pt x="482" y="422"/>
                    </a:lnTo>
                    <a:lnTo>
                      <a:pt x="482" y="422"/>
                    </a:lnTo>
                    <a:lnTo>
                      <a:pt x="484" y="422"/>
                    </a:lnTo>
                    <a:lnTo>
                      <a:pt x="482" y="422"/>
                    </a:lnTo>
                    <a:lnTo>
                      <a:pt x="482" y="420"/>
                    </a:lnTo>
                    <a:lnTo>
                      <a:pt x="482" y="420"/>
                    </a:lnTo>
                    <a:lnTo>
                      <a:pt x="482" y="420"/>
                    </a:lnTo>
                    <a:lnTo>
                      <a:pt x="484" y="420"/>
                    </a:lnTo>
                    <a:lnTo>
                      <a:pt x="484" y="418"/>
                    </a:lnTo>
                    <a:lnTo>
                      <a:pt x="484" y="418"/>
                    </a:lnTo>
                    <a:lnTo>
                      <a:pt x="484" y="415"/>
                    </a:lnTo>
                    <a:lnTo>
                      <a:pt x="487" y="415"/>
                    </a:lnTo>
                    <a:lnTo>
                      <a:pt x="487" y="415"/>
                    </a:lnTo>
                    <a:lnTo>
                      <a:pt x="487" y="418"/>
                    </a:lnTo>
                    <a:lnTo>
                      <a:pt x="489" y="415"/>
                    </a:lnTo>
                    <a:lnTo>
                      <a:pt x="487" y="413"/>
                    </a:lnTo>
                    <a:lnTo>
                      <a:pt x="489" y="413"/>
                    </a:lnTo>
                    <a:lnTo>
                      <a:pt x="489" y="413"/>
                    </a:lnTo>
                    <a:lnTo>
                      <a:pt x="491" y="413"/>
                    </a:lnTo>
                    <a:lnTo>
                      <a:pt x="489" y="413"/>
                    </a:lnTo>
                    <a:lnTo>
                      <a:pt x="489" y="413"/>
                    </a:lnTo>
                    <a:lnTo>
                      <a:pt x="491" y="411"/>
                    </a:lnTo>
                    <a:lnTo>
                      <a:pt x="489" y="411"/>
                    </a:lnTo>
                    <a:lnTo>
                      <a:pt x="489" y="411"/>
                    </a:lnTo>
                    <a:lnTo>
                      <a:pt x="491" y="411"/>
                    </a:lnTo>
                    <a:lnTo>
                      <a:pt x="491" y="408"/>
                    </a:lnTo>
                    <a:lnTo>
                      <a:pt x="491" y="408"/>
                    </a:lnTo>
                    <a:lnTo>
                      <a:pt x="491" y="408"/>
                    </a:lnTo>
                    <a:lnTo>
                      <a:pt x="494" y="408"/>
                    </a:lnTo>
                    <a:lnTo>
                      <a:pt x="491" y="408"/>
                    </a:lnTo>
                    <a:lnTo>
                      <a:pt x="494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1" y="408"/>
                    </a:lnTo>
                    <a:lnTo>
                      <a:pt x="491" y="408"/>
                    </a:lnTo>
                    <a:lnTo>
                      <a:pt x="489" y="408"/>
                    </a:lnTo>
                    <a:lnTo>
                      <a:pt x="487" y="408"/>
                    </a:lnTo>
                    <a:lnTo>
                      <a:pt x="487" y="408"/>
                    </a:lnTo>
                    <a:lnTo>
                      <a:pt x="487" y="408"/>
                    </a:lnTo>
                    <a:lnTo>
                      <a:pt x="484" y="408"/>
                    </a:lnTo>
                    <a:lnTo>
                      <a:pt x="491" y="406"/>
                    </a:lnTo>
                    <a:lnTo>
                      <a:pt x="491" y="404"/>
                    </a:lnTo>
                    <a:lnTo>
                      <a:pt x="491" y="404"/>
                    </a:lnTo>
                    <a:lnTo>
                      <a:pt x="491" y="404"/>
                    </a:lnTo>
                    <a:lnTo>
                      <a:pt x="494" y="404"/>
                    </a:lnTo>
                    <a:lnTo>
                      <a:pt x="494" y="401"/>
                    </a:lnTo>
                    <a:lnTo>
                      <a:pt x="494" y="401"/>
                    </a:lnTo>
                    <a:lnTo>
                      <a:pt x="494" y="401"/>
                    </a:lnTo>
                    <a:lnTo>
                      <a:pt x="494" y="401"/>
                    </a:lnTo>
                    <a:lnTo>
                      <a:pt x="489" y="401"/>
                    </a:lnTo>
                    <a:lnTo>
                      <a:pt x="491" y="401"/>
                    </a:lnTo>
                    <a:lnTo>
                      <a:pt x="491" y="399"/>
                    </a:lnTo>
                    <a:lnTo>
                      <a:pt x="494" y="399"/>
                    </a:lnTo>
                    <a:lnTo>
                      <a:pt x="494" y="399"/>
                    </a:lnTo>
                    <a:lnTo>
                      <a:pt x="494" y="396"/>
                    </a:lnTo>
                    <a:lnTo>
                      <a:pt x="494" y="396"/>
                    </a:lnTo>
                    <a:lnTo>
                      <a:pt x="494" y="396"/>
                    </a:lnTo>
                    <a:lnTo>
                      <a:pt x="496" y="396"/>
                    </a:lnTo>
                    <a:lnTo>
                      <a:pt x="494" y="394"/>
                    </a:lnTo>
                    <a:lnTo>
                      <a:pt x="494" y="394"/>
                    </a:lnTo>
                    <a:lnTo>
                      <a:pt x="491" y="394"/>
                    </a:lnTo>
                    <a:lnTo>
                      <a:pt x="491" y="392"/>
                    </a:lnTo>
                    <a:lnTo>
                      <a:pt x="494" y="392"/>
                    </a:lnTo>
                    <a:lnTo>
                      <a:pt x="494" y="389"/>
                    </a:lnTo>
                    <a:lnTo>
                      <a:pt x="494" y="389"/>
                    </a:lnTo>
                    <a:lnTo>
                      <a:pt x="491" y="389"/>
                    </a:lnTo>
                    <a:lnTo>
                      <a:pt x="489" y="387"/>
                    </a:lnTo>
                    <a:lnTo>
                      <a:pt x="491" y="387"/>
                    </a:lnTo>
                    <a:lnTo>
                      <a:pt x="491" y="387"/>
                    </a:lnTo>
                    <a:lnTo>
                      <a:pt x="494" y="385"/>
                    </a:lnTo>
                    <a:lnTo>
                      <a:pt x="494" y="385"/>
                    </a:lnTo>
                    <a:lnTo>
                      <a:pt x="494" y="385"/>
                    </a:lnTo>
                    <a:lnTo>
                      <a:pt x="494" y="385"/>
                    </a:lnTo>
                    <a:lnTo>
                      <a:pt x="494" y="382"/>
                    </a:lnTo>
                    <a:lnTo>
                      <a:pt x="494" y="382"/>
                    </a:lnTo>
                    <a:lnTo>
                      <a:pt x="494" y="382"/>
                    </a:lnTo>
                    <a:lnTo>
                      <a:pt x="496" y="382"/>
                    </a:lnTo>
                    <a:lnTo>
                      <a:pt x="494" y="382"/>
                    </a:lnTo>
                    <a:lnTo>
                      <a:pt x="494" y="382"/>
                    </a:lnTo>
                    <a:lnTo>
                      <a:pt x="494" y="382"/>
                    </a:lnTo>
                    <a:lnTo>
                      <a:pt x="489" y="382"/>
                    </a:lnTo>
                    <a:lnTo>
                      <a:pt x="491" y="382"/>
                    </a:lnTo>
                    <a:lnTo>
                      <a:pt x="491" y="380"/>
                    </a:lnTo>
                    <a:lnTo>
                      <a:pt x="491" y="380"/>
                    </a:lnTo>
                    <a:lnTo>
                      <a:pt x="494" y="380"/>
                    </a:lnTo>
                    <a:lnTo>
                      <a:pt x="494" y="378"/>
                    </a:lnTo>
                    <a:lnTo>
                      <a:pt x="491" y="380"/>
                    </a:lnTo>
                    <a:lnTo>
                      <a:pt x="491" y="375"/>
                    </a:lnTo>
                    <a:lnTo>
                      <a:pt x="491" y="375"/>
                    </a:lnTo>
                    <a:lnTo>
                      <a:pt x="491" y="375"/>
                    </a:lnTo>
                    <a:lnTo>
                      <a:pt x="491" y="373"/>
                    </a:lnTo>
                    <a:lnTo>
                      <a:pt x="494" y="373"/>
                    </a:lnTo>
                    <a:lnTo>
                      <a:pt x="494" y="373"/>
                    </a:lnTo>
                    <a:lnTo>
                      <a:pt x="491" y="373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68"/>
                    </a:lnTo>
                    <a:lnTo>
                      <a:pt x="491" y="368"/>
                    </a:lnTo>
                    <a:lnTo>
                      <a:pt x="491" y="368"/>
                    </a:lnTo>
                    <a:lnTo>
                      <a:pt x="494" y="366"/>
                    </a:lnTo>
                    <a:lnTo>
                      <a:pt x="494" y="368"/>
                    </a:lnTo>
                    <a:lnTo>
                      <a:pt x="494" y="366"/>
                    </a:lnTo>
                    <a:lnTo>
                      <a:pt x="494" y="368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4" y="366"/>
                    </a:lnTo>
                    <a:lnTo>
                      <a:pt x="494" y="363"/>
                    </a:lnTo>
                    <a:lnTo>
                      <a:pt x="496" y="361"/>
                    </a:lnTo>
                    <a:lnTo>
                      <a:pt x="496" y="361"/>
                    </a:lnTo>
                    <a:lnTo>
                      <a:pt x="499" y="361"/>
                    </a:lnTo>
                    <a:lnTo>
                      <a:pt x="499" y="361"/>
                    </a:lnTo>
                    <a:lnTo>
                      <a:pt x="499" y="363"/>
                    </a:lnTo>
                    <a:lnTo>
                      <a:pt x="499" y="363"/>
                    </a:lnTo>
                    <a:lnTo>
                      <a:pt x="501" y="361"/>
                    </a:lnTo>
                    <a:lnTo>
                      <a:pt x="501" y="363"/>
                    </a:lnTo>
                    <a:lnTo>
                      <a:pt x="499" y="366"/>
                    </a:lnTo>
                    <a:lnTo>
                      <a:pt x="501" y="366"/>
                    </a:lnTo>
                    <a:lnTo>
                      <a:pt x="501" y="366"/>
                    </a:lnTo>
                    <a:lnTo>
                      <a:pt x="503" y="366"/>
                    </a:lnTo>
                    <a:lnTo>
                      <a:pt x="501" y="363"/>
                    </a:lnTo>
                    <a:lnTo>
                      <a:pt x="503" y="363"/>
                    </a:lnTo>
                    <a:lnTo>
                      <a:pt x="503" y="361"/>
                    </a:lnTo>
                    <a:lnTo>
                      <a:pt x="503" y="359"/>
                    </a:lnTo>
                    <a:lnTo>
                      <a:pt x="503" y="359"/>
                    </a:lnTo>
                    <a:lnTo>
                      <a:pt x="503" y="359"/>
                    </a:lnTo>
                    <a:lnTo>
                      <a:pt x="506" y="359"/>
                    </a:lnTo>
                    <a:lnTo>
                      <a:pt x="506" y="361"/>
                    </a:lnTo>
                    <a:lnTo>
                      <a:pt x="506" y="361"/>
                    </a:lnTo>
                    <a:lnTo>
                      <a:pt x="506" y="361"/>
                    </a:lnTo>
                    <a:lnTo>
                      <a:pt x="506" y="359"/>
                    </a:lnTo>
                    <a:lnTo>
                      <a:pt x="508" y="359"/>
                    </a:lnTo>
                    <a:lnTo>
                      <a:pt x="508" y="359"/>
                    </a:lnTo>
                    <a:lnTo>
                      <a:pt x="508" y="359"/>
                    </a:lnTo>
                    <a:lnTo>
                      <a:pt x="508" y="359"/>
                    </a:lnTo>
                    <a:lnTo>
                      <a:pt x="508" y="356"/>
                    </a:lnTo>
                    <a:lnTo>
                      <a:pt x="506" y="356"/>
                    </a:lnTo>
                    <a:lnTo>
                      <a:pt x="506" y="356"/>
                    </a:lnTo>
                    <a:lnTo>
                      <a:pt x="508" y="356"/>
                    </a:lnTo>
                    <a:lnTo>
                      <a:pt x="508" y="354"/>
                    </a:lnTo>
                    <a:lnTo>
                      <a:pt x="510" y="354"/>
                    </a:lnTo>
                    <a:lnTo>
                      <a:pt x="508" y="354"/>
                    </a:lnTo>
                    <a:lnTo>
                      <a:pt x="510" y="354"/>
                    </a:lnTo>
                    <a:lnTo>
                      <a:pt x="508" y="352"/>
                    </a:lnTo>
                    <a:lnTo>
                      <a:pt x="510" y="352"/>
                    </a:lnTo>
                    <a:lnTo>
                      <a:pt x="510" y="349"/>
                    </a:lnTo>
                    <a:lnTo>
                      <a:pt x="513" y="349"/>
                    </a:lnTo>
                    <a:lnTo>
                      <a:pt x="513" y="349"/>
                    </a:lnTo>
                    <a:lnTo>
                      <a:pt x="513" y="347"/>
                    </a:lnTo>
                    <a:lnTo>
                      <a:pt x="513" y="349"/>
                    </a:lnTo>
                    <a:lnTo>
                      <a:pt x="515" y="349"/>
                    </a:lnTo>
                    <a:lnTo>
                      <a:pt x="515" y="349"/>
                    </a:lnTo>
                    <a:lnTo>
                      <a:pt x="517" y="349"/>
                    </a:lnTo>
                    <a:lnTo>
                      <a:pt x="517" y="349"/>
                    </a:lnTo>
                    <a:lnTo>
                      <a:pt x="520" y="349"/>
                    </a:lnTo>
                    <a:lnTo>
                      <a:pt x="522" y="349"/>
                    </a:lnTo>
                    <a:lnTo>
                      <a:pt x="522" y="349"/>
                    </a:lnTo>
                    <a:lnTo>
                      <a:pt x="522" y="349"/>
                    </a:lnTo>
                    <a:lnTo>
                      <a:pt x="525" y="349"/>
                    </a:lnTo>
                    <a:lnTo>
                      <a:pt x="525" y="349"/>
                    </a:lnTo>
                    <a:lnTo>
                      <a:pt x="525" y="349"/>
                    </a:lnTo>
                    <a:lnTo>
                      <a:pt x="525" y="347"/>
                    </a:lnTo>
                    <a:lnTo>
                      <a:pt x="522" y="347"/>
                    </a:lnTo>
                    <a:lnTo>
                      <a:pt x="522" y="344"/>
                    </a:lnTo>
                    <a:lnTo>
                      <a:pt x="522" y="344"/>
                    </a:lnTo>
                    <a:lnTo>
                      <a:pt x="522" y="344"/>
                    </a:lnTo>
                    <a:lnTo>
                      <a:pt x="522" y="342"/>
                    </a:lnTo>
                    <a:lnTo>
                      <a:pt x="522" y="344"/>
                    </a:lnTo>
                    <a:lnTo>
                      <a:pt x="522" y="342"/>
                    </a:lnTo>
                    <a:lnTo>
                      <a:pt x="520" y="340"/>
                    </a:lnTo>
                    <a:lnTo>
                      <a:pt x="517" y="340"/>
                    </a:lnTo>
                    <a:lnTo>
                      <a:pt x="517" y="340"/>
                    </a:lnTo>
                    <a:lnTo>
                      <a:pt x="517" y="337"/>
                    </a:lnTo>
                    <a:lnTo>
                      <a:pt x="520" y="335"/>
                    </a:lnTo>
                    <a:lnTo>
                      <a:pt x="517" y="335"/>
                    </a:lnTo>
                    <a:lnTo>
                      <a:pt x="520" y="333"/>
                    </a:lnTo>
                    <a:lnTo>
                      <a:pt x="517" y="333"/>
                    </a:lnTo>
                    <a:lnTo>
                      <a:pt x="517" y="333"/>
                    </a:lnTo>
                    <a:lnTo>
                      <a:pt x="515" y="333"/>
                    </a:lnTo>
                    <a:lnTo>
                      <a:pt x="515" y="333"/>
                    </a:lnTo>
                    <a:lnTo>
                      <a:pt x="515" y="330"/>
                    </a:lnTo>
                    <a:lnTo>
                      <a:pt x="515" y="328"/>
                    </a:lnTo>
                    <a:lnTo>
                      <a:pt x="515" y="328"/>
                    </a:lnTo>
                    <a:lnTo>
                      <a:pt x="515" y="328"/>
                    </a:lnTo>
                    <a:lnTo>
                      <a:pt x="513" y="330"/>
                    </a:lnTo>
                    <a:lnTo>
                      <a:pt x="515" y="330"/>
                    </a:lnTo>
                    <a:lnTo>
                      <a:pt x="513" y="330"/>
                    </a:lnTo>
                    <a:lnTo>
                      <a:pt x="515" y="333"/>
                    </a:lnTo>
                    <a:lnTo>
                      <a:pt x="513" y="333"/>
                    </a:lnTo>
                    <a:lnTo>
                      <a:pt x="513" y="333"/>
                    </a:lnTo>
                    <a:lnTo>
                      <a:pt x="513" y="330"/>
                    </a:lnTo>
                    <a:lnTo>
                      <a:pt x="510" y="330"/>
                    </a:lnTo>
                    <a:lnTo>
                      <a:pt x="510" y="328"/>
                    </a:lnTo>
                    <a:lnTo>
                      <a:pt x="508" y="328"/>
                    </a:lnTo>
                    <a:lnTo>
                      <a:pt x="508" y="330"/>
                    </a:lnTo>
                    <a:lnTo>
                      <a:pt x="510" y="330"/>
                    </a:lnTo>
                    <a:lnTo>
                      <a:pt x="508" y="330"/>
                    </a:lnTo>
                    <a:lnTo>
                      <a:pt x="506" y="333"/>
                    </a:lnTo>
                    <a:lnTo>
                      <a:pt x="506" y="333"/>
                    </a:lnTo>
                    <a:lnTo>
                      <a:pt x="506" y="330"/>
                    </a:lnTo>
                    <a:lnTo>
                      <a:pt x="503" y="330"/>
                    </a:lnTo>
                    <a:lnTo>
                      <a:pt x="503" y="330"/>
                    </a:lnTo>
                    <a:lnTo>
                      <a:pt x="503" y="330"/>
                    </a:lnTo>
                    <a:lnTo>
                      <a:pt x="503" y="328"/>
                    </a:lnTo>
                    <a:lnTo>
                      <a:pt x="501" y="328"/>
                    </a:lnTo>
                    <a:lnTo>
                      <a:pt x="503" y="326"/>
                    </a:lnTo>
                    <a:lnTo>
                      <a:pt x="506" y="326"/>
                    </a:lnTo>
                    <a:lnTo>
                      <a:pt x="503" y="326"/>
                    </a:lnTo>
                    <a:lnTo>
                      <a:pt x="503" y="326"/>
                    </a:lnTo>
                    <a:lnTo>
                      <a:pt x="501" y="326"/>
                    </a:lnTo>
                    <a:lnTo>
                      <a:pt x="499" y="326"/>
                    </a:lnTo>
                    <a:lnTo>
                      <a:pt x="499" y="326"/>
                    </a:lnTo>
                    <a:lnTo>
                      <a:pt x="501" y="328"/>
                    </a:lnTo>
                    <a:lnTo>
                      <a:pt x="499" y="328"/>
                    </a:lnTo>
                    <a:lnTo>
                      <a:pt x="499" y="328"/>
                    </a:lnTo>
                    <a:lnTo>
                      <a:pt x="499" y="328"/>
                    </a:lnTo>
                    <a:lnTo>
                      <a:pt x="496" y="328"/>
                    </a:lnTo>
                    <a:lnTo>
                      <a:pt x="494" y="328"/>
                    </a:lnTo>
                    <a:lnTo>
                      <a:pt x="494" y="328"/>
                    </a:lnTo>
                    <a:lnTo>
                      <a:pt x="494" y="328"/>
                    </a:lnTo>
                    <a:lnTo>
                      <a:pt x="496" y="330"/>
                    </a:lnTo>
                    <a:lnTo>
                      <a:pt x="494" y="330"/>
                    </a:lnTo>
                    <a:lnTo>
                      <a:pt x="494" y="328"/>
                    </a:lnTo>
                    <a:lnTo>
                      <a:pt x="491" y="328"/>
                    </a:lnTo>
                    <a:lnTo>
                      <a:pt x="491" y="328"/>
                    </a:lnTo>
                    <a:lnTo>
                      <a:pt x="489" y="328"/>
                    </a:lnTo>
                    <a:lnTo>
                      <a:pt x="489" y="326"/>
                    </a:lnTo>
                    <a:lnTo>
                      <a:pt x="489" y="326"/>
                    </a:lnTo>
                    <a:lnTo>
                      <a:pt x="487" y="326"/>
                    </a:lnTo>
                    <a:lnTo>
                      <a:pt x="487" y="328"/>
                    </a:lnTo>
                    <a:lnTo>
                      <a:pt x="487" y="328"/>
                    </a:lnTo>
                    <a:lnTo>
                      <a:pt x="484" y="328"/>
                    </a:lnTo>
                    <a:lnTo>
                      <a:pt x="482" y="328"/>
                    </a:lnTo>
                    <a:lnTo>
                      <a:pt x="482" y="330"/>
                    </a:lnTo>
                    <a:lnTo>
                      <a:pt x="482" y="330"/>
                    </a:lnTo>
                    <a:lnTo>
                      <a:pt x="477" y="330"/>
                    </a:lnTo>
                    <a:lnTo>
                      <a:pt x="477" y="330"/>
                    </a:lnTo>
                    <a:lnTo>
                      <a:pt x="475" y="330"/>
                    </a:lnTo>
                    <a:lnTo>
                      <a:pt x="473" y="330"/>
                    </a:lnTo>
                    <a:lnTo>
                      <a:pt x="473" y="330"/>
                    </a:lnTo>
                    <a:lnTo>
                      <a:pt x="470" y="330"/>
                    </a:lnTo>
                    <a:lnTo>
                      <a:pt x="470" y="328"/>
                    </a:lnTo>
                    <a:lnTo>
                      <a:pt x="470" y="328"/>
                    </a:lnTo>
                    <a:lnTo>
                      <a:pt x="473" y="326"/>
                    </a:lnTo>
                    <a:lnTo>
                      <a:pt x="473" y="326"/>
                    </a:lnTo>
                    <a:lnTo>
                      <a:pt x="470" y="326"/>
                    </a:lnTo>
                    <a:lnTo>
                      <a:pt x="470" y="323"/>
                    </a:lnTo>
                    <a:lnTo>
                      <a:pt x="470" y="326"/>
                    </a:lnTo>
                    <a:lnTo>
                      <a:pt x="470" y="326"/>
                    </a:lnTo>
                    <a:lnTo>
                      <a:pt x="468" y="326"/>
                    </a:lnTo>
                    <a:lnTo>
                      <a:pt x="468" y="328"/>
                    </a:lnTo>
                    <a:lnTo>
                      <a:pt x="465" y="328"/>
                    </a:lnTo>
                    <a:lnTo>
                      <a:pt x="468" y="330"/>
                    </a:lnTo>
                    <a:lnTo>
                      <a:pt x="468" y="333"/>
                    </a:lnTo>
                    <a:lnTo>
                      <a:pt x="465" y="333"/>
                    </a:lnTo>
                    <a:lnTo>
                      <a:pt x="465" y="333"/>
                    </a:lnTo>
                    <a:lnTo>
                      <a:pt x="465" y="330"/>
                    </a:lnTo>
                    <a:lnTo>
                      <a:pt x="463" y="328"/>
                    </a:lnTo>
                    <a:lnTo>
                      <a:pt x="463" y="328"/>
                    </a:lnTo>
                    <a:lnTo>
                      <a:pt x="461" y="328"/>
                    </a:lnTo>
                    <a:lnTo>
                      <a:pt x="461" y="326"/>
                    </a:lnTo>
                    <a:lnTo>
                      <a:pt x="461" y="326"/>
                    </a:lnTo>
                    <a:lnTo>
                      <a:pt x="458" y="328"/>
                    </a:lnTo>
                    <a:lnTo>
                      <a:pt x="458" y="328"/>
                    </a:lnTo>
                    <a:lnTo>
                      <a:pt x="456" y="328"/>
                    </a:lnTo>
                    <a:lnTo>
                      <a:pt x="454" y="326"/>
                    </a:lnTo>
                    <a:lnTo>
                      <a:pt x="454" y="323"/>
                    </a:lnTo>
                    <a:lnTo>
                      <a:pt x="451" y="326"/>
                    </a:lnTo>
                    <a:lnTo>
                      <a:pt x="454" y="326"/>
                    </a:lnTo>
                    <a:lnTo>
                      <a:pt x="454" y="326"/>
                    </a:lnTo>
                    <a:lnTo>
                      <a:pt x="454" y="328"/>
                    </a:lnTo>
                    <a:lnTo>
                      <a:pt x="451" y="328"/>
                    </a:lnTo>
                    <a:lnTo>
                      <a:pt x="449" y="328"/>
                    </a:lnTo>
                    <a:lnTo>
                      <a:pt x="449" y="328"/>
                    </a:lnTo>
                    <a:lnTo>
                      <a:pt x="449" y="326"/>
                    </a:lnTo>
                    <a:lnTo>
                      <a:pt x="449" y="326"/>
                    </a:lnTo>
                    <a:lnTo>
                      <a:pt x="447" y="326"/>
                    </a:lnTo>
                    <a:lnTo>
                      <a:pt x="444" y="326"/>
                    </a:lnTo>
                    <a:lnTo>
                      <a:pt x="444" y="326"/>
                    </a:lnTo>
                    <a:lnTo>
                      <a:pt x="442" y="326"/>
                    </a:lnTo>
                    <a:lnTo>
                      <a:pt x="444" y="328"/>
                    </a:lnTo>
                    <a:lnTo>
                      <a:pt x="442" y="328"/>
                    </a:lnTo>
                    <a:lnTo>
                      <a:pt x="442" y="328"/>
                    </a:lnTo>
                    <a:lnTo>
                      <a:pt x="442" y="328"/>
                    </a:lnTo>
                    <a:lnTo>
                      <a:pt x="442" y="323"/>
                    </a:lnTo>
                    <a:lnTo>
                      <a:pt x="442" y="323"/>
                    </a:lnTo>
                    <a:lnTo>
                      <a:pt x="439" y="323"/>
                    </a:lnTo>
                    <a:lnTo>
                      <a:pt x="439" y="323"/>
                    </a:lnTo>
                    <a:lnTo>
                      <a:pt x="439" y="326"/>
                    </a:lnTo>
                    <a:lnTo>
                      <a:pt x="437" y="326"/>
                    </a:lnTo>
                    <a:lnTo>
                      <a:pt x="437" y="326"/>
                    </a:lnTo>
                    <a:lnTo>
                      <a:pt x="435" y="326"/>
                    </a:lnTo>
                    <a:lnTo>
                      <a:pt x="432" y="326"/>
                    </a:lnTo>
                    <a:lnTo>
                      <a:pt x="430" y="326"/>
                    </a:lnTo>
                    <a:lnTo>
                      <a:pt x="430" y="323"/>
                    </a:lnTo>
                    <a:lnTo>
                      <a:pt x="428" y="321"/>
                    </a:lnTo>
                    <a:lnTo>
                      <a:pt x="425" y="321"/>
                    </a:lnTo>
                    <a:lnTo>
                      <a:pt x="423" y="321"/>
                    </a:lnTo>
                    <a:lnTo>
                      <a:pt x="421" y="321"/>
                    </a:lnTo>
                    <a:lnTo>
                      <a:pt x="421" y="321"/>
                    </a:lnTo>
                    <a:lnTo>
                      <a:pt x="418" y="321"/>
                    </a:lnTo>
                    <a:lnTo>
                      <a:pt x="418" y="323"/>
                    </a:lnTo>
                    <a:lnTo>
                      <a:pt x="418" y="323"/>
                    </a:lnTo>
                    <a:lnTo>
                      <a:pt x="416" y="323"/>
                    </a:lnTo>
                    <a:lnTo>
                      <a:pt x="416" y="323"/>
                    </a:lnTo>
                    <a:lnTo>
                      <a:pt x="413" y="321"/>
                    </a:lnTo>
                    <a:lnTo>
                      <a:pt x="413" y="319"/>
                    </a:lnTo>
                    <a:lnTo>
                      <a:pt x="411" y="319"/>
                    </a:lnTo>
                    <a:lnTo>
                      <a:pt x="411" y="319"/>
                    </a:lnTo>
                    <a:lnTo>
                      <a:pt x="409" y="319"/>
                    </a:lnTo>
                    <a:lnTo>
                      <a:pt x="406" y="319"/>
                    </a:lnTo>
                    <a:lnTo>
                      <a:pt x="406" y="319"/>
                    </a:lnTo>
                    <a:lnTo>
                      <a:pt x="406" y="316"/>
                    </a:lnTo>
                    <a:lnTo>
                      <a:pt x="404" y="314"/>
                    </a:lnTo>
                    <a:lnTo>
                      <a:pt x="402" y="311"/>
                    </a:lnTo>
                    <a:lnTo>
                      <a:pt x="402" y="309"/>
                    </a:lnTo>
                    <a:lnTo>
                      <a:pt x="399" y="307"/>
                    </a:lnTo>
                    <a:lnTo>
                      <a:pt x="399" y="307"/>
                    </a:lnTo>
                    <a:lnTo>
                      <a:pt x="397" y="307"/>
                    </a:lnTo>
                    <a:lnTo>
                      <a:pt x="397" y="302"/>
                    </a:lnTo>
                    <a:lnTo>
                      <a:pt x="397" y="302"/>
                    </a:lnTo>
                    <a:lnTo>
                      <a:pt x="395" y="302"/>
                    </a:lnTo>
                    <a:lnTo>
                      <a:pt x="390" y="300"/>
                    </a:lnTo>
                    <a:lnTo>
                      <a:pt x="390" y="300"/>
                    </a:lnTo>
                    <a:lnTo>
                      <a:pt x="390" y="297"/>
                    </a:lnTo>
                    <a:lnTo>
                      <a:pt x="390" y="295"/>
                    </a:lnTo>
                    <a:lnTo>
                      <a:pt x="390" y="295"/>
                    </a:lnTo>
                    <a:lnTo>
                      <a:pt x="390" y="293"/>
                    </a:lnTo>
                    <a:lnTo>
                      <a:pt x="388" y="293"/>
                    </a:lnTo>
                    <a:lnTo>
                      <a:pt x="388" y="295"/>
                    </a:lnTo>
                    <a:lnTo>
                      <a:pt x="385" y="293"/>
                    </a:lnTo>
                    <a:lnTo>
                      <a:pt x="385" y="293"/>
                    </a:lnTo>
                    <a:lnTo>
                      <a:pt x="388" y="290"/>
                    </a:lnTo>
                    <a:lnTo>
                      <a:pt x="385" y="288"/>
                    </a:lnTo>
                    <a:lnTo>
                      <a:pt x="388" y="285"/>
                    </a:lnTo>
                    <a:lnTo>
                      <a:pt x="385" y="285"/>
                    </a:lnTo>
                    <a:lnTo>
                      <a:pt x="385" y="285"/>
                    </a:lnTo>
                    <a:lnTo>
                      <a:pt x="383" y="285"/>
                    </a:lnTo>
                    <a:lnTo>
                      <a:pt x="383" y="285"/>
                    </a:lnTo>
                    <a:lnTo>
                      <a:pt x="380" y="283"/>
                    </a:lnTo>
                    <a:lnTo>
                      <a:pt x="380" y="283"/>
                    </a:lnTo>
                    <a:lnTo>
                      <a:pt x="378" y="285"/>
                    </a:lnTo>
                    <a:lnTo>
                      <a:pt x="376" y="285"/>
                    </a:lnTo>
                    <a:lnTo>
                      <a:pt x="376" y="285"/>
                    </a:lnTo>
                    <a:lnTo>
                      <a:pt x="376" y="285"/>
                    </a:lnTo>
                    <a:lnTo>
                      <a:pt x="376" y="283"/>
                    </a:lnTo>
                    <a:lnTo>
                      <a:pt x="376" y="281"/>
                    </a:lnTo>
                    <a:lnTo>
                      <a:pt x="373" y="281"/>
                    </a:lnTo>
                    <a:lnTo>
                      <a:pt x="371" y="278"/>
                    </a:lnTo>
                    <a:lnTo>
                      <a:pt x="371" y="278"/>
                    </a:lnTo>
                    <a:lnTo>
                      <a:pt x="373" y="276"/>
                    </a:lnTo>
                    <a:lnTo>
                      <a:pt x="376" y="276"/>
                    </a:lnTo>
                    <a:lnTo>
                      <a:pt x="376" y="274"/>
                    </a:lnTo>
                    <a:lnTo>
                      <a:pt x="376" y="274"/>
                    </a:lnTo>
                    <a:lnTo>
                      <a:pt x="376" y="271"/>
                    </a:lnTo>
                    <a:lnTo>
                      <a:pt x="373" y="271"/>
                    </a:lnTo>
                    <a:lnTo>
                      <a:pt x="369" y="269"/>
                    </a:lnTo>
                    <a:lnTo>
                      <a:pt x="369" y="269"/>
                    </a:lnTo>
                    <a:lnTo>
                      <a:pt x="369" y="267"/>
                    </a:lnTo>
                    <a:lnTo>
                      <a:pt x="369" y="264"/>
                    </a:lnTo>
                    <a:lnTo>
                      <a:pt x="369" y="264"/>
                    </a:lnTo>
                    <a:lnTo>
                      <a:pt x="366" y="264"/>
                    </a:lnTo>
                    <a:lnTo>
                      <a:pt x="362" y="262"/>
                    </a:lnTo>
                    <a:lnTo>
                      <a:pt x="362" y="262"/>
                    </a:lnTo>
                    <a:lnTo>
                      <a:pt x="362" y="259"/>
                    </a:lnTo>
                    <a:lnTo>
                      <a:pt x="359" y="262"/>
                    </a:lnTo>
                    <a:lnTo>
                      <a:pt x="359" y="264"/>
                    </a:lnTo>
                    <a:lnTo>
                      <a:pt x="357" y="264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57"/>
                    </a:lnTo>
                    <a:lnTo>
                      <a:pt x="354" y="257"/>
                    </a:lnTo>
                    <a:lnTo>
                      <a:pt x="352" y="255"/>
                    </a:lnTo>
                    <a:lnTo>
                      <a:pt x="352" y="252"/>
                    </a:lnTo>
                    <a:lnTo>
                      <a:pt x="352" y="252"/>
                    </a:lnTo>
                    <a:lnTo>
                      <a:pt x="352" y="250"/>
                    </a:lnTo>
                    <a:lnTo>
                      <a:pt x="350" y="250"/>
                    </a:lnTo>
                    <a:lnTo>
                      <a:pt x="350" y="250"/>
                    </a:lnTo>
                    <a:lnTo>
                      <a:pt x="350" y="248"/>
                    </a:lnTo>
                    <a:lnTo>
                      <a:pt x="350" y="245"/>
                    </a:lnTo>
                    <a:lnTo>
                      <a:pt x="347" y="245"/>
                    </a:lnTo>
                    <a:lnTo>
                      <a:pt x="347" y="245"/>
                    </a:lnTo>
                    <a:lnTo>
                      <a:pt x="343" y="245"/>
                    </a:lnTo>
                    <a:lnTo>
                      <a:pt x="343" y="245"/>
                    </a:lnTo>
                    <a:lnTo>
                      <a:pt x="343" y="245"/>
                    </a:lnTo>
                    <a:lnTo>
                      <a:pt x="343" y="243"/>
                    </a:lnTo>
                    <a:lnTo>
                      <a:pt x="343" y="243"/>
                    </a:lnTo>
                    <a:lnTo>
                      <a:pt x="340" y="243"/>
                    </a:lnTo>
                    <a:lnTo>
                      <a:pt x="338" y="241"/>
                    </a:lnTo>
                    <a:lnTo>
                      <a:pt x="336" y="238"/>
                    </a:lnTo>
                    <a:lnTo>
                      <a:pt x="333" y="238"/>
                    </a:lnTo>
                    <a:lnTo>
                      <a:pt x="331" y="238"/>
                    </a:lnTo>
                    <a:lnTo>
                      <a:pt x="331" y="238"/>
                    </a:lnTo>
                    <a:lnTo>
                      <a:pt x="328" y="238"/>
                    </a:lnTo>
                    <a:lnTo>
                      <a:pt x="328" y="238"/>
                    </a:lnTo>
                    <a:lnTo>
                      <a:pt x="328" y="236"/>
                    </a:lnTo>
                    <a:lnTo>
                      <a:pt x="324" y="236"/>
                    </a:lnTo>
                    <a:lnTo>
                      <a:pt x="324" y="233"/>
                    </a:lnTo>
                    <a:lnTo>
                      <a:pt x="324" y="231"/>
                    </a:lnTo>
                    <a:lnTo>
                      <a:pt x="321" y="233"/>
                    </a:lnTo>
                    <a:lnTo>
                      <a:pt x="319" y="231"/>
                    </a:lnTo>
                    <a:lnTo>
                      <a:pt x="319" y="229"/>
                    </a:lnTo>
                    <a:lnTo>
                      <a:pt x="321" y="229"/>
                    </a:lnTo>
                    <a:lnTo>
                      <a:pt x="319" y="229"/>
                    </a:lnTo>
                    <a:lnTo>
                      <a:pt x="319" y="226"/>
                    </a:lnTo>
                    <a:lnTo>
                      <a:pt x="319" y="226"/>
                    </a:lnTo>
                    <a:lnTo>
                      <a:pt x="319" y="226"/>
                    </a:lnTo>
                    <a:lnTo>
                      <a:pt x="317" y="224"/>
                    </a:lnTo>
                    <a:lnTo>
                      <a:pt x="314" y="226"/>
                    </a:lnTo>
                    <a:lnTo>
                      <a:pt x="312" y="224"/>
                    </a:lnTo>
                    <a:lnTo>
                      <a:pt x="312" y="224"/>
                    </a:lnTo>
                    <a:lnTo>
                      <a:pt x="312" y="219"/>
                    </a:lnTo>
                    <a:lnTo>
                      <a:pt x="312" y="219"/>
                    </a:lnTo>
                    <a:lnTo>
                      <a:pt x="310" y="219"/>
                    </a:lnTo>
                    <a:lnTo>
                      <a:pt x="307" y="219"/>
                    </a:lnTo>
                    <a:lnTo>
                      <a:pt x="307" y="219"/>
                    </a:lnTo>
                    <a:lnTo>
                      <a:pt x="307" y="222"/>
                    </a:lnTo>
                    <a:lnTo>
                      <a:pt x="305" y="224"/>
                    </a:lnTo>
                    <a:lnTo>
                      <a:pt x="305" y="224"/>
                    </a:lnTo>
                    <a:lnTo>
                      <a:pt x="305" y="222"/>
                    </a:lnTo>
                    <a:lnTo>
                      <a:pt x="305" y="219"/>
                    </a:lnTo>
                    <a:lnTo>
                      <a:pt x="302" y="217"/>
                    </a:lnTo>
                    <a:lnTo>
                      <a:pt x="302" y="217"/>
                    </a:lnTo>
                    <a:lnTo>
                      <a:pt x="300" y="217"/>
                    </a:lnTo>
                    <a:lnTo>
                      <a:pt x="300" y="217"/>
                    </a:lnTo>
                    <a:lnTo>
                      <a:pt x="298" y="215"/>
                    </a:lnTo>
                    <a:lnTo>
                      <a:pt x="298" y="212"/>
                    </a:lnTo>
                    <a:lnTo>
                      <a:pt x="298" y="212"/>
                    </a:lnTo>
                    <a:lnTo>
                      <a:pt x="298" y="210"/>
                    </a:lnTo>
                    <a:lnTo>
                      <a:pt x="295" y="210"/>
                    </a:lnTo>
                    <a:lnTo>
                      <a:pt x="291" y="210"/>
                    </a:lnTo>
                    <a:lnTo>
                      <a:pt x="288" y="210"/>
                    </a:lnTo>
                    <a:lnTo>
                      <a:pt x="288" y="210"/>
                    </a:lnTo>
                    <a:lnTo>
                      <a:pt x="288" y="210"/>
                    </a:lnTo>
                    <a:lnTo>
                      <a:pt x="288" y="212"/>
                    </a:lnTo>
                    <a:lnTo>
                      <a:pt x="288" y="212"/>
                    </a:lnTo>
                    <a:lnTo>
                      <a:pt x="286" y="212"/>
                    </a:lnTo>
                    <a:lnTo>
                      <a:pt x="286" y="212"/>
                    </a:lnTo>
                    <a:lnTo>
                      <a:pt x="286" y="210"/>
                    </a:lnTo>
                    <a:lnTo>
                      <a:pt x="286" y="207"/>
                    </a:lnTo>
                    <a:lnTo>
                      <a:pt x="286" y="207"/>
                    </a:lnTo>
                    <a:lnTo>
                      <a:pt x="286" y="205"/>
                    </a:lnTo>
                    <a:lnTo>
                      <a:pt x="286" y="205"/>
                    </a:lnTo>
                    <a:lnTo>
                      <a:pt x="284" y="205"/>
                    </a:lnTo>
                    <a:lnTo>
                      <a:pt x="281" y="207"/>
                    </a:lnTo>
                    <a:lnTo>
                      <a:pt x="279" y="207"/>
                    </a:lnTo>
                    <a:lnTo>
                      <a:pt x="279" y="207"/>
                    </a:lnTo>
                    <a:lnTo>
                      <a:pt x="281" y="203"/>
                    </a:lnTo>
                    <a:lnTo>
                      <a:pt x="279" y="203"/>
                    </a:lnTo>
                    <a:lnTo>
                      <a:pt x="279" y="200"/>
                    </a:lnTo>
                    <a:lnTo>
                      <a:pt x="279" y="200"/>
                    </a:lnTo>
                    <a:lnTo>
                      <a:pt x="276" y="200"/>
                    </a:lnTo>
                    <a:lnTo>
                      <a:pt x="276" y="203"/>
                    </a:lnTo>
                    <a:lnTo>
                      <a:pt x="276" y="205"/>
                    </a:lnTo>
                    <a:lnTo>
                      <a:pt x="276" y="205"/>
                    </a:lnTo>
                    <a:lnTo>
                      <a:pt x="274" y="205"/>
                    </a:lnTo>
                    <a:lnTo>
                      <a:pt x="274" y="205"/>
                    </a:lnTo>
                    <a:lnTo>
                      <a:pt x="274" y="203"/>
                    </a:lnTo>
                    <a:lnTo>
                      <a:pt x="274" y="200"/>
                    </a:lnTo>
                    <a:lnTo>
                      <a:pt x="274" y="200"/>
                    </a:lnTo>
                    <a:lnTo>
                      <a:pt x="272" y="200"/>
                    </a:lnTo>
                    <a:lnTo>
                      <a:pt x="269" y="200"/>
                    </a:lnTo>
                    <a:lnTo>
                      <a:pt x="269" y="200"/>
                    </a:lnTo>
                    <a:lnTo>
                      <a:pt x="269" y="203"/>
                    </a:lnTo>
                    <a:lnTo>
                      <a:pt x="267" y="203"/>
                    </a:lnTo>
                    <a:lnTo>
                      <a:pt x="267" y="203"/>
                    </a:lnTo>
                    <a:lnTo>
                      <a:pt x="265" y="203"/>
                    </a:lnTo>
                    <a:lnTo>
                      <a:pt x="265" y="200"/>
                    </a:lnTo>
                    <a:lnTo>
                      <a:pt x="265" y="200"/>
                    </a:lnTo>
                    <a:lnTo>
                      <a:pt x="260" y="200"/>
                    </a:lnTo>
                    <a:lnTo>
                      <a:pt x="258" y="200"/>
                    </a:lnTo>
                    <a:lnTo>
                      <a:pt x="258" y="203"/>
                    </a:lnTo>
                    <a:lnTo>
                      <a:pt x="260" y="205"/>
                    </a:lnTo>
                    <a:lnTo>
                      <a:pt x="260" y="205"/>
                    </a:lnTo>
                    <a:lnTo>
                      <a:pt x="260" y="207"/>
                    </a:lnTo>
                    <a:lnTo>
                      <a:pt x="258" y="207"/>
                    </a:lnTo>
                    <a:lnTo>
                      <a:pt x="258" y="207"/>
                    </a:lnTo>
                    <a:lnTo>
                      <a:pt x="255" y="203"/>
                    </a:lnTo>
                    <a:lnTo>
                      <a:pt x="253" y="205"/>
                    </a:lnTo>
                    <a:lnTo>
                      <a:pt x="250" y="205"/>
                    </a:lnTo>
                    <a:lnTo>
                      <a:pt x="250" y="205"/>
                    </a:lnTo>
                    <a:lnTo>
                      <a:pt x="253" y="200"/>
                    </a:lnTo>
                    <a:lnTo>
                      <a:pt x="253" y="200"/>
                    </a:lnTo>
                    <a:lnTo>
                      <a:pt x="250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3"/>
                    </a:lnTo>
                    <a:lnTo>
                      <a:pt x="248" y="205"/>
                    </a:lnTo>
                    <a:lnTo>
                      <a:pt x="246" y="205"/>
                    </a:lnTo>
                    <a:lnTo>
                      <a:pt x="246" y="203"/>
                    </a:lnTo>
                    <a:lnTo>
                      <a:pt x="246" y="198"/>
                    </a:lnTo>
                    <a:lnTo>
                      <a:pt x="243" y="198"/>
                    </a:lnTo>
                    <a:lnTo>
                      <a:pt x="243" y="198"/>
                    </a:lnTo>
                    <a:lnTo>
                      <a:pt x="241" y="198"/>
                    </a:lnTo>
                    <a:lnTo>
                      <a:pt x="239" y="198"/>
                    </a:lnTo>
                    <a:lnTo>
                      <a:pt x="239" y="198"/>
                    </a:lnTo>
                    <a:lnTo>
                      <a:pt x="236" y="198"/>
                    </a:lnTo>
                    <a:lnTo>
                      <a:pt x="241" y="196"/>
                    </a:lnTo>
                    <a:lnTo>
                      <a:pt x="241" y="193"/>
                    </a:lnTo>
                    <a:lnTo>
                      <a:pt x="241" y="193"/>
                    </a:lnTo>
                    <a:lnTo>
                      <a:pt x="239" y="191"/>
                    </a:lnTo>
                    <a:lnTo>
                      <a:pt x="234" y="191"/>
                    </a:lnTo>
                    <a:lnTo>
                      <a:pt x="234" y="191"/>
                    </a:lnTo>
                    <a:lnTo>
                      <a:pt x="232" y="191"/>
                    </a:lnTo>
                    <a:lnTo>
                      <a:pt x="232" y="189"/>
                    </a:lnTo>
                    <a:lnTo>
                      <a:pt x="232" y="189"/>
                    </a:lnTo>
                    <a:lnTo>
                      <a:pt x="232" y="189"/>
                    </a:lnTo>
                    <a:lnTo>
                      <a:pt x="234" y="189"/>
                    </a:lnTo>
                    <a:lnTo>
                      <a:pt x="239" y="189"/>
                    </a:lnTo>
                    <a:lnTo>
                      <a:pt x="239" y="189"/>
                    </a:lnTo>
                    <a:lnTo>
                      <a:pt x="239" y="186"/>
                    </a:lnTo>
                    <a:lnTo>
                      <a:pt x="236" y="186"/>
                    </a:lnTo>
                    <a:lnTo>
                      <a:pt x="234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29" y="184"/>
                    </a:lnTo>
                    <a:lnTo>
                      <a:pt x="229" y="184"/>
                    </a:lnTo>
                    <a:lnTo>
                      <a:pt x="229" y="184"/>
                    </a:lnTo>
                    <a:lnTo>
                      <a:pt x="232" y="181"/>
                    </a:lnTo>
                    <a:lnTo>
                      <a:pt x="232" y="181"/>
                    </a:lnTo>
                    <a:lnTo>
                      <a:pt x="229" y="181"/>
                    </a:lnTo>
                    <a:lnTo>
                      <a:pt x="227" y="181"/>
                    </a:lnTo>
                    <a:lnTo>
                      <a:pt x="227" y="181"/>
                    </a:lnTo>
                    <a:lnTo>
                      <a:pt x="225" y="181"/>
                    </a:lnTo>
                    <a:lnTo>
                      <a:pt x="222" y="181"/>
                    </a:lnTo>
                    <a:lnTo>
                      <a:pt x="222" y="181"/>
                    </a:lnTo>
                    <a:lnTo>
                      <a:pt x="220" y="181"/>
                    </a:lnTo>
                    <a:lnTo>
                      <a:pt x="220" y="181"/>
                    </a:lnTo>
                    <a:lnTo>
                      <a:pt x="220" y="179"/>
                    </a:lnTo>
                    <a:lnTo>
                      <a:pt x="220" y="179"/>
                    </a:lnTo>
                    <a:lnTo>
                      <a:pt x="220" y="177"/>
                    </a:lnTo>
                    <a:lnTo>
                      <a:pt x="217" y="177"/>
                    </a:lnTo>
                    <a:lnTo>
                      <a:pt x="215" y="177"/>
                    </a:lnTo>
                    <a:lnTo>
                      <a:pt x="215" y="177"/>
                    </a:lnTo>
                    <a:lnTo>
                      <a:pt x="213" y="179"/>
                    </a:lnTo>
                    <a:lnTo>
                      <a:pt x="213" y="179"/>
                    </a:lnTo>
                    <a:lnTo>
                      <a:pt x="210" y="179"/>
                    </a:lnTo>
                    <a:lnTo>
                      <a:pt x="213" y="174"/>
                    </a:lnTo>
                    <a:lnTo>
                      <a:pt x="210" y="172"/>
                    </a:lnTo>
                    <a:lnTo>
                      <a:pt x="210" y="172"/>
                    </a:lnTo>
                    <a:lnTo>
                      <a:pt x="210" y="174"/>
                    </a:lnTo>
                    <a:lnTo>
                      <a:pt x="208" y="174"/>
                    </a:lnTo>
                    <a:lnTo>
                      <a:pt x="206" y="179"/>
                    </a:lnTo>
                    <a:lnTo>
                      <a:pt x="206" y="179"/>
                    </a:lnTo>
                    <a:lnTo>
                      <a:pt x="206" y="181"/>
                    </a:lnTo>
                    <a:lnTo>
                      <a:pt x="203" y="181"/>
                    </a:lnTo>
                    <a:lnTo>
                      <a:pt x="203" y="179"/>
                    </a:lnTo>
                    <a:lnTo>
                      <a:pt x="203" y="179"/>
                    </a:lnTo>
                    <a:lnTo>
                      <a:pt x="201" y="177"/>
                    </a:lnTo>
                    <a:lnTo>
                      <a:pt x="201" y="177"/>
                    </a:lnTo>
                    <a:lnTo>
                      <a:pt x="196" y="177"/>
                    </a:lnTo>
                    <a:lnTo>
                      <a:pt x="196" y="174"/>
                    </a:lnTo>
                    <a:lnTo>
                      <a:pt x="199" y="174"/>
                    </a:lnTo>
                    <a:lnTo>
                      <a:pt x="201" y="172"/>
                    </a:lnTo>
                    <a:lnTo>
                      <a:pt x="203" y="172"/>
                    </a:lnTo>
                    <a:lnTo>
                      <a:pt x="201" y="170"/>
                    </a:lnTo>
                    <a:lnTo>
                      <a:pt x="199" y="172"/>
                    </a:lnTo>
                    <a:lnTo>
                      <a:pt x="196" y="172"/>
                    </a:lnTo>
                    <a:lnTo>
                      <a:pt x="194" y="172"/>
                    </a:lnTo>
                    <a:lnTo>
                      <a:pt x="194" y="172"/>
                    </a:lnTo>
                    <a:lnTo>
                      <a:pt x="194" y="172"/>
                    </a:lnTo>
                    <a:lnTo>
                      <a:pt x="194" y="174"/>
                    </a:lnTo>
                    <a:lnTo>
                      <a:pt x="194" y="174"/>
                    </a:lnTo>
                    <a:lnTo>
                      <a:pt x="196" y="177"/>
                    </a:lnTo>
                    <a:lnTo>
                      <a:pt x="194" y="179"/>
                    </a:lnTo>
                    <a:lnTo>
                      <a:pt x="194" y="179"/>
                    </a:lnTo>
                    <a:lnTo>
                      <a:pt x="194" y="179"/>
                    </a:lnTo>
                    <a:lnTo>
                      <a:pt x="191" y="177"/>
                    </a:lnTo>
                    <a:lnTo>
                      <a:pt x="191" y="177"/>
                    </a:lnTo>
                    <a:lnTo>
                      <a:pt x="189" y="174"/>
                    </a:lnTo>
                    <a:lnTo>
                      <a:pt x="187" y="174"/>
                    </a:lnTo>
                    <a:lnTo>
                      <a:pt x="187" y="177"/>
                    </a:lnTo>
                    <a:lnTo>
                      <a:pt x="184" y="177"/>
                    </a:lnTo>
                    <a:lnTo>
                      <a:pt x="184" y="174"/>
                    </a:lnTo>
                    <a:lnTo>
                      <a:pt x="184" y="172"/>
                    </a:lnTo>
                    <a:lnTo>
                      <a:pt x="184" y="172"/>
                    </a:lnTo>
                    <a:lnTo>
                      <a:pt x="184" y="170"/>
                    </a:lnTo>
                    <a:lnTo>
                      <a:pt x="182" y="170"/>
                    </a:lnTo>
                    <a:lnTo>
                      <a:pt x="182" y="170"/>
                    </a:lnTo>
                    <a:lnTo>
                      <a:pt x="182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0" y="174"/>
                    </a:lnTo>
                    <a:lnTo>
                      <a:pt x="180" y="174"/>
                    </a:lnTo>
                    <a:lnTo>
                      <a:pt x="177" y="172"/>
                    </a:lnTo>
                    <a:lnTo>
                      <a:pt x="177" y="170"/>
                    </a:lnTo>
                    <a:lnTo>
                      <a:pt x="177" y="170"/>
                    </a:lnTo>
                    <a:lnTo>
                      <a:pt x="177" y="165"/>
                    </a:lnTo>
                    <a:lnTo>
                      <a:pt x="177" y="165"/>
                    </a:lnTo>
                    <a:lnTo>
                      <a:pt x="177" y="165"/>
                    </a:lnTo>
                    <a:lnTo>
                      <a:pt x="175" y="165"/>
                    </a:lnTo>
                    <a:lnTo>
                      <a:pt x="173" y="167"/>
                    </a:lnTo>
                    <a:lnTo>
                      <a:pt x="173" y="170"/>
                    </a:lnTo>
                    <a:lnTo>
                      <a:pt x="173" y="170"/>
                    </a:lnTo>
                    <a:lnTo>
                      <a:pt x="173" y="172"/>
                    </a:lnTo>
                    <a:lnTo>
                      <a:pt x="173" y="172"/>
                    </a:lnTo>
                    <a:lnTo>
                      <a:pt x="168" y="172"/>
                    </a:lnTo>
                    <a:lnTo>
                      <a:pt x="165" y="172"/>
                    </a:lnTo>
                    <a:lnTo>
                      <a:pt x="163" y="170"/>
                    </a:lnTo>
                    <a:lnTo>
                      <a:pt x="161" y="170"/>
                    </a:lnTo>
                    <a:lnTo>
                      <a:pt x="161" y="170"/>
                    </a:lnTo>
                    <a:lnTo>
                      <a:pt x="158" y="170"/>
                    </a:lnTo>
                    <a:lnTo>
                      <a:pt x="156" y="170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1" y="172"/>
                    </a:lnTo>
                    <a:lnTo>
                      <a:pt x="151" y="172"/>
                    </a:lnTo>
                    <a:lnTo>
                      <a:pt x="149" y="170"/>
                    </a:lnTo>
                    <a:lnTo>
                      <a:pt x="149" y="170"/>
                    </a:lnTo>
                    <a:lnTo>
                      <a:pt x="147" y="170"/>
                    </a:lnTo>
                    <a:lnTo>
                      <a:pt x="147" y="170"/>
                    </a:lnTo>
                    <a:lnTo>
                      <a:pt x="147" y="172"/>
                    </a:lnTo>
                    <a:lnTo>
                      <a:pt x="144" y="174"/>
                    </a:lnTo>
                    <a:lnTo>
                      <a:pt x="144" y="174"/>
                    </a:lnTo>
                    <a:lnTo>
                      <a:pt x="142" y="172"/>
                    </a:lnTo>
                    <a:lnTo>
                      <a:pt x="142" y="172"/>
                    </a:lnTo>
                    <a:lnTo>
                      <a:pt x="142" y="170"/>
                    </a:lnTo>
                    <a:lnTo>
                      <a:pt x="142" y="167"/>
                    </a:lnTo>
                    <a:lnTo>
                      <a:pt x="139" y="167"/>
                    </a:lnTo>
                    <a:lnTo>
                      <a:pt x="139" y="170"/>
                    </a:lnTo>
                    <a:lnTo>
                      <a:pt x="137" y="170"/>
                    </a:lnTo>
                    <a:lnTo>
                      <a:pt x="137" y="172"/>
                    </a:lnTo>
                    <a:lnTo>
                      <a:pt x="137" y="170"/>
                    </a:lnTo>
                    <a:lnTo>
                      <a:pt x="135" y="170"/>
                    </a:lnTo>
                    <a:lnTo>
                      <a:pt x="135" y="170"/>
                    </a:lnTo>
                    <a:lnTo>
                      <a:pt x="137" y="165"/>
                    </a:lnTo>
                    <a:lnTo>
                      <a:pt x="137" y="165"/>
                    </a:lnTo>
                    <a:lnTo>
                      <a:pt x="135" y="165"/>
                    </a:lnTo>
                    <a:lnTo>
                      <a:pt x="135" y="165"/>
                    </a:lnTo>
                    <a:lnTo>
                      <a:pt x="135" y="165"/>
                    </a:lnTo>
                    <a:lnTo>
                      <a:pt x="132" y="165"/>
                    </a:lnTo>
                    <a:lnTo>
                      <a:pt x="132" y="163"/>
                    </a:lnTo>
                    <a:lnTo>
                      <a:pt x="130" y="163"/>
                    </a:lnTo>
                    <a:lnTo>
                      <a:pt x="130" y="163"/>
                    </a:lnTo>
                    <a:lnTo>
                      <a:pt x="128" y="163"/>
                    </a:lnTo>
                    <a:lnTo>
                      <a:pt x="128" y="165"/>
                    </a:lnTo>
                    <a:lnTo>
                      <a:pt x="125" y="165"/>
                    </a:lnTo>
                    <a:lnTo>
                      <a:pt x="125" y="165"/>
                    </a:lnTo>
                    <a:lnTo>
                      <a:pt x="125" y="163"/>
                    </a:lnTo>
                    <a:lnTo>
                      <a:pt x="125" y="160"/>
                    </a:lnTo>
                    <a:lnTo>
                      <a:pt x="123" y="160"/>
                    </a:lnTo>
                    <a:lnTo>
                      <a:pt x="123" y="160"/>
                    </a:lnTo>
                    <a:lnTo>
                      <a:pt x="121" y="160"/>
                    </a:lnTo>
                    <a:lnTo>
                      <a:pt x="121" y="163"/>
                    </a:lnTo>
                    <a:lnTo>
                      <a:pt x="118" y="163"/>
                    </a:lnTo>
                    <a:lnTo>
                      <a:pt x="116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0"/>
                    </a:lnTo>
                    <a:lnTo>
                      <a:pt x="111" y="158"/>
                    </a:lnTo>
                    <a:lnTo>
                      <a:pt x="111" y="158"/>
                    </a:lnTo>
                    <a:lnTo>
                      <a:pt x="109" y="160"/>
                    </a:lnTo>
                    <a:lnTo>
                      <a:pt x="109" y="165"/>
                    </a:lnTo>
                    <a:lnTo>
                      <a:pt x="109" y="165"/>
                    </a:lnTo>
                    <a:lnTo>
                      <a:pt x="106" y="165"/>
                    </a:lnTo>
                    <a:lnTo>
                      <a:pt x="106" y="165"/>
                    </a:lnTo>
                    <a:lnTo>
                      <a:pt x="104" y="165"/>
                    </a:lnTo>
                    <a:lnTo>
                      <a:pt x="104" y="163"/>
                    </a:lnTo>
                    <a:lnTo>
                      <a:pt x="106" y="160"/>
                    </a:lnTo>
                    <a:lnTo>
                      <a:pt x="109" y="158"/>
                    </a:lnTo>
                    <a:lnTo>
                      <a:pt x="109" y="156"/>
                    </a:lnTo>
                    <a:lnTo>
                      <a:pt x="106" y="156"/>
                    </a:lnTo>
                    <a:lnTo>
                      <a:pt x="106" y="156"/>
                    </a:lnTo>
                    <a:lnTo>
                      <a:pt x="104" y="156"/>
                    </a:lnTo>
                    <a:lnTo>
                      <a:pt x="102" y="158"/>
                    </a:lnTo>
                    <a:lnTo>
                      <a:pt x="102" y="158"/>
                    </a:lnTo>
                    <a:lnTo>
                      <a:pt x="99" y="156"/>
                    </a:lnTo>
                    <a:lnTo>
                      <a:pt x="99" y="153"/>
                    </a:lnTo>
                    <a:lnTo>
                      <a:pt x="102" y="151"/>
                    </a:lnTo>
                    <a:lnTo>
                      <a:pt x="104" y="148"/>
                    </a:lnTo>
                    <a:lnTo>
                      <a:pt x="102" y="148"/>
                    </a:lnTo>
                    <a:lnTo>
                      <a:pt x="102" y="148"/>
                    </a:lnTo>
                    <a:lnTo>
                      <a:pt x="99" y="148"/>
                    </a:lnTo>
                    <a:lnTo>
                      <a:pt x="99" y="148"/>
                    </a:lnTo>
                    <a:lnTo>
                      <a:pt x="95" y="151"/>
                    </a:lnTo>
                    <a:lnTo>
                      <a:pt x="95" y="151"/>
                    </a:lnTo>
                    <a:lnTo>
                      <a:pt x="95" y="153"/>
                    </a:lnTo>
                    <a:lnTo>
                      <a:pt x="97" y="156"/>
                    </a:lnTo>
                    <a:lnTo>
                      <a:pt x="97" y="156"/>
                    </a:lnTo>
                    <a:lnTo>
                      <a:pt x="97" y="158"/>
                    </a:lnTo>
                    <a:lnTo>
                      <a:pt x="92" y="160"/>
                    </a:lnTo>
                    <a:lnTo>
                      <a:pt x="90" y="160"/>
                    </a:lnTo>
                    <a:lnTo>
                      <a:pt x="87" y="160"/>
                    </a:lnTo>
                    <a:lnTo>
                      <a:pt x="87" y="160"/>
                    </a:lnTo>
                    <a:lnTo>
                      <a:pt x="85" y="156"/>
                    </a:lnTo>
                    <a:lnTo>
                      <a:pt x="85" y="156"/>
                    </a:lnTo>
                    <a:lnTo>
                      <a:pt x="85" y="156"/>
                    </a:lnTo>
                    <a:lnTo>
                      <a:pt x="83" y="156"/>
                    </a:lnTo>
                    <a:lnTo>
                      <a:pt x="83" y="156"/>
                    </a:lnTo>
                    <a:lnTo>
                      <a:pt x="83" y="160"/>
                    </a:lnTo>
                    <a:lnTo>
                      <a:pt x="83" y="163"/>
                    </a:lnTo>
                    <a:lnTo>
                      <a:pt x="80" y="163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73" y="160"/>
                    </a:lnTo>
                    <a:lnTo>
                      <a:pt x="69" y="163"/>
                    </a:lnTo>
                    <a:lnTo>
                      <a:pt x="66" y="165"/>
                    </a:lnTo>
                    <a:lnTo>
                      <a:pt x="66" y="165"/>
                    </a:lnTo>
                    <a:lnTo>
                      <a:pt x="64" y="165"/>
                    </a:lnTo>
                    <a:lnTo>
                      <a:pt x="64" y="165"/>
                    </a:lnTo>
                    <a:lnTo>
                      <a:pt x="64" y="163"/>
                    </a:lnTo>
                    <a:lnTo>
                      <a:pt x="64" y="163"/>
                    </a:lnTo>
                    <a:lnTo>
                      <a:pt x="66" y="158"/>
                    </a:lnTo>
                    <a:lnTo>
                      <a:pt x="69" y="156"/>
                    </a:lnTo>
                    <a:lnTo>
                      <a:pt x="69" y="156"/>
                    </a:lnTo>
                    <a:lnTo>
                      <a:pt x="69" y="156"/>
                    </a:lnTo>
                    <a:lnTo>
                      <a:pt x="69" y="153"/>
                    </a:lnTo>
                    <a:lnTo>
                      <a:pt x="66" y="153"/>
                    </a:lnTo>
                    <a:lnTo>
                      <a:pt x="66" y="153"/>
                    </a:lnTo>
                    <a:lnTo>
                      <a:pt x="66" y="153"/>
                    </a:lnTo>
                    <a:lnTo>
                      <a:pt x="64" y="153"/>
                    </a:lnTo>
                    <a:lnTo>
                      <a:pt x="64" y="153"/>
                    </a:lnTo>
                    <a:lnTo>
                      <a:pt x="62" y="153"/>
                    </a:lnTo>
                    <a:lnTo>
                      <a:pt x="62" y="153"/>
                    </a:lnTo>
                    <a:lnTo>
                      <a:pt x="59" y="151"/>
                    </a:lnTo>
                    <a:lnTo>
                      <a:pt x="59" y="151"/>
                    </a:lnTo>
                    <a:lnTo>
                      <a:pt x="59" y="148"/>
                    </a:lnTo>
                    <a:lnTo>
                      <a:pt x="57" y="151"/>
                    </a:lnTo>
                    <a:lnTo>
                      <a:pt x="57" y="151"/>
                    </a:lnTo>
                    <a:lnTo>
                      <a:pt x="54" y="151"/>
                    </a:lnTo>
                    <a:lnTo>
                      <a:pt x="54" y="153"/>
                    </a:lnTo>
                    <a:lnTo>
                      <a:pt x="54" y="156"/>
                    </a:lnTo>
                    <a:lnTo>
                      <a:pt x="47" y="158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3" y="156"/>
                    </a:lnTo>
                    <a:lnTo>
                      <a:pt x="43" y="156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40" y="158"/>
                    </a:lnTo>
                    <a:lnTo>
                      <a:pt x="40" y="158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43" y="163"/>
                    </a:lnTo>
                    <a:lnTo>
                      <a:pt x="43" y="163"/>
                    </a:lnTo>
                    <a:lnTo>
                      <a:pt x="40" y="163"/>
                    </a:lnTo>
                    <a:lnTo>
                      <a:pt x="40" y="163"/>
                    </a:lnTo>
                    <a:lnTo>
                      <a:pt x="38" y="163"/>
                    </a:lnTo>
                    <a:lnTo>
                      <a:pt x="36" y="160"/>
                    </a:lnTo>
                    <a:lnTo>
                      <a:pt x="36" y="160"/>
                    </a:lnTo>
                    <a:lnTo>
                      <a:pt x="33" y="160"/>
                    </a:lnTo>
                    <a:lnTo>
                      <a:pt x="31" y="163"/>
                    </a:lnTo>
                    <a:lnTo>
                      <a:pt x="28" y="163"/>
                    </a:lnTo>
                    <a:lnTo>
                      <a:pt x="28" y="163"/>
                    </a:lnTo>
                    <a:lnTo>
                      <a:pt x="26" y="163"/>
                    </a:lnTo>
                    <a:lnTo>
                      <a:pt x="26" y="165"/>
                    </a:lnTo>
                    <a:lnTo>
                      <a:pt x="24" y="165"/>
                    </a:lnTo>
                    <a:lnTo>
                      <a:pt x="24" y="165"/>
                    </a:lnTo>
                    <a:lnTo>
                      <a:pt x="24" y="163"/>
                    </a:lnTo>
                    <a:lnTo>
                      <a:pt x="24" y="160"/>
                    </a:lnTo>
                    <a:lnTo>
                      <a:pt x="21" y="160"/>
                    </a:lnTo>
                    <a:lnTo>
                      <a:pt x="21" y="160"/>
                    </a:lnTo>
                    <a:lnTo>
                      <a:pt x="21" y="158"/>
                    </a:lnTo>
                    <a:lnTo>
                      <a:pt x="19" y="158"/>
                    </a:lnTo>
                    <a:lnTo>
                      <a:pt x="19" y="158"/>
                    </a:lnTo>
                    <a:lnTo>
                      <a:pt x="17" y="160"/>
                    </a:lnTo>
                    <a:lnTo>
                      <a:pt x="17" y="160"/>
                    </a:lnTo>
                    <a:lnTo>
                      <a:pt x="14" y="160"/>
                    </a:lnTo>
                    <a:lnTo>
                      <a:pt x="14" y="160"/>
                    </a:lnTo>
                    <a:lnTo>
                      <a:pt x="12" y="163"/>
                    </a:lnTo>
                    <a:lnTo>
                      <a:pt x="10" y="163"/>
                    </a:lnTo>
                    <a:lnTo>
                      <a:pt x="10" y="158"/>
                    </a:lnTo>
                    <a:lnTo>
                      <a:pt x="7" y="156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  <a:moveTo>
                      <a:pt x="669" y="203"/>
                    </a:moveTo>
                    <a:lnTo>
                      <a:pt x="669" y="200"/>
                    </a:lnTo>
                    <a:lnTo>
                      <a:pt x="669" y="203"/>
                    </a:lnTo>
                    <a:close/>
                    <a:moveTo>
                      <a:pt x="669" y="229"/>
                    </a:moveTo>
                    <a:lnTo>
                      <a:pt x="669" y="229"/>
                    </a:lnTo>
                    <a:lnTo>
                      <a:pt x="669" y="229"/>
                    </a:lnTo>
                    <a:lnTo>
                      <a:pt x="669" y="226"/>
                    </a:lnTo>
                    <a:lnTo>
                      <a:pt x="669" y="226"/>
                    </a:lnTo>
                    <a:lnTo>
                      <a:pt x="669" y="226"/>
                    </a:lnTo>
                    <a:lnTo>
                      <a:pt x="669" y="224"/>
                    </a:lnTo>
                    <a:lnTo>
                      <a:pt x="669" y="222"/>
                    </a:lnTo>
                    <a:lnTo>
                      <a:pt x="671" y="222"/>
                    </a:lnTo>
                    <a:lnTo>
                      <a:pt x="673" y="222"/>
                    </a:lnTo>
                    <a:lnTo>
                      <a:pt x="673" y="217"/>
                    </a:lnTo>
                    <a:lnTo>
                      <a:pt x="671" y="217"/>
                    </a:lnTo>
                    <a:lnTo>
                      <a:pt x="671" y="217"/>
                    </a:lnTo>
                    <a:lnTo>
                      <a:pt x="671" y="217"/>
                    </a:lnTo>
                    <a:lnTo>
                      <a:pt x="671" y="217"/>
                    </a:lnTo>
                    <a:lnTo>
                      <a:pt x="669" y="215"/>
                    </a:lnTo>
                    <a:lnTo>
                      <a:pt x="669" y="215"/>
                    </a:lnTo>
                    <a:lnTo>
                      <a:pt x="671" y="212"/>
                    </a:lnTo>
                    <a:lnTo>
                      <a:pt x="671" y="212"/>
                    </a:lnTo>
                    <a:lnTo>
                      <a:pt x="671" y="212"/>
                    </a:lnTo>
                    <a:lnTo>
                      <a:pt x="673" y="212"/>
                    </a:lnTo>
                    <a:lnTo>
                      <a:pt x="673" y="212"/>
                    </a:lnTo>
                    <a:lnTo>
                      <a:pt x="673" y="210"/>
                    </a:lnTo>
                    <a:lnTo>
                      <a:pt x="673" y="210"/>
                    </a:lnTo>
                    <a:lnTo>
                      <a:pt x="676" y="210"/>
                    </a:lnTo>
                    <a:lnTo>
                      <a:pt x="673" y="207"/>
                    </a:lnTo>
                    <a:lnTo>
                      <a:pt x="673" y="207"/>
                    </a:lnTo>
                    <a:lnTo>
                      <a:pt x="673" y="207"/>
                    </a:lnTo>
                    <a:lnTo>
                      <a:pt x="673" y="205"/>
                    </a:lnTo>
                    <a:lnTo>
                      <a:pt x="673" y="205"/>
                    </a:lnTo>
                    <a:lnTo>
                      <a:pt x="673" y="203"/>
                    </a:lnTo>
                    <a:lnTo>
                      <a:pt x="673" y="203"/>
                    </a:lnTo>
                    <a:lnTo>
                      <a:pt x="673" y="203"/>
                    </a:lnTo>
                    <a:lnTo>
                      <a:pt x="671" y="200"/>
                    </a:lnTo>
                    <a:lnTo>
                      <a:pt x="671" y="200"/>
                    </a:lnTo>
                    <a:lnTo>
                      <a:pt x="671" y="200"/>
                    </a:lnTo>
                    <a:lnTo>
                      <a:pt x="671" y="198"/>
                    </a:lnTo>
                    <a:lnTo>
                      <a:pt x="673" y="198"/>
                    </a:lnTo>
                    <a:lnTo>
                      <a:pt x="673" y="198"/>
                    </a:lnTo>
                    <a:lnTo>
                      <a:pt x="673" y="198"/>
                    </a:lnTo>
                    <a:lnTo>
                      <a:pt x="673" y="196"/>
                    </a:lnTo>
                    <a:lnTo>
                      <a:pt x="671" y="196"/>
                    </a:lnTo>
                    <a:lnTo>
                      <a:pt x="671" y="198"/>
                    </a:lnTo>
                    <a:lnTo>
                      <a:pt x="671" y="196"/>
                    </a:lnTo>
                    <a:lnTo>
                      <a:pt x="673" y="196"/>
                    </a:lnTo>
                    <a:lnTo>
                      <a:pt x="673" y="193"/>
                    </a:lnTo>
                    <a:lnTo>
                      <a:pt x="676" y="193"/>
                    </a:lnTo>
                    <a:lnTo>
                      <a:pt x="678" y="193"/>
                    </a:lnTo>
                    <a:lnTo>
                      <a:pt x="680" y="193"/>
                    </a:lnTo>
                    <a:lnTo>
                      <a:pt x="683" y="193"/>
                    </a:lnTo>
                    <a:lnTo>
                      <a:pt x="685" y="191"/>
                    </a:lnTo>
                    <a:lnTo>
                      <a:pt x="685" y="191"/>
                    </a:lnTo>
                    <a:lnTo>
                      <a:pt x="685" y="189"/>
                    </a:lnTo>
                    <a:lnTo>
                      <a:pt x="685" y="191"/>
                    </a:lnTo>
                    <a:lnTo>
                      <a:pt x="685" y="189"/>
                    </a:lnTo>
                    <a:lnTo>
                      <a:pt x="685" y="189"/>
                    </a:lnTo>
                    <a:lnTo>
                      <a:pt x="685" y="189"/>
                    </a:lnTo>
                    <a:lnTo>
                      <a:pt x="688" y="189"/>
                    </a:lnTo>
                    <a:lnTo>
                      <a:pt x="688" y="186"/>
                    </a:lnTo>
                    <a:lnTo>
                      <a:pt x="688" y="189"/>
                    </a:lnTo>
                    <a:lnTo>
                      <a:pt x="688" y="191"/>
                    </a:lnTo>
                    <a:lnTo>
                      <a:pt x="688" y="191"/>
                    </a:lnTo>
                    <a:lnTo>
                      <a:pt x="690" y="193"/>
                    </a:lnTo>
                    <a:lnTo>
                      <a:pt x="690" y="193"/>
                    </a:lnTo>
                    <a:lnTo>
                      <a:pt x="692" y="196"/>
                    </a:lnTo>
                    <a:lnTo>
                      <a:pt x="692" y="193"/>
                    </a:lnTo>
                    <a:lnTo>
                      <a:pt x="695" y="193"/>
                    </a:lnTo>
                    <a:lnTo>
                      <a:pt x="695" y="196"/>
                    </a:lnTo>
                    <a:lnTo>
                      <a:pt x="692" y="196"/>
                    </a:lnTo>
                    <a:lnTo>
                      <a:pt x="692" y="198"/>
                    </a:lnTo>
                    <a:lnTo>
                      <a:pt x="692" y="200"/>
                    </a:lnTo>
                    <a:lnTo>
                      <a:pt x="690" y="200"/>
                    </a:lnTo>
                    <a:lnTo>
                      <a:pt x="688" y="205"/>
                    </a:lnTo>
                    <a:lnTo>
                      <a:pt x="685" y="207"/>
                    </a:lnTo>
                    <a:lnTo>
                      <a:pt x="685" y="210"/>
                    </a:lnTo>
                    <a:lnTo>
                      <a:pt x="685" y="212"/>
                    </a:lnTo>
                    <a:lnTo>
                      <a:pt x="685" y="212"/>
                    </a:lnTo>
                    <a:lnTo>
                      <a:pt x="688" y="212"/>
                    </a:lnTo>
                    <a:lnTo>
                      <a:pt x="688" y="212"/>
                    </a:lnTo>
                    <a:lnTo>
                      <a:pt x="688" y="212"/>
                    </a:lnTo>
                    <a:lnTo>
                      <a:pt x="688" y="215"/>
                    </a:lnTo>
                    <a:lnTo>
                      <a:pt x="685" y="215"/>
                    </a:lnTo>
                    <a:lnTo>
                      <a:pt x="685" y="217"/>
                    </a:lnTo>
                    <a:lnTo>
                      <a:pt x="685" y="217"/>
                    </a:lnTo>
                    <a:lnTo>
                      <a:pt x="683" y="217"/>
                    </a:lnTo>
                    <a:lnTo>
                      <a:pt x="683" y="219"/>
                    </a:lnTo>
                    <a:lnTo>
                      <a:pt x="683" y="219"/>
                    </a:lnTo>
                    <a:lnTo>
                      <a:pt x="680" y="222"/>
                    </a:lnTo>
                    <a:lnTo>
                      <a:pt x="680" y="224"/>
                    </a:lnTo>
                    <a:lnTo>
                      <a:pt x="678" y="226"/>
                    </a:lnTo>
                    <a:lnTo>
                      <a:pt x="676" y="231"/>
                    </a:lnTo>
                    <a:lnTo>
                      <a:pt x="676" y="231"/>
                    </a:lnTo>
                    <a:lnTo>
                      <a:pt x="676" y="233"/>
                    </a:lnTo>
                    <a:lnTo>
                      <a:pt x="676" y="236"/>
                    </a:lnTo>
                    <a:lnTo>
                      <a:pt x="676" y="236"/>
                    </a:lnTo>
                    <a:lnTo>
                      <a:pt x="676" y="236"/>
                    </a:lnTo>
                    <a:lnTo>
                      <a:pt x="678" y="236"/>
                    </a:lnTo>
                    <a:lnTo>
                      <a:pt x="678" y="236"/>
                    </a:lnTo>
                    <a:lnTo>
                      <a:pt x="678" y="236"/>
                    </a:lnTo>
                    <a:lnTo>
                      <a:pt x="680" y="236"/>
                    </a:lnTo>
                    <a:lnTo>
                      <a:pt x="680" y="238"/>
                    </a:lnTo>
                    <a:lnTo>
                      <a:pt x="678" y="238"/>
                    </a:lnTo>
                    <a:lnTo>
                      <a:pt x="678" y="238"/>
                    </a:lnTo>
                    <a:lnTo>
                      <a:pt x="678" y="238"/>
                    </a:lnTo>
                    <a:lnTo>
                      <a:pt x="678" y="238"/>
                    </a:lnTo>
                    <a:lnTo>
                      <a:pt x="678" y="241"/>
                    </a:lnTo>
                    <a:lnTo>
                      <a:pt x="676" y="241"/>
                    </a:lnTo>
                    <a:lnTo>
                      <a:pt x="676" y="241"/>
                    </a:lnTo>
                    <a:lnTo>
                      <a:pt x="676" y="238"/>
                    </a:lnTo>
                    <a:lnTo>
                      <a:pt x="673" y="238"/>
                    </a:lnTo>
                    <a:lnTo>
                      <a:pt x="673" y="241"/>
                    </a:lnTo>
                    <a:lnTo>
                      <a:pt x="671" y="241"/>
                    </a:lnTo>
                    <a:lnTo>
                      <a:pt x="671" y="245"/>
                    </a:lnTo>
                    <a:lnTo>
                      <a:pt x="671" y="245"/>
                    </a:lnTo>
                    <a:lnTo>
                      <a:pt x="669" y="248"/>
                    </a:lnTo>
                    <a:lnTo>
                      <a:pt x="669" y="245"/>
                    </a:lnTo>
                    <a:lnTo>
                      <a:pt x="669" y="245"/>
                    </a:lnTo>
                    <a:lnTo>
                      <a:pt x="669" y="245"/>
                    </a:lnTo>
                    <a:lnTo>
                      <a:pt x="669" y="243"/>
                    </a:lnTo>
                    <a:lnTo>
                      <a:pt x="669" y="243"/>
                    </a:lnTo>
                    <a:lnTo>
                      <a:pt x="669" y="241"/>
                    </a:lnTo>
                    <a:lnTo>
                      <a:pt x="669" y="241"/>
                    </a:lnTo>
                    <a:lnTo>
                      <a:pt x="666" y="238"/>
                    </a:lnTo>
                    <a:lnTo>
                      <a:pt x="666" y="238"/>
                    </a:lnTo>
                    <a:lnTo>
                      <a:pt x="666" y="236"/>
                    </a:lnTo>
                    <a:lnTo>
                      <a:pt x="669" y="236"/>
                    </a:lnTo>
                    <a:lnTo>
                      <a:pt x="669" y="236"/>
                    </a:lnTo>
                    <a:lnTo>
                      <a:pt x="669" y="233"/>
                    </a:lnTo>
                    <a:lnTo>
                      <a:pt x="669" y="231"/>
                    </a:lnTo>
                    <a:lnTo>
                      <a:pt x="671" y="229"/>
                    </a:lnTo>
                    <a:lnTo>
                      <a:pt x="669" y="229"/>
                    </a:lnTo>
                    <a:lnTo>
                      <a:pt x="669" y="229"/>
                    </a:lnTo>
                    <a:lnTo>
                      <a:pt x="669" y="229"/>
                    </a:lnTo>
                    <a:lnTo>
                      <a:pt x="669" y="229"/>
                    </a:lnTo>
                    <a:close/>
                    <a:moveTo>
                      <a:pt x="669" y="200"/>
                    </a:moveTo>
                    <a:lnTo>
                      <a:pt x="669" y="200"/>
                    </a:lnTo>
                    <a:lnTo>
                      <a:pt x="669" y="200"/>
                    </a:lnTo>
                    <a:lnTo>
                      <a:pt x="669" y="198"/>
                    </a:lnTo>
                    <a:lnTo>
                      <a:pt x="669" y="200"/>
                    </a:lnTo>
                    <a:lnTo>
                      <a:pt x="669" y="200"/>
                    </a:lnTo>
                    <a:lnTo>
                      <a:pt x="669" y="200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0" name="Group 118"/>
            <p:cNvGrpSpPr/>
            <p:nvPr>
              <p:custDataLst>
                <p:tags r:id="rId23"/>
              </p:custDataLst>
            </p:nvPr>
          </p:nvGrpSpPr>
          <p:grpSpPr>
            <a:xfrm>
              <a:off x="2731643" y="3293435"/>
              <a:ext cx="1535025" cy="1301111"/>
              <a:chOff x="4539373" y="3812380"/>
              <a:chExt cx="1817742" cy="1540746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34" name="Freeform 35"/>
              <p:cNvSpPr>
                <a:spLocks noEditPoints="1"/>
              </p:cNvSpPr>
              <p:nvPr/>
            </p:nvSpPr>
            <p:spPr bwMode="auto">
              <a:xfrm>
                <a:off x="4539373" y="4584878"/>
                <a:ext cx="1204969" cy="768248"/>
              </a:xfrm>
              <a:custGeom>
                <a:avLst/>
                <a:gdLst/>
                <a:ahLst/>
                <a:cxnLst>
                  <a:cxn ang="0">
                    <a:pos x="99" y="286"/>
                  </a:cxn>
                  <a:cxn ang="0">
                    <a:pos x="158" y="194"/>
                  </a:cxn>
                  <a:cxn ang="0">
                    <a:pos x="210" y="92"/>
                  </a:cxn>
                  <a:cxn ang="0">
                    <a:pos x="307" y="17"/>
                  </a:cxn>
                  <a:cxn ang="0">
                    <a:pos x="407" y="19"/>
                  </a:cxn>
                  <a:cxn ang="0">
                    <a:pos x="487" y="62"/>
                  </a:cxn>
                  <a:cxn ang="0">
                    <a:pos x="548" y="50"/>
                  </a:cxn>
                  <a:cxn ang="0">
                    <a:pos x="624" y="38"/>
                  </a:cxn>
                  <a:cxn ang="0">
                    <a:pos x="681" y="26"/>
                  </a:cxn>
                  <a:cxn ang="0">
                    <a:pos x="742" y="50"/>
                  </a:cxn>
                  <a:cxn ang="0">
                    <a:pos x="754" y="95"/>
                  </a:cxn>
                  <a:cxn ang="0">
                    <a:pos x="754" y="151"/>
                  </a:cxn>
                  <a:cxn ang="0">
                    <a:pos x="770" y="199"/>
                  </a:cxn>
                  <a:cxn ang="0">
                    <a:pos x="801" y="206"/>
                  </a:cxn>
                  <a:cxn ang="0">
                    <a:pos x="836" y="222"/>
                  </a:cxn>
                  <a:cxn ang="0">
                    <a:pos x="815" y="267"/>
                  </a:cxn>
                  <a:cxn ang="0">
                    <a:pos x="810" y="300"/>
                  </a:cxn>
                  <a:cxn ang="0">
                    <a:pos x="813" y="336"/>
                  </a:cxn>
                  <a:cxn ang="0">
                    <a:pos x="848" y="362"/>
                  </a:cxn>
                  <a:cxn ang="0">
                    <a:pos x="858" y="390"/>
                  </a:cxn>
                  <a:cxn ang="0">
                    <a:pos x="891" y="406"/>
                  </a:cxn>
                  <a:cxn ang="0">
                    <a:pos x="931" y="399"/>
                  </a:cxn>
                  <a:cxn ang="0">
                    <a:pos x="940" y="373"/>
                  </a:cxn>
                  <a:cxn ang="0">
                    <a:pos x="966" y="371"/>
                  </a:cxn>
                  <a:cxn ang="0">
                    <a:pos x="1018" y="352"/>
                  </a:cxn>
                  <a:cxn ang="0">
                    <a:pos x="1070" y="362"/>
                  </a:cxn>
                  <a:cxn ang="0">
                    <a:pos x="1103" y="369"/>
                  </a:cxn>
                  <a:cxn ang="0">
                    <a:pos x="1134" y="378"/>
                  </a:cxn>
                  <a:cxn ang="0">
                    <a:pos x="1099" y="404"/>
                  </a:cxn>
                  <a:cxn ang="0">
                    <a:pos x="1054" y="421"/>
                  </a:cxn>
                  <a:cxn ang="0">
                    <a:pos x="1049" y="456"/>
                  </a:cxn>
                  <a:cxn ang="0">
                    <a:pos x="1035" y="468"/>
                  </a:cxn>
                  <a:cxn ang="0">
                    <a:pos x="1014" y="484"/>
                  </a:cxn>
                  <a:cxn ang="0">
                    <a:pos x="1002" y="496"/>
                  </a:cxn>
                  <a:cxn ang="0">
                    <a:pos x="973" y="527"/>
                  </a:cxn>
                  <a:cxn ang="0">
                    <a:pos x="926" y="520"/>
                  </a:cxn>
                  <a:cxn ang="0">
                    <a:pos x="877" y="548"/>
                  </a:cxn>
                  <a:cxn ang="0">
                    <a:pos x="853" y="553"/>
                  </a:cxn>
                  <a:cxn ang="0">
                    <a:pos x="747" y="626"/>
                  </a:cxn>
                  <a:cxn ang="0">
                    <a:pos x="643" y="711"/>
                  </a:cxn>
                  <a:cxn ang="0">
                    <a:pos x="617" y="678"/>
                  </a:cxn>
                  <a:cxn ang="0">
                    <a:pos x="579" y="695"/>
                  </a:cxn>
                  <a:cxn ang="0">
                    <a:pos x="577" y="659"/>
                  </a:cxn>
                  <a:cxn ang="0">
                    <a:pos x="562" y="638"/>
                  </a:cxn>
                  <a:cxn ang="0">
                    <a:pos x="522" y="633"/>
                  </a:cxn>
                  <a:cxn ang="0">
                    <a:pos x="482" y="636"/>
                  </a:cxn>
                  <a:cxn ang="0">
                    <a:pos x="489" y="600"/>
                  </a:cxn>
                  <a:cxn ang="0">
                    <a:pos x="468" y="565"/>
                  </a:cxn>
                  <a:cxn ang="0">
                    <a:pos x="456" y="543"/>
                  </a:cxn>
                  <a:cxn ang="0">
                    <a:pos x="451" y="515"/>
                  </a:cxn>
                  <a:cxn ang="0">
                    <a:pos x="444" y="477"/>
                  </a:cxn>
                  <a:cxn ang="0">
                    <a:pos x="433" y="442"/>
                  </a:cxn>
                  <a:cxn ang="0">
                    <a:pos x="397" y="409"/>
                  </a:cxn>
                  <a:cxn ang="0">
                    <a:pos x="340" y="413"/>
                  </a:cxn>
                  <a:cxn ang="0">
                    <a:pos x="274" y="395"/>
                  </a:cxn>
                  <a:cxn ang="0">
                    <a:pos x="175" y="371"/>
                  </a:cxn>
                  <a:cxn ang="0">
                    <a:pos x="90" y="371"/>
                  </a:cxn>
                  <a:cxn ang="0">
                    <a:pos x="1047" y="473"/>
                  </a:cxn>
                  <a:cxn ang="0">
                    <a:pos x="1040" y="475"/>
                  </a:cxn>
                  <a:cxn ang="0">
                    <a:pos x="983" y="541"/>
                  </a:cxn>
                  <a:cxn ang="0">
                    <a:pos x="997" y="527"/>
                  </a:cxn>
                  <a:cxn ang="0">
                    <a:pos x="962" y="529"/>
                  </a:cxn>
                  <a:cxn ang="0">
                    <a:pos x="1009" y="494"/>
                  </a:cxn>
                </a:cxnLst>
                <a:rect l="0" t="0" r="r" b="b"/>
                <a:pathLst>
                  <a:path w="1134" h="723">
                    <a:moveTo>
                      <a:pt x="0" y="371"/>
                    </a:moveTo>
                    <a:lnTo>
                      <a:pt x="0" y="369"/>
                    </a:lnTo>
                    <a:lnTo>
                      <a:pt x="0" y="369"/>
                    </a:lnTo>
                    <a:lnTo>
                      <a:pt x="0" y="369"/>
                    </a:lnTo>
                    <a:lnTo>
                      <a:pt x="0" y="366"/>
                    </a:lnTo>
                    <a:lnTo>
                      <a:pt x="3" y="362"/>
                    </a:lnTo>
                    <a:lnTo>
                      <a:pt x="5" y="359"/>
                    </a:lnTo>
                    <a:lnTo>
                      <a:pt x="7" y="359"/>
                    </a:lnTo>
                    <a:lnTo>
                      <a:pt x="12" y="357"/>
                    </a:lnTo>
                    <a:lnTo>
                      <a:pt x="12" y="357"/>
                    </a:lnTo>
                    <a:lnTo>
                      <a:pt x="14" y="354"/>
                    </a:lnTo>
                    <a:lnTo>
                      <a:pt x="19" y="352"/>
                    </a:lnTo>
                    <a:lnTo>
                      <a:pt x="19" y="352"/>
                    </a:lnTo>
                    <a:lnTo>
                      <a:pt x="21" y="350"/>
                    </a:lnTo>
                    <a:lnTo>
                      <a:pt x="29" y="350"/>
                    </a:lnTo>
                    <a:lnTo>
                      <a:pt x="31" y="347"/>
                    </a:lnTo>
                    <a:lnTo>
                      <a:pt x="31" y="347"/>
                    </a:lnTo>
                    <a:lnTo>
                      <a:pt x="33" y="343"/>
                    </a:lnTo>
                    <a:lnTo>
                      <a:pt x="38" y="340"/>
                    </a:lnTo>
                    <a:lnTo>
                      <a:pt x="38" y="338"/>
                    </a:lnTo>
                    <a:lnTo>
                      <a:pt x="45" y="333"/>
                    </a:lnTo>
                    <a:lnTo>
                      <a:pt x="47" y="333"/>
                    </a:lnTo>
                    <a:lnTo>
                      <a:pt x="52" y="331"/>
                    </a:lnTo>
                    <a:lnTo>
                      <a:pt x="57" y="328"/>
                    </a:lnTo>
                    <a:lnTo>
                      <a:pt x="59" y="326"/>
                    </a:lnTo>
                    <a:lnTo>
                      <a:pt x="62" y="326"/>
                    </a:lnTo>
                    <a:lnTo>
                      <a:pt x="64" y="324"/>
                    </a:lnTo>
                    <a:lnTo>
                      <a:pt x="66" y="321"/>
                    </a:lnTo>
                    <a:lnTo>
                      <a:pt x="71" y="321"/>
                    </a:lnTo>
                    <a:lnTo>
                      <a:pt x="73" y="319"/>
                    </a:lnTo>
                    <a:lnTo>
                      <a:pt x="76" y="319"/>
                    </a:lnTo>
                    <a:lnTo>
                      <a:pt x="78" y="317"/>
                    </a:lnTo>
                    <a:lnTo>
                      <a:pt x="78" y="317"/>
                    </a:lnTo>
                    <a:lnTo>
                      <a:pt x="81" y="317"/>
                    </a:lnTo>
                    <a:lnTo>
                      <a:pt x="83" y="314"/>
                    </a:lnTo>
                    <a:lnTo>
                      <a:pt x="83" y="312"/>
                    </a:lnTo>
                    <a:lnTo>
                      <a:pt x="90" y="307"/>
                    </a:lnTo>
                    <a:lnTo>
                      <a:pt x="90" y="305"/>
                    </a:lnTo>
                    <a:lnTo>
                      <a:pt x="90" y="305"/>
                    </a:lnTo>
                    <a:lnTo>
                      <a:pt x="92" y="302"/>
                    </a:lnTo>
                    <a:lnTo>
                      <a:pt x="97" y="298"/>
                    </a:lnTo>
                    <a:lnTo>
                      <a:pt x="99" y="286"/>
                    </a:lnTo>
                    <a:lnTo>
                      <a:pt x="102" y="284"/>
                    </a:lnTo>
                    <a:lnTo>
                      <a:pt x="104" y="279"/>
                    </a:lnTo>
                    <a:lnTo>
                      <a:pt x="107" y="279"/>
                    </a:lnTo>
                    <a:lnTo>
                      <a:pt x="107" y="276"/>
                    </a:lnTo>
                    <a:lnTo>
                      <a:pt x="109" y="276"/>
                    </a:lnTo>
                    <a:lnTo>
                      <a:pt x="111" y="274"/>
                    </a:lnTo>
                    <a:lnTo>
                      <a:pt x="116" y="269"/>
                    </a:lnTo>
                    <a:lnTo>
                      <a:pt x="118" y="267"/>
                    </a:lnTo>
                    <a:lnTo>
                      <a:pt x="118" y="265"/>
                    </a:lnTo>
                    <a:lnTo>
                      <a:pt x="121" y="260"/>
                    </a:lnTo>
                    <a:lnTo>
                      <a:pt x="123" y="258"/>
                    </a:lnTo>
                    <a:lnTo>
                      <a:pt x="128" y="255"/>
                    </a:lnTo>
                    <a:lnTo>
                      <a:pt x="128" y="253"/>
                    </a:lnTo>
                    <a:lnTo>
                      <a:pt x="130" y="253"/>
                    </a:lnTo>
                    <a:lnTo>
                      <a:pt x="133" y="246"/>
                    </a:lnTo>
                    <a:lnTo>
                      <a:pt x="133" y="246"/>
                    </a:lnTo>
                    <a:lnTo>
                      <a:pt x="133" y="243"/>
                    </a:lnTo>
                    <a:lnTo>
                      <a:pt x="133" y="239"/>
                    </a:lnTo>
                    <a:lnTo>
                      <a:pt x="133" y="236"/>
                    </a:lnTo>
                    <a:lnTo>
                      <a:pt x="128" y="234"/>
                    </a:lnTo>
                    <a:lnTo>
                      <a:pt x="128" y="232"/>
                    </a:lnTo>
                    <a:lnTo>
                      <a:pt x="128" y="229"/>
                    </a:lnTo>
                    <a:lnTo>
                      <a:pt x="130" y="225"/>
                    </a:lnTo>
                    <a:lnTo>
                      <a:pt x="133" y="225"/>
                    </a:lnTo>
                    <a:lnTo>
                      <a:pt x="133" y="225"/>
                    </a:lnTo>
                    <a:lnTo>
                      <a:pt x="137" y="225"/>
                    </a:lnTo>
                    <a:lnTo>
                      <a:pt x="140" y="225"/>
                    </a:lnTo>
                    <a:lnTo>
                      <a:pt x="144" y="225"/>
                    </a:lnTo>
                    <a:lnTo>
                      <a:pt x="144" y="222"/>
                    </a:lnTo>
                    <a:lnTo>
                      <a:pt x="147" y="220"/>
                    </a:lnTo>
                    <a:lnTo>
                      <a:pt x="149" y="217"/>
                    </a:lnTo>
                    <a:lnTo>
                      <a:pt x="149" y="215"/>
                    </a:lnTo>
                    <a:lnTo>
                      <a:pt x="151" y="213"/>
                    </a:lnTo>
                    <a:lnTo>
                      <a:pt x="151" y="208"/>
                    </a:lnTo>
                    <a:lnTo>
                      <a:pt x="156" y="206"/>
                    </a:lnTo>
                    <a:lnTo>
                      <a:pt x="158" y="203"/>
                    </a:lnTo>
                    <a:lnTo>
                      <a:pt x="158" y="203"/>
                    </a:lnTo>
                    <a:lnTo>
                      <a:pt x="158" y="203"/>
                    </a:lnTo>
                    <a:lnTo>
                      <a:pt x="158" y="201"/>
                    </a:lnTo>
                    <a:lnTo>
                      <a:pt x="158" y="199"/>
                    </a:lnTo>
                    <a:lnTo>
                      <a:pt x="158" y="194"/>
                    </a:lnTo>
                    <a:lnTo>
                      <a:pt x="158" y="194"/>
                    </a:lnTo>
                    <a:lnTo>
                      <a:pt x="158" y="187"/>
                    </a:lnTo>
                    <a:lnTo>
                      <a:pt x="156" y="184"/>
                    </a:lnTo>
                    <a:lnTo>
                      <a:pt x="156" y="184"/>
                    </a:lnTo>
                    <a:lnTo>
                      <a:pt x="156" y="182"/>
                    </a:lnTo>
                    <a:lnTo>
                      <a:pt x="156" y="177"/>
                    </a:lnTo>
                    <a:lnTo>
                      <a:pt x="156" y="177"/>
                    </a:lnTo>
                    <a:lnTo>
                      <a:pt x="156" y="175"/>
                    </a:lnTo>
                    <a:lnTo>
                      <a:pt x="161" y="175"/>
                    </a:lnTo>
                    <a:lnTo>
                      <a:pt x="163" y="175"/>
                    </a:lnTo>
                    <a:lnTo>
                      <a:pt x="163" y="175"/>
                    </a:lnTo>
                    <a:lnTo>
                      <a:pt x="166" y="173"/>
                    </a:lnTo>
                    <a:lnTo>
                      <a:pt x="168" y="173"/>
                    </a:lnTo>
                    <a:lnTo>
                      <a:pt x="168" y="168"/>
                    </a:lnTo>
                    <a:lnTo>
                      <a:pt x="168" y="165"/>
                    </a:lnTo>
                    <a:lnTo>
                      <a:pt x="170" y="163"/>
                    </a:lnTo>
                    <a:lnTo>
                      <a:pt x="173" y="161"/>
                    </a:lnTo>
                    <a:lnTo>
                      <a:pt x="175" y="156"/>
                    </a:lnTo>
                    <a:lnTo>
                      <a:pt x="177" y="154"/>
                    </a:lnTo>
                    <a:lnTo>
                      <a:pt x="182" y="154"/>
                    </a:lnTo>
                    <a:lnTo>
                      <a:pt x="182" y="154"/>
                    </a:lnTo>
                    <a:lnTo>
                      <a:pt x="187" y="151"/>
                    </a:lnTo>
                    <a:lnTo>
                      <a:pt x="189" y="149"/>
                    </a:lnTo>
                    <a:lnTo>
                      <a:pt x="189" y="144"/>
                    </a:lnTo>
                    <a:lnTo>
                      <a:pt x="187" y="142"/>
                    </a:lnTo>
                    <a:lnTo>
                      <a:pt x="187" y="139"/>
                    </a:lnTo>
                    <a:lnTo>
                      <a:pt x="187" y="135"/>
                    </a:lnTo>
                    <a:lnTo>
                      <a:pt x="187" y="130"/>
                    </a:lnTo>
                    <a:lnTo>
                      <a:pt x="187" y="130"/>
                    </a:lnTo>
                    <a:lnTo>
                      <a:pt x="187" y="130"/>
                    </a:lnTo>
                    <a:lnTo>
                      <a:pt x="187" y="125"/>
                    </a:lnTo>
                    <a:lnTo>
                      <a:pt x="187" y="123"/>
                    </a:lnTo>
                    <a:lnTo>
                      <a:pt x="192" y="113"/>
                    </a:lnTo>
                    <a:lnTo>
                      <a:pt x="192" y="111"/>
                    </a:lnTo>
                    <a:lnTo>
                      <a:pt x="194" y="111"/>
                    </a:lnTo>
                    <a:lnTo>
                      <a:pt x="194" y="111"/>
                    </a:lnTo>
                    <a:lnTo>
                      <a:pt x="194" y="109"/>
                    </a:lnTo>
                    <a:lnTo>
                      <a:pt x="194" y="109"/>
                    </a:lnTo>
                    <a:lnTo>
                      <a:pt x="201" y="104"/>
                    </a:lnTo>
                    <a:lnTo>
                      <a:pt x="203" y="102"/>
                    </a:lnTo>
                    <a:lnTo>
                      <a:pt x="203" y="99"/>
                    </a:lnTo>
                    <a:lnTo>
                      <a:pt x="208" y="92"/>
                    </a:lnTo>
                    <a:lnTo>
                      <a:pt x="210" y="92"/>
                    </a:lnTo>
                    <a:lnTo>
                      <a:pt x="213" y="88"/>
                    </a:lnTo>
                    <a:lnTo>
                      <a:pt x="215" y="88"/>
                    </a:lnTo>
                    <a:lnTo>
                      <a:pt x="215" y="88"/>
                    </a:lnTo>
                    <a:lnTo>
                      <a:pt x="220" y="78"/>
                    </a:lnTo>
                    <a:lnTo>
                      <a:pt x="222" y="78"/>
                    </a:lnTo>
                    <a:lnTo>
                      <a:pt x="222" y="76"/>
                    </a:lnTo>
                    <a:lnTo>
                      <a:pt x="222" y="73"/>
                    </a:lnTo>
                    <a:lnTo>
                      <a:pt x="225" y="73"/>
                    </a:lnTo>
                    <a:lnTo>
                      <a:pt x="227" y="71"/>
                    </a:lnTo>
                    <a:lnTo>
                      <a:pt x="229" y="71"/>
                    </a:lnTo>
                    <a:lnTo>
                      <a:pt x="236" y="69"/>
                    </a:lnTo>
                    <a:lnTo>
                      <a:pt x="241" y="69"/>
                    </a:lnTo>
                    <a:lnTo>
                      <a:pt x="246" y="69"/>
                    </a:lnTo>
                    <a:lnTo>
                      <a:pt x="248" y="66"/>
                    </a:lnTo>
                    <a:lnTo>
                      <a:pt x="248" y="66"/>
                    </a:lnTo>
                    <a:lnTo>
                      <a:pt x="251" y="66"/>
                    </a:lnTo>
                    <a:lnTo>
                      <a:pt x="253" y="64"/>
                    </a:lnTo>
                    <a:lnTo>
                      <a:pt x="255" y="64"/>
                    </a:lnTo>
                    <a:lnTo>
                      <a:pt x="258" y="59"/>
                    </a:lnTo>
                    <a:lnTo>
                      <a:pt x="260" y="59"/>
                    </a:lnTo>
                    <a:lnTo>
                      <a:pt x="260" y="52"/>
                    </a:lnTo>
                    <a:lnTo>
                      <a:pt x="265" y="47"/>
                    </a:lnTo>
                    <a:lnTo>
                      <a:pt x="267" y="40"/>
                    </a:lnTo>
                    <a:lnTo>
                      <a:pt x="267" y="38"/>
                    </a:lnTo>
                    <a:lnTo>
                      <a:pt x="272" y="33"/>
                    </a:lnTo>
                    <a:lnTo>
                      <a:pt x="272" y="31"/>
                    </a:lnTo>
                    <a:lnTo>
                      <a:pt x="274" y="31"/>
                    </a:lnTo>
                    <a:lnTo>
                      <a:pt x="274" y="31"/>
                    </a:lnTo>
                    <a:lnTo>
                      <a:pt x="277" y="31"/>
                    </a:lnTo>
                    <a:lnTo>
                      <a:pt x="279" y="28"/>
                    </a:lnTo>
                    <a:lnTo>
                      <a:pt x="279" y="26"/>
                    </a:lnTo>
                    <a:lnTo>
                      <a:pt x="279" y="26"/>
                    </a:lnTo>
                    <a:lnTo>
                      <a:pt x="281" y="26"/>
                    </a:lnTo>
                    <a:lnTo>
                      <a:pt x="284" y="26"/>
                    </a:lnTo>
                    <a:lnTo>
                      <a:pt x="286" y="24"/>
                    </a:lnTo>
                    <a:lnTo>
                      <a:pt x="286" y="24"/>
                    </a:lnTo>
                    <a:lnTo>
                      <a:pt x="291" y="21"/>
                    </a:lnTo>
                    <a:lnTo>
                      <a:pt x="293" y="21"/>
                    </a:lnTo>
                    <a:lnTo>
                      <a:pt x="293" y="19"/>
                    </a:lnTo>
                    <a:lnTo>
                      <a:pt x="296" y="19"/>
                    </a:lnTo>
                    <a:lnTo>
                      <a:pt x="303" y="19"/>
                    </a:lnTo>
                    <a:lnTo>
                      <a:pt x="307" y="17"/>
                    </a:lnTo>
                    <a:lnTo>
                      <a:pt x="307" y="17"/>
                    </a:lnTo>
                    <a:lnTo>
                      <a:pt x="310" y="14"/>
                    </a:lnTo>
                    <a:lnTo>
                      <a:pt x="312" y="14"/>
                    </a:lnTo>
                    <a:lnTo>
                      <a:pt x="314" y="12"/>
                    </a:lnTo>
                    <a:lnTo>
                      <a:pt x="314" y="10"/>
                    </a:lnTo>
                    <a:lnTo>
                      <a:pt x="317" y="10"/>
                    </a:lnTo>
                    <a:lnTo>
                      <a:pt x="319" y="5"/>
                    </a:lnTo>
                    <a:lnTo>
                      <a:pt x="321" y="2"/>
                    </a:lnTo>
                    <a:lnTo>
                      <a:pt x="321" y="2"/>
                    </a:lnTo>
                    <a:lnTo>
                      <a:pt x="324" y="2"/>
                    </a:lnTo>
                    <a:lnTo>
                      <a:pt x="326" y="2"/>
                    </a:lnTo>
                    <a:lnTo>
                      <a:pt x="329" y="0"/>
                    </a:lnTo>
                    <a:lnTo>
                      <a:pt x="331" y="0"/>
                    </a:lnTo>
                    <a:lnTo>
                      <a:pt x="333" y="0"/>
                    </a:lnTo>
                    <a:lnTo>
                      <a:pt x="333" y="0"/>
                    </a:lnTo>
                    <a:lnTo>
                      <a:pt x="336" y="0"/>
                    </a:lnTo>
                    <a:lnTo>
                      <a:pt x="338" y="0"/>
                    </a:lnTo>
                    <a:lnTo>
                      <a:pt x="340" y="2"/>
                    </a:lnTo>
                    <a:lnTo>
                      <a:pt x="347" y="7"/>
                    </a:lnTo>
                    <a:lnTo>
                      <a:pt x="350" y="10"/>
                    </a:lnTo>
                    <a:lnTo>
                      <a:pt x="350" y="10"/>
                    </a:lnTo>
                    <a:lnTo>
                      <a:pt x="352" y="10"/>
                    </a:lnTo>
                    <a:lnTo>
                      <a:pt x="352" y="12"/>
                    </a:lnTo>
                    <a:lnTo>
                      <a:pt x="355" y="12"/>
                    </a:lnTo>
                    <a:lnTo>
                      <a:pt x="357" y="10"/>
                    </a:lnTo>
                    <a:lnTo>
                      <a:pt x="362" y="12"/>
                    </a:lnTo>
                    <a:lnTo>
                      <a:pt x="366" y="10"/>
                    </a:lnTo>
                    <a:lnTo>
                      <a:pt x="369" y="10"/>
                    </a:lnTo>
                    <a:lnTo>
                      <a:pt x="371" y="12"/>
                    </a:lnTo>
                    <a:lnTo>
                      <a:pt x="373" y="12"/>
                    </a:lnTo>
                    <a:lnTo>
                      <a:pt x="373" y="12"/>
                    </a:lnTo>
                    <a:lnTo>
                      <a:pt x="376" y="12"/>
                    </a:lnTo>
                    <a:lnTo>
                      <a:pt x="381" y="12"/>
                    </a:lnTo>
                    <a:lnTo>
                      <a:pt x="381" y="12"/>
                    </a:lnTo>
                    <a:lnTo>
                      <a:pt x="383" y="12"/>
                    </a:lnTo>
                    <a:lnTo>
                      <a:pt x="385" y="12"/>
                    </a:lnTo>
                    <a:lnTo>
                      <a:pt x="388" y="17"/>
                    </a:lnTo>
                    <a:lnTo>
                      <a:pt x="388" y="17"/>
                    </a:lnTo>
                    <a:lnTo>
                      <a:pt x="390" y="17"/>
                    </a:lnTo>
                    <a:lnTo>
                      <a:pt x="392" y="19"/>
                    </a:lnTo>
                    <a:lnTo>
                      <a:pt x="399" y="17"/>
                    </a:lnTo>
                    <a:lnTo>
                      <a:pt x="407" y="19"/>
                    </a:lnTo>
                    <a:lnTo>
                      <a:pt x="407" y="21"/>
                    </a:lnTo>
                    <a:lnTo>
                      <a:pt x="411" y="21"/>
                    </a:lnTo>
                    <a:lnTo>
                      <a:pt x="414" y="21"/>
                    </a:lnTo>
                    <a:lnTo>
                      <a:pt x="416" y="19"/>
                    </a:lnTo>
                    <a:lnTo>
                      <a:pt x="421" y="19"/>
                    </a:lnTo>
                    <a:lnTo>
                      <a:pt x="421" y="19"/>
                    </a:lnTo>
                    <a:lnTo>
                      <a:pt x="425" y="19"/>
                    </a:lnTo>
                    <a:lnTo>
                      <a:pt x="425" y="19"/>
                    </a:lnTo>
                    <a:lnTo>
                      <a:pt x="430" y="19"/>
                    </a:lnTo>
                    <a:lnTo>
                      <a:pt x="440" y="19"/>
                    </a:lnTo>
                    <a:lnTo>
                      <a:pt x="442" y="19"/>
                    </a:lnTo>
                    <a:lnTo>
                      <a:pt x="442" y="19"/>
                    </a:lnTo>
                    <a:lnTo>
                      <a:pt x="444" y="17"/>
                    </a:lnTo>
                    <a:lnTo>
                      <a:pt x="447" y="17"/>
                    </a:lnTo>
                    <a:lnTo>
                      <a:pt x="449" y="17"/>
                    </a:lnTo>
                    <a:lnTo>
                      <a:pt x="451" y="14"/>
                    </a:lnTo>
                    <a:lnTo>
                      <a:pt x="454" y="17"/>
                    </a:lnTo>
                    <a:lnTo>
                      <a:pt x="456" y="17"/>
                    </a:lnTo>
                    <a:lnTo>
                      <a:pt x="459" y="21"/>
                    </a:lnTo>
                    <a:lnTo>
                      <a:pt x="459" y="21"/>
                    </a:lnTo>
                    <a:lnTo>
                      <a:pt x="463" y="24"/>
                    </a:lnTo>
                    <a:lnTo>
                      <a:pt x="466" y="24"/>
                    </a:lnTo>
                    <a:lnTo>
                      <a:pt x="475" y="26"/>
                    </a:lnTo>
                    <a:lnTo>
                      <a:pt x="477" y="24"/>
                    </a:lnTo>
                    <a:lnTo>
                      <a:pt x="480" y="24"/>
                    </a:lnTo>
                    <a:lnTo>
                      <a:pt x="484" y="21"/>
                    </a:lnTo>
                    <a:lnTo>
                      <a:pt x="487" y="24"/>
                    </a:lnTo>
                    <a:lnTo>
                      <a:pt x="489" y="24"/>
                    </a:lnTo>
                    <a:lnTo>
                      <a:pt x="489" y="24"/>
                    </a:lnTo>
                    <a:lnTo>
                      <a:pt x="489" y="26"/>
                    </a:lnTo>
                    <a:lnTo>
                      <a:pt x="489" y="28"/>
                    </a:lnTo>
                    <a:lnTo>
                      <a:pt x="487" y="28"/>
                    </a:lnTo>
                    <a:lnTo>
                      <a:pt x="484" y="28"/>
                    </a:lnTo>
                    <a:lnTo>
                      <a:pt x="484" y="31"/>
                    </a:lnTo>
                    <a:lnTo>
                      <a:pt x="482" y="38"/>
                    </a:lnTo>
                    <a:lnTo>
                      <a:pt x="482" y="40"/>
                    </a:lnTo>
                    <a:lnTo>
                      <a:pt x="482" y="40"/>
                    </a:lnTo>
                    <a:lnTo>
                      <a:pt x="482" y="43"/>
                    </a:lnTo>
                    <a:lnTo>
                      <a:pt x="482" y="50"/>
                    </a:lnTo>
                    <a:lnTo>
                      <a:pt x="487" y="57"/>
                    </a:lnTo>
                    <a:lnTo>
                      <a:pt x="487" y="59"/>
                    </a:lnTo>
                    <a:lnTo>
                      <a:pt x="487" y="62"/>
                    </a:lnTo>
                    <a:lnTo>
                      <a:pt x="492" y="66"/>
                    </a:lnTo>
                    <a:lnTo>
                      <a:pt x="492" y="66"/>
                    </a:lnTo>
                    <a:lnTo>
                      <a:pt x="496" y="69"/>
                    </a:lnTo>
                    <a:lnTo>
                      <a:pt x="499" y="69"/>
                    </a:lnTo>
                    <a:lnTo>
                      <a:pt x="499" y="69"/>
                    </a:lnTo>
                    <a:lnTo>
                      <a:pt x="499" y="69"/>
                    </a:lnTo>
                    <a:lnTo>
                      <a:pt x="503" y="64"/>
                    </a:lnTo>
                    <a:lnTo>
                      <a:pt x="506" y="62"/>
                    </a:lnTo>
                    <a:lnTo>
                      <a:pt x="508" y="54"/>
                    </a:lnTo>
                    <a:lnTo>
                      <a:pt x="513" y="47"/>
                    </a:lnTo>
                    <a:lnTo>
                      <a:pt x="513" y="47"/>
                    </a:lnTo>
                    <a:lnTo>
                      <a:pt x="518" y="47"/>
                    </a:lnTo>
                    <a:lnTo>
                      <a:pt x="518" y="47"/>
                    </a:lnTo>
                    <a:lnTo>
                      <a:pt x="522" y="50"/>
                    </a:lnTo>
                    <a:lnTo>
                      <a:pt x="522" y="50"/>
                    </a:lnTo>
                    <a:lnTo>
                      <a:pt x="525" y="54"/>
                    </a:lnTo>
                    <a:lnTo>
                      <a:pt x="525" y="62"/>
                    </a:lnTo>
                    <a:lnTo>
                      <a:pt x="525" y="64"/>
                    </a:lnTo>
                    <a:lnTo>
                      <a:pt x="525" y="78"/>
                    </a:lnTo>
                    <a:lnTo>
                      <a:pt x="525" y="80"/>
                    </a:lnTo>
                    <a:lnTo>
                      <a:pt x="534" y="85"/>
                    </a:lnTo>
                    <a:lnTo>
                      <a:pt x="534" y="85"/>
                    </a:lnTo>
                    <a:lnTo>
                      <a:pt x="536" y="85"/>
                    </a:lnTo>
                    <a:lnTo>
                      <a:pt x="536" y="80"/>
                    </a:lnTo>
                    <a:lnTo>
                      <a:pt x="536" y="80"/>
                    </a:lnTo>
                    <a:lnTo>
                      <a:pt x="536" y="78"/>
                    </a:lnTo>
                    <a:lnTo>
                      <a:pt x="536" y="78"/>
                    </a:lnTo>
                    <a:lnTo>
                      <a:pt x="536" y="73"/>
                    </a:lnTo>
                    <a:lnTo>
                      <a:pt x="536" y="69"/>
                    </a:lnTo>
                    <a:lnTo>
                      <a:pt x="534" y="66"/>
                    </a:lnTo>
                    <a:lnTo>
                      <a:pt x="534" y="66"/>
                    </a:lnTo>
                    <a:lnTo>
                      <a:pt x="534" y="62"/>
                    </a:lnTo>
                    <a:lnTo>
                      <a:pt x="536" y="59"/>
                    </a:lnTo>
                    <a:lnTo>
                      <a:pt x="539" y="57"/>
                    </a:lnTo>
                    <a:lnTo>
                      <a:pt x="539" y="57"/>
                    </a:lnTo>
                    <a:lnTo>
                      <a:pt x="539" y="57"/>
                    </a:lnTo>
                    <a:lnTo>
                      <a:pt x="539" y="54"/>
                    </a:lnTo>
                    <a:lnTo>
                      <a:pt x="539" y="52"/>
                    </a:lnTo>
                    <a:lnTo>
                      <a:pt x="541" y="50"/>
                    </a:lnTo>
                    <a:lnTo>
                      <a:pt x="544" y="50"/>
                    </a:lnTo>
                    <a:lnTo>
                      <a:pt x="544" y="50"/>
                    </a:lnTo>
                    <a:lnTo>
                      <a:pt x="548" y="50"/>
                    </a:lnTo>
                    <a:lnTo>
                      <a:pt x="553" y="47"/>
                    </a:lnTo>
                    <a:lnTo>
                      <a:pt x="555" y="47"/>
                    </a:lnTo>
                    <a:lnTo>
                      <a:pt x="555" y="47"/>
                    </a:lnTo>
                    <a:lnTo>
                      <a:pt x="560" y="50"/>
                    </a:lnTo>
                    <a:lnTo>
                      <a:pt x="562" y="50"/>
                    </a:lnTo>
                    <a:lnTo>
                      <a:pt x="562" y="50"/>
                    </a:lnTo>
                    <a:lnTo>
                      <a:pt x="565" y="50"/>
                    </a:lnTo>
                    <a:lnTo>
                      <a:pt x="570" y="50"/>
                    </a:lnTo>
                    <a:lnTo>
                      <a:pt x="572" y="45"/>
                    </a:lnTo>
                    <a:lnTo>
                      <a:pt x="574" y="45"/>
                    </a:lnTo>
                    <a:lnTo>
                      <a:pt x="577" y="45"/>
                    </a:lnTo>
                    <a:lnTo>
                      <a:pt x="579" y="45"/>
                    </a:lnTo>
                    <a:lnTo>
                      <a:pt x="581" y="45"/>
                    </a:lnTo>
                    <a:lnTo>
                      <a:pt x="586" y="45"/>
                    </a:lnTo>
                    <a:lnTo>
                      <a:pt x="591" y="43"/>
                    </a:lnTo>
                    <a:lnTo>
                      <a:pt x="591" y="43"/>
                    </a:lnTo>
                    <a:lnTo>
                      <a:pt x="596" y="43"/>
                    </a:lnTo>
                    <a:lnTo>
                      <a:pt x="600" y="43"/>
                    </a:lnTo>
                    <a:lnTo>
                      <a:pt x="600" y="43"/>
                    </a:lnTo>
                    <a:lnTo>
                      <a:pt x="603" y="43"/>
                    </a:lnTo>
                    <a:lnTo>
                      <a:pt x="603" y="43"/>
                    </a:lnTo>
                    <a:lnTo>
                      <a:pt x="605" y="43"/>
                    </a:lnTo>
                    <a:lnTo>
                      <a:pt x="607" y="43"/>
                    </a:lnTo>
                    <a:lnTo>
                      <a:pt x="610" y="43"/>
                    </a:lnTo>
                    <a:lnTo>
                      <a:pt x="612" y="45"/>
                    </a:lnTo>
                    <a:lnTo>
                      <a:pt x="612" y="47"/>
                    </a:lnTo>
                    <a:lnTo>
                      <a:pt x="614" y="47"/>
                    </a:lnTo>
                    <a:lnTo>
                      <a:pt x="614" y="47"/>
                    </a:lnTo>
                    <a:lnTo>
                      <a:pt x="617" y="47"/>
                    </a:lnTo>
                    <a:lnTo>
                      <a:pt x="619" y="45"/>
                    </a:lnTo>
                    <a:lnTo>
                      <a:pt x="619" y="45"/>
                    </a:lnTo>
                    <a:lnTo>
                      <a:pt x="619" y="43"/>
                    </a:lnTo>
                    <a:lnTo>
                      <a:pt x="619" y="43"/>
                    </a:lnTo>
                    <a:lnTo>
                      <a:pt x="617" y="38"/>
                    </a:lnTo>
                    <a:lnTo>
                      <a:pt x="617" y="38"/>
                    </a:lnTo>
                    <a:lnTo>
                      <a:pt x="617" y="33"/>
                    </a:lnTo>
                    <a:lnTo>
                      <a:pt x="617" y="33"/>
                    </a:lnTo>
                    <a:lnTo>
                      <a:pt x="617" y="31"/>
                    </a:lnTo>
                    <a:lnTo>
                      <a:pt x="619" y="31"/>
                    </a:lnTo>
                    <a:lnTo>
                      <a:pt x="619" y="33"/>
                    </a:lnTo>
                    <a:lnTo>
                      <a:pt x="621" y="33"/>
                    </a:lnTo>
                    <a:lnTo>
                      <a:pt x="624" y="38"/>
                    </a:lnTo>
                    <a:lnTo>
                      <a:pt x="626" y="40"/>
                    </a:lnTo>
                    <a:lnTo>
                      <a:pt x="626" y="40"/>
                    </a:lnTo>
                    <a:lnTo>
                      <a:pt x="626" y="40"/>
                    </a:lnTo>
                    <a:lnTo>
                      <a:pt x="629" y="40"/>
                    </a:lnTo>
                    <a:lnTo>
                      <a:pt x="629" y="43"/>
                    </a:lnTo>
                    <a:lnTo>
                      <a:pt x="631" y="45"/>
                    </a:lnTo>
                    <a:lnTo>
                      <a:pt x="633" y="47"/>
                    </a:lnTo>
                    <a:lnTo>
                      <a:pt x="636" y="47"/>
                    </a:lnTo>
                    <a:lnTo>
                      <a:pt x="638" y="47"/>
                    </a:lnTo>
                    <a:lnTo>
                      <a:pt x="643" y="45"/>
                    </a:lnTo>
                    <a:lnTo>
                      <a:pt x="643" y="43"/>
                    </a:lnTo>
                    <a:lnTo>
                      <a:pt x="645" y="43"/>
                    </a:lnTo>
                    <a:lnTo>
                      <a:pt x="647" y="40"/>
                    </a:lnTo>
                    <a:lnTo>
                      <a:pt x="647" y="40"/>
                    </a:lnTo>
                    <a:lnTo>
                      <a:pt x="647" y="38"/>
                    </a:lnTo>
                    <a:lnTo>
                      <a:pt x="647" y="33"/>
                    </a:lnTo>
                    <a:lnTo>
                      <a:pt x="650" y="33"/>
                    </a:lnTo>
                    <a:lnTo>
                      <a:pt x="650" y="33"/>
                    </a:lnTo>
                    <a:lnTo>
                      <a:pt x="655" y="36"/>
                    </a:lnTo>
                    <a:lnTo>
                      <a:pt x="655" y="40"/>
                    </a:lnTo>
                    <a:lnTo>
                      <a:pt x="657" y="43"/>
                    </a:lnTo>
                    <a:lnTo>
                      <a:pt x="659" y="43"/>
                    </a:lnTo>
                    <a:lnTo>
                      <a:pt x="662" y="43"/>
                    </a:lnTo>
                    <a:lnTo>
                      <a:pt x="664" y="40"/>
                    </a:lnTo>
                    <a:lnTo>
                      <a:pt x="664" y="40"/>
                    </a:lnTo>
                    <a:lnTo>
                      <a:pt x="664" y="38"/>
                    </a:lnTo>
                    <a:lnTo>
                      <a:pt x="664" y="36"/>
                    </a:lnTo>
                    <a:lnTo>
                      <a:pt x="664" y="33"/>
                    </a:lnTo>
                    <a:lnTo>
                      <a:pt x="664" y="33"/>
                    </a:lnTo>
                    <a:lnTo>
                      <a:pt x="664" y="33"/>
                    </a:lnTo>
                    <a:lnTo>
                      <a:pt x="664" y="33"/>
                    </a:lnTo>
                    <a:lnTo>
                      <a:pt x="664" y="31"/>
                    </a:lnTo>
                    <a:lnTo>
                      <a:pt x="664" y="31"/>
                    </a:lnTo>
                    <a:lnTo>
                      <a:pt x="664" y="31"/>
                    </a:lnTo>
                    <a:lnTo>
                      <a:pt x="664" y="28"/>
                    </a:lnTo>
                    <a:lnTo>
                      <a:pt x="666" y="26"/>
                    </a:lnTo>
                    <a:lnTo>
                      <a:pt x="666" y="26"/>
                    </a:lnTo>
                    <a:lnTo>
                      <a:pt x="669" y="28"/>
                    </a:lnTo>
                    <a:lnTo>
                      <a:pt x="673" y="26"/>
                    </a:lnTo>
                    <a:lnTo>
                      <a:pt x="678" y="26"/>
                    </a:lnTo>
                    <a:lnTo>
                      <a:pt x="681" y="26"/>
                    </a:lnTo>
                    <a:lnTo>
                      <a:pt x="681" y="26"/>
                    </a:lnTo>
                    <a:lnTo>
                      <a:pt x="683" y="24"/>
                    </a:lnTo>
                    <a:lnTo>
                      <a:pt x="685" y="24"/>
                    </a:lnTo>
                    <a:lnTo>
                      <a:pt x="690" y="28"/>
                    </a:lnTo>
                    <a:lnTo>
                      <a:pt x="690" y="28"/>
                    </a:lnTo>
                    <a:lnTo>
                      <a:pt x="690" y="31"/>
                    </a:lnTo>
                    <a:lnTo>
                      <a:pt x="690" y="31"/>
                    </a:lnTo>
                    <a:lnTo>
                      <a:pt x="692" y="33"/>
                    </a:lnTo>
                    <a:lnTo>
                      <a:pt x="692" y="33"/>
                    </a:lnTo>
                    <a:lnTo>
                      <a:pt x="695" y="33"/>
                    </a:lnTo>
                    <a:lnTo>
                      <a:pt x="697" y="33"/>
                    </a:lnTo>
                    <a:lnTo>
                      <a:pt x="699" y="31"/>
                    </a:lnTo>
                    <a:lnTo>
                      <a:pt x="699" y="28"/>
                    </a:lnTo>
                    <a:lnTo>
                      <a:pt x="702" y="28"/>
                    </a:lnTo>
                    <a:lnTo>
                      <a:pt x="704" y="28"/>
                    </a:lnTo>
                    <a:lnTo>
                      <a:pt x="704" y="26"/>
                    </a:lnTo>
                    <a:lnTo>
                      <a:pt x="707" y="26"/>
                    </a:lnTo>
                    <a:lnTo>
                      <a:pt x="709" y="26"/>
                    </a:lnTo>
                    <a:lnTo>
                      <a:pt x="711" y="24"/>
                    </a:lnTo>
                    <a:lnTo>
                      <a:pt x="714" y="24"/>
                    </a:lnTo>
                    <a:lnTo>
                      <a:pt x="714" y="24"/>
                    </a:lnTo>
                    <a:lnTo>
                      <a:pt x="716" y="21"/>
                    </a:lnTo>
                    <a:lnTo>
                      <a:pt x="716" y="24"/>
                    </a:lnTo>
                    <a:lnTo>
                      <a:pt x="718" y="26"/>
                    </a:lnTo>
                    <a:lnTo>
                      <a:pt x="718" y="28"/>
                    </a:lnTo>
                    <a:lnTo>
                      <a:pt x="721" y="28"/>
                    </a:lnTo>
                    <a:lnTo>
                      <a:pt x="721" y="31"/>
                    </a:lnTo>
                    <a:lnTo>
                      <a:pt x="721" y="31"/>
                    </a:lnTo>
                    <a:lnTo>
                      <a:pt x="718" y="31"/>
                    </a:lnTo>
                    <a:lnTo>
                      <a:pt x="718" y="33"/>
                    </a:lnTo>
                    <a:lnTo>
                      <a:pt x="718" y="33"/>
                    </a:lnTo>
                    <a:lnTo>
                      <a:pt x="721" y="36"/>
                    </a:lnTo>
                    <a:lnTo>
                      <a:pt x="723" y="38"/>
                    </a:lnTo>
                    <a:lnTo>
                      <a:pt x="723" y="38"/>
                    </a:lnTo>
                    <a:lnTo>
                      <a:pt x="728" y="38"/>
                    </a:lnTo>
                    <a:lnTo>
                      <a:pt x="728" y="40"/>
                    </a:lnTo>
                    <a:lnTo>
                      <a:pt x="730" y="40"/>
                    </a:lnTo>
                    <a:lnTo>
                      <a:pt x="733" y="43"/>
                    </a:lnTo>
                    <a:lnTo>
                      <a:pt x="735" y="43"/>
                    </a:lnTo>
                    <a:lnTo>
                      <a:pt x="737" y="47"/>
                    </a:lnTo>
                    <a:lnTo>
                      <a:pt x="740" y="47"/>
                    </a:lnTo>
                    <a:lnTo>
                      <a:pt x="740" y="47"/>
                    </a:lnTo>
                    <a:lnTo>
                      <a:pt x="742" y="50"/>
                    </a:lnTo>
                    <a:lnTo>
                      <a:pt x="742" y="52"/>
                    </a:lnTo>
                    <a:lnTo>
                      <a:pt x="742" y="52"/>
                    </a:lnTo>
                    <a:lnTo>
                      <a:pt x="744" y="54"/>
                    </a:lnTo>
                    <a:lnTo>
                      <a:pt x="744" y="57"/>
                    </a:lnTo>
                    <a:lnTo>
                      <a:pt x="744" y="57"/>
                    </a:lnTo>
                    <a:lnTo>
                      <a:pt x="744" y="62"/>
                    </a:lnTo>
                    <a:lnTo>
                      <a:pt x="742" y="62"/>
                    </a:lnTo>
                    <a:lnTo>
                      <a:pt x="740" y="64"/>
                    </a:lnTo>
                    <a:lnTo>
                      <a:pt x="740" y="64"/>
                    </a:lnTo>
                    <a:lnTo>
                      <a:pt x="740" y="66"/>
                    </a:lnTo>
                    <a:lnTo>
                      <a:pt x="740" y="69"/>
                    </a:lnTo>
                    <a:lnTo>
                      <a:pt x="737" y="69"/>
                    </a:lnTo>
                    <a:lnTo>
                      <a:pt x="737" y="71"/>
                    </a:lnTo>
                    <a:lnTo>
                      <a:pt x="737" y="71"/>
                    </a:lnTo>
                    <a:lnTo>
                      <a:pt x="737" y="71"/>
                    </a:lnTo>
                    <a:lnTo>
                      <a:pt x="737" y="71"/>
                    </a:lnTo>
                    <a:lnTo>
                      <a:pt x="737" y="73"/>
                    </a:lnTo>
                    <a:lnTo>
                      <a:pt x="737" y="76"/>
                    </a:lnTo>
                    <a:lnTo>
                      <a:pt x="737" y="76"/>
                    </a:lnTo>
                    <a:lnTo>
                      <a:pt x="737" y="78"/>
                    </a:lnTo>
                    <a:lnTo>
                      <a:pt x="737" y="78"/>
                    </a:lnTo>
                    <a:lnTo>
                      <a:pt x="737" y="78"/>
                    </a:lnTo>
                    <a:lnTo>
                      <a:pt x="737" y="80"/>
                    </a:lnTo>
                    <a:lnTo>
                      <a:pt x="737" y="80"/>
                    </a:lnTo>
                    <a:lnTo>
                      <a:pt x="737" y="80"/>
                    </a:lnTo>
                    <a:lnTo>
                      <a:pt x="737" y="80"/>
                    </a:lnTo>
                    <a:lnTo>
                      <a:pt x="737" y="83"/>
                    </a:lnTo>
                    <a:lnTo>
                      <a:pt x="737" y="83"/>
                    </a:lnTo>
                    <a:lnTo>
                      <a:pt x="737" y="83"/>
                    </a:lnTo>
                    <a:lnTo>
                      <a:pt x="737" y="85"/>
                    </a:lnTo>
                    <a:lnTo>
                      <a:pt x="737" y="85"/>
                    </a:lnTo>
                    <a:lnTo>
                      <a:pt x="737" y="85"/>
                    </a:lnTo>
                    <a:lnTo>
                      <a:pt x="737" y="85"/>
                    </a:lnTo>
                    <a:lnTo>
                      <a:pt x="737" y="88"/>
                    </a:lnTo>
                    <a:lnTo>
                      <a:pt x="740" y="88"/>
                    </a:lnTo>
                    <a:lnTo>
                      <a:pt x="742" y="88"/>
                    </a:lnTo>
                    <a:lnTo>
                      <a:pt x="742" y="90"/>
                    </a:lnTo>
                    <a:lnTo>
                      <a:pt x="744" y="92"/>
                    </a:lnTo>
                    <a:lnTo>
                      <a:pt x="747" y="95"/>
                    </a:lnTo>
                    <a:lnTo>
                      <a:pt x="749" y="95"/>
                    </a:lnTo>
                    <a:lnTo>
                      <a:pt x="751" y="95"/>
                    </a:lnTo>
                    <a:lnTo>
                      <a:pt x="754" y="95"/>
                    </a:lnTo>
                    <a:lnTo>
                      <a:pt x="756" y="97"/>
                    </a:lnTo>
                    <a:lnTo>
                      <a:pt x="756" y="97"/>
                    </a:lnTo>
                    <a:lnTo>
                      <a:pt x="756" y="99"/>
                    </a:lnTo>
                    <a:lnTo>
                      <a:pt x="756" y="102"/>
                    </a:lnTo>
                    <a:lnTo>
                      <a:pt x="756" y="102"/>
                    </a:lnTo>
                    <a:lnTo>
                      <a:pt x="759" y="104"/>
                    </a:lnTo>
                    <a:lnTo>
                      <a:pt x="759" y="104"/>
                    </a:lnTo>
                    <a:lnTo>
                      <a:pt x="759" y="106"/>
                    </a:lnTo>
                    <a:lnTo>
                      <a:pt x="759" y="106"/>
                    </a:lnTo>
                    <a:lnTo>
                      <a:pt x="759" y="106"/>
                    </a:lnTo>
                    <a:lnTo>
                      <a:pt x="761" y="109"/>
                    </a:lnTo>
                    <a:lnTo>
                      <a:pt x="761" y="109"/>
                    </a:lnTo>
                    <a:lnTo>
                      <a:pt x="761" y="111"/>
                    </a:lnTo>
                    <a:lnTo>
                      <a:pt x="763" y="111"/>
                    </a:lnTo>
                    <a:lnTo>
                      <a:pt x="763" y="113"/>
                    </a:lnTo>
                    <a:lnTo>
                      <a:pt x="763" y="113"/>
                    </a:lnTo>
                    <a:lnTo>
                      <a:pt x="761" y="116"/>
                    </a:lnTo>
                    <a:lnTo>
                      <a:pt x="761" y="116"/>
                    </a:lnTo>
                    <a:lnTo>
                      <a:pt x="761" y="118"/>
                    </a:lnTo>
                    <a:lnTo>
                      <a:pt x="761" y="121"/>
                    </a:lnTo>
                    <a:lnTo>
                      <a:pt x="761" y="121"/>
                    </a:lnTo>
                    <a:lnTo>
                      <a:pt x="756" y="121"/>
                    </a:lnTo>
                    <a:lnTo>
                      <a:pt x="754" y="121"/>
                    </a:lnTo>
                    <a:lnTo>
                      <a:pt x="754" y="121"/>
                    </a:lnTo>
                    <a:lnTo>
                      <a:pt x="754" y="121"/>
                    </a:lnTo>
                    <a:lnTo>
                      <a:pt x="751" y="123"/>
                    </a:lnTo>
                    <a:lnTo>
                      <a:pt x="751" y="125"/>
                    </a:lnTo>
                    <a:lnTo>
                      <a:pt x="751" y="125"/>
                    </a:lnTo>
                    <a:lnTo>
                      <a:pt x="751" y="128"/>
                    </a:lnTo>
                    <a:lnTo>
                      <a:pt x="749" y="130"/>
                    </a:lnTo>
                    <a:lnTo>
                      <a:pt x="749" y="130"/>
                    </a:lnTo>
                    <a:lnTo>
                      <a:pt x="747" y="132"/>
                    </a:lnTo>
                    <a:lnTo>
                      <a:pt x="747" y="132"/>
                    </a:lnTo>
                    <a:lnTo>
                      <a:pt x="747" y="135"/>
                    </a:lnTo>
                    <a:lnTo>
                      <a:pt x="747" y="139"/>
                    </a:lnTo>
                    <a:lnTo>
                      <a:pt x="744" y="144"/>
                    </a:lnTo>
                    <a:lnTo>
                      <a:pt x="747" y="147"/>
                    </a:lnTo>
                    <a:lnTo>
                      <a:pt x="747" y="149"/>
                    </a:lnTo>
                    <a:lnTo>
                      <a:pt x="751" y="149"/>
                    </a:lnTo>
                    <a:lnTo>
                      <a:pt x="751" y="151"/>
                    </a:lnTo>
                    <a:lnTo>
                      <a:pt x="751" y="151"/>
                    </a:lnTo>
                    <a:lnTo>
                      <a:pt x="754" y="151"/>
                    </a:lnTo>
                    <a:lnTo>
                      <a:pt x="754" y="154"/>
                    </a:lnTo>
                    <a:lnTo>
                      <a:pt x="756" y="154"/>
                    </a:lnTo>
                    <a:lnTo>
                      <a:pt x="756" y="156"/>
                    </a:lnTo>
                    <a:lnTo>
                      <a:pt x="756" y="158"/>
                    </a:lnTo>
                    <a:lnTo>
                      <a:pt x="756" y="161"/>
                    </a:lnTo>
                    <a:lnTo>
                      <a:pt x="754" y="161"/>
                    </a:lnTo>
                    <a:lnTo>
                      <a:pt x="756" y="163"/>
                    </a:lnTo>
                    <a:lnTo>
                      <a:pt x="756" y="165"/>
                    </a:lnTo>
                    <a:lnTo>
                      <a:pt x="756" y="168"/>
                    </a:lnTo>
                    <a:lnTo>
                      <a:pt x="756" y="170"/>
                    </a:lnTo>
                    <a:lnTo>
                      <a:pt x="756" y="170"/>
                    </a:lnTo>
                    <a:lnTo>
                      <a:pt x="759" y="170"/>
                    </a:lnTo>
                    <a:lnTo>
                      <a:pt x="761" y="173"/>
                    </a:lnTo>
                    <a:lnTo>
                      <a:pt x="761" y="173"/>
                    </a:lnTo>
                    <a:lnTo>
                      <a:pt x="759" y="173"/>
                    </a:lnTo>
                    <a:lnTo>
                      <a:pt x="759" y="175"/>
                    </a:lnTo>
                    <a:lnTo>
                      <a:pt x="759" y="175"/>
                    </a:lnTo>
                    <a:lnTo>
                      <a:pt x="756" y="175"/>
                    </a:lnTo>
                    <a:lnTo>
                      <a:pt x="761" y="177"/>
                    </a:lnTo>
                    <a:lnTo>
                      <a:pt x="759" y="180"/>
                    </a:lnTo>
                    <a:lnTo>
                      <a:pt x="761" y="182"/>
                    </a:lnTo>
                    <a:lnTo>
                      <a:pt x="761" y="182"/>
                    </a:lnTo>
                    <a:lnTo>
                      <a:pt x="761" y="184"/>
                    </a:lnTo>
                    <a:lnTo>
                      <a:pt x="763" y="187"/>
                    </a:lnTo>
                    <a:lnTo>
                      <a:pt x="763" y="187"/>
                    </a:lnTo>
                    <a:lnTo>
                      <a:pt x="763" y="187"/>
                    </a:lnTo>
                    <a:lnTo>
                      <a:pt x="766" y="187"/>
                    </a:lnTo>
                    <a:lnTo>
                      <a:pt x="766" y="187"/>
                    </a:lnTo>
                    <a:lnTo>
                      <a:pt x="766" y="187"/>
                    </a:lnTo>
                    <a:lnTo>
                      <a:pt x="766" y="187"/>
                    </a:lnTo>
                    <a:lnTo>
                      <a:pt x="766" y="189"/>
                    </a:lnTo>
                    <a:lnTo>
                      <a:pt x="766" y="189"/>
                    </a:lnTo>
                    <a:lnTo>
                      <a:pt x="766" y="189"/>
                    </a:lnTo>
                    <a:lnTo>
                      <a:pt x="768" y="191"/>
                    </a:lnTo>
                    <a:lnTo>
                      <a:pt x="768" y="191"/>
                    </a:lnTo>
                    <a:lnTo>
                      <a:pt x="768" y="191"/>
                    </a:lnTo>
                    <a:lnTo>
                      <a:pt x="770" y="194"/>
                    </a:lnTo>
                    <a:lnTo>
                      <a:pt x="770" y="196"/>
                    </a:lnTo>
                    <a:lnTo>
                      <a:pt x="770" y="196"/>
                    </a:lnTo>
                    <a:lnTo>
                      <a:pt x="770" y="199"/>
                    </a:lnTo>
                    <a:lnTo>
                      <a:pt x="770" y="199"/>
                    </a:lnTo>
                    <a:lnTo>
                      <a:pt x="770" y="199"/>
                    </a:lnTo>
                    <a:lnTo>
                      <a:pt x="773" y="201"/>
                    </a:lnTo>
                    <a:lnTo>
                      <a:pt x="773" y="201"/>
                    </a:lnTo>
                    <a:lnTo>
                      <a:pt x="773" y="203"/>
                    </a:lnTo>
                    <a:lnTo>
                      <a:pt x="775" y="203"/>
                    </a:lnTo>
                    <a:lnTo>
                      <a:pt x="775" y="206"/>
                    </a:lnTo>
                    <a:lnTo>
                      <a:pt x="775" y="206"/>
                    </a:lnTo>
                    <a:lnTo>
                      <a:pt x="773" y="206"/>
                    </a:lnTo>
                    <a:lnTo>
                      <a:pt x="775" y="208"/>
                    </a:lnTo>
                    <a:lnTo>
                      <a:pt x="773" y="210"/>
                    </a:lnTo>
                    <a:lnTo>
                      <a:pt x="773" y="210"/>
                    </a:lnTo>
                    <a:lnTo>
                      <a:pt x="773" y="213"/>
                    </a:lnTo>
                    <a:lnTo>
                      <a:pt x="773" y="213"/>
                    </a:lnTo>
                    <a:lnTo>
                      <a:pt x="773" y="213"/>
                    </a:lnTo>
                    <a:lnTo>
                      <a:pt x="773" y="213"/>
                    </a:lnTo>
                    <a:lnTo>
                      <a:pt x="775" y="213"/>
                    </a:lnTo>
                    <a:lnTo>
                      <a:pt x="775" y="215"/>
                    </a:lnTo>
                    <a:lnTo>
                      <a:pt x="775" y="213"/>
                    </a:lnTo>
                    <a:lnTo>
                      <a:pt x="775" y="215"/>
                    </a:lnTo>
                    <a:lnTo>
                      <a:pt x="777" y="213"/>
                    </a:lnTo>
                    <a:lnTo>
                      <a:pt x="780" y="213"/>
                    </a:lnTo>
                    <a:lnTo>
                      <a:pt x="780" y="213"/>
                    </a:lnTo>
                    <a:lnTo>
                      <a:pt x="780" y="215"/>
                    </a:lnTo>
                    <a:lnTo>
                      <a:pt x="782" y="213"/>
                    </a:lnTo>
                    <a:lnTo>
                      <a:pt x="782" y="215"/>
                    </a:lnTo>
                    <a:lnTo>
                      <a:pt x="784" y="213"/>
                    </a:lnTo>
                    <a:lnTo>
                      <a:pt x="784" y="215"/>
                    </a:lnTo>
                    <a:lnTo>
                      <a:pt x="784" y="213"/>
                    </a:lnTo>
                    <a:lnTo>
                      <a:pt x="787" y="213"/>
                    </a:lnTo>
                    <a:lnTo>
                      <a:pt x="787" y="213"/>
                    </a:lnTo>
                    <a:lnTo>
                      <a:pt x="789" y="213"/>
                    </a:lnTo>
                    <a:lnTo>
                      <a:pt x="789" y="213"/>
                    </a:lnTo>
                    <a:lnTo>
                      <a:pt x="792" y="210"/>
                    </a:lnTo>
                    <a:lnTo>
                      <a:pt x="792" y="210"/>
                    </a:lnTo>
                    <a:lnTo>
                      <a:pt x="792" y="210"/>
                    </a:lnTo>
                    <a:lnTo>
                      <a:pt x="792" y="208"/>
                    </a:lnTo>
                    <a:lnTo>
                      <a:pt x="794" y="208"/>
                    </a:lnTo>
                    <a:lnTo>
                      <a:pt x="794" y="208"/>
                    </a:lnTo>
                    <a:lnTo>
                      <a:pt x="794" y="208"/>
                    </a:lnTo>
                    <a:lnTo>
                      <a:pt x="796" y="206"/>
                    </a:lnTo>
                    <a:lnTo>
                      <a:pt x="799" y="206"/>
                    </a:lnTo>
                    <a:lnTo>
                      <a:pt x="801" y="208"/>
                    </a:lnTo>
                    <a:lnTo>
                      <a:pt x="801" y="206"/>
                    </a:lnTo>
                    <a:lnTo>
                      <a:pt x="803" y="206"/>
                    </a:lnTo>
                    <a:lnTo>
                      <a:pt x="803" y="206"/>
                    </a:lnTo>
                    <a:lnTo>
                      <a:pt x="806" y="206"/>
                    </a:lnTo>
                    <a:lnTo>
                      <a:pt x="803" y="208"/>
                    </a:lnTo>
                    <a:lnTo>
                      <a:pt x="806" y="208"/>
                    </a:lnTo>
                    <a:lnTo>
                      <a:pt x="808" y="210"/>
                    </a:lnTo>
                    <a:lnTo>
                      <a:pt x="810" y="210"/>
                    </a:lnTo>
                    <a:lnTo>
                      <a:pt x="810" y="208"/>
                    </a:lnTo>
                    <a:lnTo>
                      <a:pt x="810" y="210"/>
                    </a:lnTo>
                    <a:lnTo>
                      <a:pt x="810" y="213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5" y="208"/>
                    </a:lnTo>
                    <a:lnTo>
                      <a:pt x="815" y="208"/>
                    </a:lnTo>
                    <a:lnTo>
                      <a:pt x="818" y="206"/>
                    </a:lnTo>
                    <a:lnTo>
                      <a:pt x="818" y="206"/>
                    </a:lnTo>
                    <a:lnTo>
                      <a:pt x="820" y="206"/>
                    </a:lnTo>
                    <a:lnTo>
                      <a:pt x="820" y="208"/>
                    </a:lnTo>
                    <a:lnTo>
                      <a:pt x="820" y="208"/>
                    </a:lnTo>
                    <a:lnTo>
                      <a:pt x="820" y="208"/>
                    </a:lnTo>
                    <a:lnTo>
                      <a:pt x="820" y="210"/>
                    </a:lnTo>
                    <a:lnTo>
                      <a:pt x="820" y="210"/>
                    </a:lnTo>
                    <a:lnTo>
                      <a:pt x="820" y="213"/>
                    </a:lnTo>
                    <a:lnTo>
                      <a:pt x="822" y="213"/>
                    </a:lnTo>
                    <a:lnTo>
                      <a:pt x="822" y="213"/>
                    </a:lnTo>
                    <a:lnTo>
                      <a:pt x="822" y="215"/>
                    </a:lnTo>
                    <a:lnTo>
                      <a:pt x="822" y="215"/>
                    </a:lnTo>
                    <a:lnTo>
                      <a:pt x="822" y="215"/>
                    </a:lnTo>
                    <a:lnTo>
                      <a:pt x="822" y="215"/>
                    </a:lnTo>
                    <a:lnTo>
                      <a:pt x="825" y="217"/>
                    </a:lnTo>
                    <a:lnTo>
                      <a:pt x="825" y="215"/>
                    </a:lnTo>
                    <a:lnTo>
                      <a:pt x="829" y="215"/>
                    </a:lnTo>
                    <a:lnTo>
                      <a:pt x="829" y="215"/>
                    </a:lnTo>
                    <a:lnTo>
                      <a:pt x="829" y="215"/>
                    </a:lnTo>
                    <a:lnTo>
                      <a:pt x="832" y="215"/>
                    </a:lnTo>
                    <a:lnTo>
                      <a:pt x="834" y="217"/>
                    </a:lnTo>
                    <a:lnTo>
                      <a:pt x="834" y="217"/>
                    </a:lnTo>
                    <a:lnTo>
                      <a:pt x="836" y="217"/>
                    </a:lnTo>
                    <a:lnTo>
                      <a:pt x="836" y="217"/>
                    </a:lnTo>
                    <a:lnTo>
                      <a:pt x="836" y="217"/>
                    </a:lnTo>
                    <a:lnTo>
                      <a:pt x="836" y="220"/>
                    </a:lnTo>
                    <a:lnTo>
                      <a:pt x="836" y="222"/>
                    </a:lnTo>
                    <a:lnTo>
                      <a:pt x="836" y="222"/>
                    </a:lnTo>
                    <a:lnTo>
                      <a:pt x="836" y="225"/>
                    </a:lnTo>
                    <a:lnTo>
                      <a:pt x="836" y="225"/>
                    </a:lnTo>
                    <a:lnTo>
                      <a:pt x="834" y="227"/>
                    </a:lnTo>
                    <a:lnTo>
                      <a:pt x="836" y="227"/>
                    </a:lnTo>
                    <a:lnTo>
                      <a:pt x="836" y="229"/>
                    </a:lnTo>
                    <a:lnTo>
                      <a:pt x="839" y="232"/>
                    </a:lnTo>
                    <a:lnTo>
                      <a:pt x="839" y="232"/>
                    </a:lnTo>
                    <a:lnTo>
                      <a:pt x="836" y="232"/>
                    </a:lnTo>
                    <a:lnTo>
                      <a:pt x="836" y="232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6"/>
                    </a:lnTo>
                    <a:lnTo>
                      <a:pt x="834" y="236"/>
                    </a:lnTo>
                    <a:lnTo>
                      <a:pt x="836" y="236"/>
                    </a:lnTo>
                    <a:lnTo>
                      <a:pt x="836" y="239"/>
                    </a:lnTo>
                    <a:lnTo>
                      <a:pt x="834" y="239"/>
                    </a:lnTo>
                    <a:lnTo>
                      <a:pt x="834" y="241"/>
                    </a:lnTo>
                    <a:lnTo>
                      <a:pt x="832" y="241"/>
                    </a:lnTo>
                    <a:lnTo>
                      <a:pt x="832" y="241"/>
                    </a:lnTo>
                    <a:lnTo>
                      <a:pt x="832" y="243"/>
                    </a:lnTo>
                    <a:lnTo>
                      <a:pt x="832" y="243"/>
                    </a:lnTo>
                    <a:lnTo>
                      <a:pt x="829" y="243"/>
                    </a:lnTo>
                    <a:lnTo>
                      <a:pt x="829" y="246"/>
                    </a:lnTo>
                    <a:lnTo>
                      <a:pt x="827" y="248"/>
                    </a:lnTo>
                    <a:lnTo>
                      <a:pt x="822" y="246"/>
                    </a:lnTo>
                    <a:lnTo>
                      <a:pt x="822" y="248"/>
                    </a:lnTo>
                    <a:lnTo>
                      <a:pt x="822" y="251"/>
                    </a:lnTo>
                    <a:lnTo>
                      <a:pt x="822" y="251"/>
                    </a:lnTo>
                    <a:lnTo>
                      <a:pt x="822" y="253"/>
                    </a:lnTo>
                    <a:lnTo>
                      <a:pt x="822" y="253"/>
                    </a:lnTo>
                    <a:lnTo>
                      <a:pt x="822" y="255"/>
                    </a:lnTo>
                    <a:lnTo>
                      <a:pt x="822" y="255"/>
                    </a:lnTo>
                    <a:lnTo>
                      <a:pt x="822" y="258"/>
                    </a:lnTo>
                    <a:lnTo>
                      <a:pt x="822" y="260"/>
                    </a:lnTo>
                    <a:lnTo>
                      <a:pt x="820" y="260"/>
                    </a:lnTo>
                    <a:lnTo>
                      <a:pt x="820" y="260"/>
                    </a:lnTo>
                    <a:lnTo>
                      <a:pt x="818" y="260"/>
                    </a:lnTo>
                    <a:lnTo>
                      <a:pt x="820" y="262"/>
                    </a:lnTo>
                    <a:lnTo>
                      <a:pt x="818" y="265"/>
                    </a:lnTo>
                    <a:lnTo>
                      <a:pt x="818" y="265"/>
                    </a:lnTo>
                    <a:lnTo>
                      <a:pt x="815" y="267"/>
                    </a:lnTo>
                    <a:lnTo>
                      <a:pt x="813" y="267"/>
                    </a:lnTo>
                    <a:lnTo>
                      <a:pt x="815" y="269"/>
                    </a:lnTo>
                    <a:lnTo>
                      <a:pt x="815" y="269"/>
                    </a:lnTo>
                    <a:lnTo>
                      <a:pt x="818" y="269"/>
                    </a:lnTo>
                    <a:lnTo>
                      <a:pt x="818" y="272"/>
                    </a:lnTo>
                    <a:lnTo>
                      <a:pt x="818" y="272"/>
                    </a:lnTo>
                    <a:lnTo>
                      <a:pt x="820" y="274"/>
                    </a:lnTo>
                    <a:lnTo>
                      <a:pt x="818" y="276"/>
                    </a:lnTo>
                    <a:lnTo>
                      <a:pt x="818" y="276"/>
                    </a:lnTo>
                    <a:lnTo>
                      <a:pt x="818" y="276"/>
                    </a:lnTo>
                    <a:lnTo>
                      <a:pt x="815" y="276"/>
                    </a:lnTo>
                    <a:lnTo>
                      <a:pt x="818" y="279"/>
                    </a:lnTo>
                    <a:lnTo>
                      <a:pt x="818" y="281"/>
                    </a:lnTo>
                    <a:lnTo>
                      <a:pt x="818" y="281"/>
                    </a:lnTo>
                    <a:lnTo>
                      <a:pt x="818" y="284"/>
                    </a:lnTo>
                    <a:lnTo>
                      <a:pt x="820" y="286"/>
                    </a:lnTo>
                    <a:lnTo>
                      <a:pt x="820" y="286"/>
                    </a:lnTo>
                    <a:lnTo>
                      <a:pt x="822" y="286"/>
                    </a:lnTo>
                    <a:lnTo>
                      <a:pt x="822" y="288"/>
                    </a:lnTo>
                    <a:lnTo>
                      <a:pt x="822" y="288"/>
                    </a:lnTo>
                    <a:lnTo>
                      <a:pt x="822" y="291"/>
                    </a:lnTo>
                    <a:lnTo>
                      <a:pt x="822" y="291"/>
                    </a:lnTo>
                    <a:lnTo>
                      <a:pt x="822" y="291"/>
                    </a:lnTo>
                    <a:lnTo>
                      <a:pt x="822" y="291"/>
                    </a:lnTo>
                    <a:lnTo>
                      <a:pt x="820" y="291"/>
                    </a:lnTo>
                    <a:lnTo>
                      <a:pt x="820" y="291"/>
                    </a:lnTo>
                    <a:lnTo>
                      <a:pt x="818" y="291"/>
                    </a:lnTo>
                    <a:lnTo>
                      <a:pt x="818" y="291"/>
                    </a:lnTo>
                    <a:lnTo>
                      <a:pt x="818" y="293"/>
                    </a:lnTo>
                    <a:lnTo>
                      <a:pt x="815" y="291"/>
                    </a:lnTo>
                    <a:lnTo>
                      <a:pt x="815" y="293"/>
                    </a:lnTo>
                    <a:lnTo>
                      <a:pt x="815" y="293"/>
                    </a:lnTo>
                    <a:lnTo>
                      <a:pt x="813" y="295"/>
                    </a:lnTo>
                    <a:lnTo>
                      <a:pt x="815" y="295"/>
                    </a:lnTo>
                    <a:lnTo>
                      <a:pt x="818" y="298"/>
                    </a:lnTo>
                    <a:lnTo>
                      <a:pt x="818" y="298"/>
                    </a:lnTo>
                    <a:lnTo>
                      <a:pt x="815" y="298"/>
                    </a:lnTo>
                    <a:lnTo>
                      <a:pt x="813" y="298"/>
                    </a:lnTo>
                    <a:lnTo>
                      <a:pt x="810" y="300"/>
                    </a:lnTo>
                    <a:lnTo>
                      <a:pt x="810" y="298"/>
                    </a:lnTo>
                    <a:lnTo>
                      <a:pt x="810" y="298"/>
                    </a:lnTo>
                    <a:lnTo>
                      <a:pt x="810" y="300"/>
                    </a:lnTo>
                    <a:lnTo>
                      <a:pt x="810" y="300"/>
                    </a:lnTo>
                    <a:lnTo>
                      <a:pt x="810" y="300"/>
                    </a:lnTo>
                    <a:lnTo>
                      <a:pt x="810" y="300"/>
                    </a:lnTo>
                    <a:lnTo>
                      <a:pt x="813" y="300"/>
                    </a:lnTo>
                    <a:lnTo>
                      <a:pt x="813" y="300"/>
                    </a:lnTo>
                    <a:lnTo>
                      <a:pt x="813" y="300"/>
                    </a:lnTo>
                    <a:lnTo>
                      <a:pt x="815" y="300"/>
                    </a:lnTo>
                    <a:lnTo>
                      <a:pt x="818" y="302"/>
                    </a:lnTo>
                    <a:lnTo>
                      <a:pt x="820" y="300"/>
                    </a:lnTo>
                    <a:lnTo>
                      <a:pt x="820" y="302"/>
                    </a:lnTo>
                    <a:lnTo>
                      <a:pt x="822" y="305"/>
                    </a:lnTo>
                    <a:lnTo>
                      <a:pt x="822" y="307"/>
                    </a:lnTo>
                    <a:lnTo>
                      <a:pt x="825" y="307"/>
                    </a:lnTo>
                    <a:lnTo>
                      <a:pt x="825" y="307"/>
                    </a:lnTo>
                    <a:lnTo>
                      <a:pt x="822" y="310"/>
                    </a:lnTo>
                    <a:lnTo>
                      <a:pt x="820" y="310"/>
                    </a:lnTo>
                    <a:lnTo>
                      <a:pt x="820" y="312"/>
                    </a:lnTo>
                    <a:lnTo>
                      <a:pt x="818" y="312"/>
                    </a:lnTo>
                    <a:lnTo>
                      <a:pt x="818" y="312"/>
                    </a:lnTo>
                    <a:lnTo>
                      <a:pt x="815" y="312"/>
                    </a:lnTo>
                    <a:lnTo>
                      <a:pt x="818" y="314"/>
                    </a:lnTo>
                    <a:lnTo>
                      <a:pt x="815" y="317"/>
                    </a:lnTo>
                    <a:lnTo>
                      <a:pt x="815" y="319"/>
                    </a:lnTo>
                    <a:lnTo>
                      <a:pt x="813" y="319"/>
                    </a:lnTo>
                    <a:lnTo>
                      <a:pt x="813" y="321"/>
                    </a:lnTo>
                    <a:lnTo>
                      <a:pt x="813" y="321"/>
                    </a:lnTo>
                    <a:lnTo>
                      <a:pt x="813" y="324"/>
                    </a:lnTo>
                    <a:lnTo>
                      <a:pt x="810" y="324"/>
                    </a:lnTo>
                    <a:lnTo>
                      <a:pt x="810" y="324"/>
                    </a:lnTo>
                    <a:lnTo>
                      <a:pt x="813" y="326"/>
                    </a:lnTo>
                    <a:lnTo>
                      <a:pt x="810" y="326"/>
                    </a:lnTo>
                    <a:lnTo>
                      <a:pt x="813" y="328"/>
                    </a:lnTo>
                    <a:lnTo>
                      <a:pt x="810" y="328"/>
                    </a:lnTo>
                    <a:lnTo>
                      <a:pt x="810" y="328"/>
                    </a:lnTo>
                    <a:lnTo>
                      <a:pt x="810" y="331"/>
                    </a:lnTo>
                    <a:lnTo>
                      <a:pt x="810" y="331"/>
                    </a:lnTo>
                    <a:lnTo>
                      <a:pt x="810" y="331"/>
                    </a:lnTo>
                    <a:lnTo>
                      <a:pt x="813" y="331"/>
                    </a:lnTo>
                    <a:lnTo>
                      <a:pt x="813" y="333"/>
                    </a:lnTo>
                    <a:lnTo>
                      <a:pt x="813" y="333"/>
                    </a:lnTo>
                    <a:lnTo>
                      <a:pt x="813" y="333"/>
                    </a:lnTo>
                    <a:lnTo>
                      <a:pt x="813" y="336"/>
                    </a:lnTo>
                    <a:lnTo>
                      <a:pt x="813" y="336"/>
                    </a:lnTo>
                    <a:lnTo>
                      <a:pt x="813" y="336"/>
                    </a:lnTo>
                    <a:lnTo>
                      <a:pt x="815" y="336"/>
                    </a:lnTo>
                    <a:lnTo>
                      <a:pt x="815" y="338"/>
                    </a:lnTo>
                    <a:lnTo>
                      <a:pt x="818" y="338"/>
                    </a:lnTo>
                    <a:lnTo>
                      <a:pt x="818" y="338"/>
                    </a:lnTo>
                    <a:lnTo>
                      <a:pt x="818" y="340"/>
                    </a:lnTo>
                    <a:lnTo>
                      <a:pt x="818" y="343"/>
                    </a:lnTo>
                    <a:lnTo>
                      <a:pt x="818" y="343"/>
                    </a:lnTo>
                    <a:lnTo>
                      <a:pt x="820" y="345"/>
                    </a:lnTo>
                    <a:lnTo>
                      <a:pt x="820" y="345"/>
                    </a:lnTo>
                    <a:lnTo>
                      <a:pt x="820" y="345"/>
                    </a:lnTo>
                    <a:lnTo>
                      <a:pt x="820" y="345"/>
                    </a:lnTo>
                    <a:lnTo>
                      <a:pt x="822" y="347"/>
                    </a:lnTo>
                    <a:lnTo>
                      <a:pt x="822" y="345"/>
                    </a:lnTo>
                    <a:lnTo>
                      <a:pt x="825" y="347"/>
                    </a:lnTo>
                    <a:lnTo>
                      <a:pt x="827" y="347"/>
                    </a:lnTo>
                    <a:lnTo>
                      <a:pt x="827" y="347"/>
                    </a:lnTo>
                    <a:lnTo>
                      <a:pt x="829" y="347"/>
                    </a:lnTo>
                    <a:lnTo>
                      <a:pt x="829" y="350"/>
                    </a:lnTo>
                    <a:lnTo>
                      <a:pt x="829" y="347"/>
                    </a:lnTo>
                    <a:lnTo>
                      <a:pt x="832" y="347"/>
                    </a:lnTo>
                    <a:lnTo>
                      <a:pt x="832" y="350"/>
                    </a:lnTo>
                    <a:lnTo>
                      <a:pt x="832" y="350"/>
                    </a:lnTo>
                    <a:lnTo>
                      <a:pt x="832" y="350"/>
                    </a:lnTo>
                    <a:lnTo>
                      <a:pt x="832" y="350"/>
                    </a:lnTo>
                    <a:lnTo>
                      <a:pt x="834" y="352"/>
                    </a:lnTo>
                    <a:lnTo>
                      <a:pt x="834" y="352"/>
                    </a:lnTo>
                    <a:lnTo>
                      <a:pt x="834" y="354"/>
                    </a:lnTo>
                    <a:lnTo>
                      <a:pt x="836" y="354"/>
                    </a:lnTo>
                    <a:lnTo>
                      <a:pt x="836" y="357"/>
                    </a:lnTo>
                    <a:lnTo>
                      <a:pt x="839" y="357"/>
                    </a:lnTo>
                    <a:lnTo>
                      <a:pt x="839" y="357"/>
                    </a:lnTo>
                    <a:lnTo>
                      <a:pt x="844" y="357"/>
                    </a:lnTo>
                    <a:lnTo>
                      <a:pt x="844" y="357"/>
                    </a:lnTo>
                    <a:lnTo>
                      <a:pt x="844" y="359"/>
                    </a:lnTo>
                    <a:lnTo>
                      <a:pt x="846" y="359"/>
                    </a:lnTo>
                    <a:lnTo>
                      <a:pt x="846" y="359"/>
                    </a:lnTo>
                    <a:lnTo>
                      <a:pt x="848" y="362"/>
                    </a:lnTo>
                    <a:lnTo>
                      <a:pt x="848" y="362"/>
                    </a:lnTo>
                    <a:lnTo>
                      <a:pt x="848" y="359"/>
                    </a:lnTo>
                    <a:lnTo>
                      <a:pt x="848" y="362"/>
                    </a:lnTo>
                    <a:lnTo>
                      <a:pt x="846" y="364"/>
                    </a:lnTo>
                    <a:lnTo>
                      <a:pt x="846" y="366"/>
                    </a:lnTo>
                    <a:lnTo>
                      <a:pt x="848" y="366"/>
                    </a:lnTo>
                    <a:lnTo>
                      <a:pt x="848" y="369"/>
                    </a:lnTo>
                    <a:lnTo>
                      <a:pt x="851" y="371"/>
                    </a:lnTo>
                    <a:lnTo>
                      <a:pt x="848" y="371"/>
                    </a:lnTo>
                    <a:lnTo>
                      <a:pt x="848" y="371"/>
                    </a:lnTo>
                    <a:lnTo>
                      <a:pt x="848" y="373"/>
                    </a:lnTo>
                    <a:lnTo>
                      <a:pt x="851" y="373"/>
                    </a:lnTo>
                    <a:lnTo>
                      <a:pt x="851" y="373"/>
                    </a:lnTo>
                    <a:lnTo>
                      <a:pt x="853" y="373"/>
                    </a:lnTo>
                    <a:lnTo>
                      <a:pt x="853" y="376"/>
                    </a:lnTo>
                    <a:lnTo>
                      <a:pt x="851" y="378"/>
                    </a:lnTo>
                    <a:lnTo>
                      <a:pt x="848" y="378"/>
                    </a:lnTo>
                    <a:lnTo>
                      <a:pt x="851" y="376"/>
                    </a:lnTo>
                    <a:lnTo>
                      <a:pt x="848" y="376"/>
                    </a:lnTo>
                    <a:lnTo>
                      <a:pt x="848" y="376"/>
                    </a:lnTo>
                    <a:lnTo>
                      <a:pt x="846" y="376"/>
                    </a:lnTo>
                    <a:lnTo>
                      <a:pt x="846" y="376"/>
                    </a:lnTo>
                    <a:lnTo>
                      <a:pt x="844" y="378"/>
                    </a:lnTo>
                    <a:lnTo>
                      <a:pt x="844" y="378"/>
                    </a:lnTo>
                    <a:lnTo>
                      <a:pt x="841" y="378"/>
                    </a:lnTo>
                    <a:lnTo>
                      <a:pt x="841" y="378"/>
                    </a:lnTo>
                    <a:lnTo>
                      <a:pt x="841" y="378"/>
                    </a:lnTo>
                    <a:lnTo>
                      <a:pt x="841" y="380"/>
                    </a:lnTo>
                    <a:lnTo>
                      <a:pt x="841" y="380"/>
                    </a:lnTo>
                    <a:lnTo>
                      <a:pt x="841" y="380"/>
                    </a:lnTo>
                    <a:lnTo>
                      <a:pt x="844" y="380"/>
                    </a:lnTo>
                    <a:lnTo>
                      <a:pt x="844" y="383"/>
                    </a:lnTo>
                    <a:lnTo>
                      <a:pt x="846" y="383"/>
                    </a:lnTo>
                    <a:lnTo>
                      <a:pt x="846" y="385"/>
                    </a:lnTo>
                    <a:lnTo>
                      <a:pt x="848" y="385"/>
                    </a:lnTo>
                    <a:lnTo>
                      <a:pt x="848" y="385"/>
                    </a:lnTo>
                    <a:lnTo>
                      <a:pt x="851" y="388"/>
                    </a:lnTo>
                    <a:lnTo>
                      <a:pt x="853" y="388"/>
                    </a:lnTo>
                    <a:lnTo>
                      <a:pt x="853" y="385"/>
                    </a:lnTo>
                    <a:lnTo>
                      <a:pt x="853" y="388"/>
                    </a:lnTo>
                    <a:lnTo>
                      <a:pt x="853" y="388"/>
                    </a:lnTo>
                    <a:lnTo>
                      <a:pt x="855" y="390"/>
                    </a:lnTo>
                    <a:lnTo>
                      <a:pt x="855" y="388"/>
                    </a:lnTo>
                    <a:lnTo>
                      <a:pt x="858" y="388"/>
                    </a:lnTo>
                    <a:lnTo>
                      <a:pt x="858" y="390"/>
                    </a:lnTo>
                    <a:lnTo>
                      <a:pt x="858" y="390"/>
                    </a:lnTo>
                    <a:lnTo>
                      <a:pt x="858" y="390"/>
                    </a:lnTo>
                    <a:lnTo>
                      <a:pt x="858" y="390"/>
                    </a:lnTo>
                    <a:lnTo>
                      <a:pt x="858" y="392"/>
                    </a:lnTo>
                    <a:lnTo>
                      <a:pt x="855" y="392"/>
                    </a:lnTo>
                    <a:lnTo>
                      <a:pt x="853" y="397"/>
                    </a:lnTo>
                    <a:lnTo>
                      <a:pt x="853" y="397"/>
                    </a:lnTo>
                    <a:lnTo>
                      <a:pt x="855" y="399"/>
                    </a:lnTo>
                    <a:lnTo>
                      <a:pt x="853" y="399"/>
                    </a:lnTo>
                    <a:lnTo>
                      <a:pt x="855" y="402"/>
                    </a:lnTo>
                    <a:lnTo>
                      <a:pt x="853" y="402"/>
                    </a:lnTo>
                    <a:lnTo>
                      <a:pt x="853" y="402"/>
                    </a:lnTo>
                    <a:lnTo>
                      <a:pt x="853" y="402"/>
                    </a:lnTo>
                    <a:lnTo>
                      <a:pt x="853" y="404"/>
                    </a:lnTo>
                    <a:lnTo>
                      <a:pt x="855" y="404"/>
                    </a:lnTo>
                    <a:lnTo>
                      <a:pt x="855" y="406"/>
                    </a:lnTo>
                    <a:lnTo>
                      <a:pt x="858" y="406"/>
                    </a:lnTo>
                    <a:lnTo>
                      <a:pt x="858" y="406"/>
                    </a:lnTo>
                    <a:lnTo>
                      <a:pt x="862" y="406"/>
                    </a:lnTo>
                    <a:lnTo>
                      <a:pt x="865" y="406"/>
                    </a:lnTo>
                    <a:lnTo>
                      <a:pt x="865" y="404"/>
                    </a:lnTo>
                    <a:lnTo>
                      <a:pt x="867" y="404"/>
                    </a:lnTo>
                    <a:lnTo>
                      <a:pt x="867" y="404"/>
                    </a:lnTo>
                    <a:lnTo>
                      <a:pt x="867" y="406"/>
                    </a:lnTo>
                    <a:lnTo>
                      <a:pt x="870" y="406"/>
                    </a:lnTo>
                    <a:lnTo>
                      <a:pt x="872" y="406"/>
                    </a:lnTo>
                    <a:lnTo>
                      <a:pt x="872" y="404"/>
                    </a:lnTo>
                    <a:lnTo>
                      <a:pt x="877" y="402"/>
                    </a:lnTo>
                    <a:lnTo>
                      <a:pt x="877" y="402"/>
                    </a:lnTo>
                    <a:lnTo>
                      <a:pt x="877" y="402"/>
                    </a:lnTo>
                    <a:lnTo>
                      <a:pt x="881" y="402"/>
                    </a:lnTo>
                    <a:lnTo>
                      <a:pt x="884" y="402"/>
                    </a:lnTo>
                    <a:lnTo>
                      <a:pt x="884" y="402"/>
                    </a:lnTo>
                    <a:lnTo>
                      <a:pt x="884" y="404"/>
                    </a:lnTo>
                    <a:lnTo>
                      <a:pt x="884" y="406"/>
                    </a:lnTo>
                    <a:lnTo>
                      <a:pt x="884" y="409"/>
                    </a:lnTo>
                    <a:lnTo>
                      <a:pt x="881" y="409"/>
                    </a:lnTo>
                    <a:lnTo>
                      <a:pt x="884" y="409"/>
                    </a:lnTo>
                    <a:lnTo>
                      <a:pt x="886" y="409"/>
                    </a:lnTo>
                    <a:lnTo>
                      <a:pt x="886" y="409"/>
                    </a:lnTo>
                    <a:lnTo>
                      <a:pt x="888" y="406"/>
                    </a:lnTo>
                    <a:lnTo>
                      <a:pt x="891" y="406"/>
                    </a:lnTo>
                    <a:lnTo>
                      <a:pt x="896" y="406"/>
                    </a:lnTo>
                    <a:lnTo>
                      <a:pt x="898" y="404"/>
                    </a:lnTo>
                    <a:lnTo>
                      <a:pt x="900" y="406"/>
                    </a:lnTo>
                    <a:lnTo>
                      <a:pt x="900" y="404"/>
                    </a:lnTo>
                    <a:lnTo>
                      <a:pt x="903" y="404"/>
                    </a:lnTo>
                    <a:lnTo>
                      <a:pt x="903" y="402"/>
                    </a:lnTo>
                    <a:lnTo>
                      <a:pt x="905" y="402"/>
                    </a:lnTo>
                    <a:lnTo>
                      <a:pt x="905" y="402"/>
                    </a:lnTo>
                    <a:lnTo>
                      <a:pt x="907" y="399"/>
                    </a:lnTo>
                    <a:lnTo>
                      <a:pt x="907" y="399"/>
                    </a:lnTo>
                    <a:lnTo>
                      <a:pt x="910" y="399"/>
                    </a:lnTo>
                    <a:lnTo>
                      <a:pt x="912" y="397"/>
                    </a:lnTo>
                    <a:lnTo>
                      <a:pt x="912" y="397"/>
                    </a:lnTo>
                    <a:lnTo>
                      <a:pt x="912" y="397"/>
                    </a:lnTo>
                    <a:lnTo>
                      <a:pt x="914" y="397"/>
                    </a:lnTo>
                    <a:lnTo>
                      <a:pt x="912" y="397"/>
                    </a:lnTo>
                    <a:lnTo>
                      <a:pt x="912" y="399"/>
                    </a:lnTo>
                    <a:lnTo>
                      <a:pt x="914" y="399"/>
                    </a:lnTo>
                    <a:lnTo>
                      <a:pt x="914" y="399"/>
                    </a:lnTo>
                    <a:lnTo>
                      <a:pt x="914" y="402"/>
                    </a:lnTo>
                    <a:lnTo>
                      <a:pt x="917" y="402"/>
                    </a:lnTo>
                    <a:lnTo>
                      <a:pt x="917" y="402"/>
                    </a:lnTo>
                    <a:lnTo>
                      <a:pt x="917" y="404"/>
                    </a:lnTo>
                    <a:lnTo>
                      <a:pt x="917" y="404"/>
                    </a:lnTo>
                    <a:lnTo>
                      <a:pt x="919" y="402"/>
                    </a:lnTo>
                    <a:lnTo>
                      <a:pt x="919" y="402"/>
                    </a:lnTo>
                    <a:lnTo>
                      <a:pt x="919" y="402"/>
                    </a:lnTo>
                    <a:lnTo>
                      <a:pt x="919" y="399"/>
                    </a:lnTo>
                    <a:lnTo>
                      <a:pt x="919" y="399"/>
                    </a:lnTo>
                    <a:lnTo>
                      <a:pt x="922" y="399"/>
                    </a:lnTo>
                    <a:lnTo>
                      <a:pt x="922" y="399"/>
                    </a:lnTo>
                    <a:lnTo>
                      <a:pt x="924" y="399"/>
                    </a:lnTo>
                    <a:lnTo>
                      <a:pt x="924" y="397"/>
                    </a:lnTo>
                    <a:lnTo>
                      <a:pt x="926" y="399"/>
                    </a:lnTo>
                    <a:lnTo>
                      <a:pt x="926" y="397"/>
                    </a:lnTo>
                    <a:lnTo>
                      <a:pt x="926" y="399"/>
                    </a:lnTo>
                    <a:lnTo>
                      <a:pt x="926" y="399"/>
                    </a:lnTo>
                    <a:lnTo>
                      <a:pt x="929" y="402"/>
                    </a:lnTo>
                    <a:lnTo>
                      <a:pt x="929" y="402"/>
                    </a:lnTo>
                    <a:lnTo>
                      <a:pt x="931" y="399"/>
                    </a:lnTo>
                    <a:lnTo>
                      <a:pt x="931" y="399"/>
                    </a:lnTo>
                    <a:lnTo>
                      <a:pt x="931" y="399"/>
                    </a:lnTo>
                    <a:lnTo>
                      <a:pt x="931" y="395"/>
                    </a:lnTo>
                    <a:lnTo>
                      <a:pt x="931" y="395"/>
                    </a:lnTo>
                    <a:lnTo>
                      <a:pt x="933" y="392"/>
                    </a:lnTo>
                    <a:lnTo>
                      <a:pt x="933" y="392"/>
                    </a:lnTo>
                    <a:lnTo>
                      <a:pt x="936" y="395"/>
                    </a:lnTo>
                    <a:lnTo>
                      <a:pt x="936" y="395"/>
                    </a:lnTo>
                    <a:lnTo>
                      <a:pt x="936" y="397"/>
                    </a:lnTo>
                    <a:lnTo>
                      <a:pt x="938" y="397"/>
                    </a:lnTo>
                    <a:lnTo>
                      <a:pt x="938" y="395"/>
                    </a:lnTo>
                    <a:lnTo>
                      <a:pt x="938" y="395"/>
                    </a:lnTo>
                    <a:lnTo>
                      <a:pt x="936" y="395"/>
                    </a:lnTo>
                    <a:lnTo>
                      <a:pt x="936" y="392"/>
                    </a:lnTo>
                    <a:lnTo>
                      <a:pt x="936" y="392"/>
                    </a:lnTo>
                    <a:lnTo>
                      <a:pt x="936" y="390"/>
                    </a:lnTo>
                    <a:lnTo>
                      <a:pt x="938" y="390"/>
                    </a:lnTo>
                    <a:lnTo>
                      <a:pt x="938" y="390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6" y="383"/>
                    </a:lnTo>
                    <a:lnTo>
                      <a:pt x="936" y="383"/>
                    </a:lnTo>
                    <a:lnTo>
                      <a:pt x="936" y="383"/>
                    </a:lnTo>
                    <a:lnTo>
                      <a:pt x="933" y="383"/>
                    </a:lnTo>
                    <a:lnTo>
                      <a:pt x="931" y="383"/>
                    </a:lnTo>
                    <a:lnTo>
                      <a:pt x="929" y="385"/>
                    </a:lnTo>
                    <a:lnTo>
                      <a:pt x="926" y="385"/>
                    </a:lnTo>
                    <a:lnTo>
                      <a:pt x="926" y="385"/>
                    </a:lnTo>
                    <a:lnTo>
                      <a:pt x="924" y="383"/>
                    </a:lnTo>
                    <a:lnTo>
                      <a:pt x="926" y="380"/>
                    </a:lnTo>
                    <a:lnTo>
                      <a:pt x="929" y="380"/>
                    </a:lnTo>
                    <a:lnTo>
                      <a:pt x="929" y="378"/>
                    </a:lnTo>
                    <a:lnTo>
                      <a:pt x="931" y="378"/>
                    </a:lnTo>
                    <a:lnTo>
                      <a:pt x="931" y="378"/>
                    </a:lnTo>
                    <a:lnTo>
                      <a:pt x="933" y="378"/>
                    </a:lnTo>
                    <a:lnTo>
                      <a:pt x="933" y="376"/>
                    </a:lnTo>
                    <a:lnTo>
                      <a:pt x="933" y="376"/>
                    </a:lnTo>
                    <a:lnTo>
                      <a:pt x="936" y="376"/>
                    </a:lnTo>
                    <a:lnTo>
                      <a:pt x="938" y="376"/>
                    </a:lnTo>
                    <a:lnTo>
                      <a:pt x="938" y="376"/>
                    </a:lnTo>
                    <a:lnTo>
                      <a:pt x="940" y="373"/>
                    </a:lnTo>
                    <a:lnTo>
                      <a:pt x="940" y="373"/>
                    </a:lnTo>
                    <a:lnTo>
                      <a:pt x="940" y="373"/>
                    </a:lnTo>
                    <a:lnTo>
                      <a:pt x="938" y="373"/>
                    </a:lnTo>
                    <a:lnTo>
                      <a:pt x="938" y="371"/>
                    </a:lnTo>
                    <a:lnTo>
                      <a:pt x="936" y="371"/>
                    </a:lnTo>
                    <a:lnTo>
                      <a:pt x="936" y="369"/>
                    </a:lnTo>
                    <a:lnTo>
                      <a:pt x="936" y="369"/>
                    </a:lnTo>
                    <a:lnTo>
                      <a:pt x="936" y="369"/>
                    </a:lnTo>
                    <a:lnTo>
                      <a:pt x="936" y="366"/>
                    </a:lnTo>
                    <a:lnTo>
                      <a:pt x="936" y="366"/>
                    </a:lnTo>
                    <a:lnTo>
                      <a:pt x="938" y="364"/>
                    </a:lnTo>
                    <a:lnTo>
                      <a:pt x="940" y="366"/>
                    </a:lnTo>
                    <a:lnTo>
                      <a:pt x="943" y="364"/>
                    </a:lnTo>
                    <a:lnTo>
                      <a:pt x="945" y="364"/>
                    </a:lnTo>
                    <a:lnTo>
                      <a:pt x="945" y="366"/>
                    </a:lnTo>
                    <a:lnTo>
                      <a:pt x="945" y="369"/>
                    </a:lnTo>
                    <a:lnTo>
                      <a:pt x="945" y="369"/>
                    </a:lnTo>
                    <a:lnTo>
                      <a:pt x="943" y="369"/>
                    </a:lnTo>
                    <a:lnTo>
                      <a:pt x="945" y="369"/>
                    </a:lnTo>
                    <a:lnTo>
                      <a:pt x="943" y="371"/>
                    </a:lnTo>
                    <a:lnTo>
                      <a:pt x="943" y="371"/>
                    </a:lnTo>
                    <a:lnTo>
                      <a:pt x="940" y="373"/>
                    </a:lnTo>
                    <a:lnTo>
                      <a:pt x="943" y="373"/>
                    </a:lnTo>
                    <a:lnTo>
                      <a:pt x="945" y="373"/>
                    </a:lnTo>
                    <a:lnTo>
                      <a:pt x="945" y="373"/>
                    </a:lnTo>
                    <a:lnTo>
                      <a:pt x="950" y="373"/>
                    </a:lnTo>
                    <a:lnTo>
                      <a:pt x="952" y="371"/>
                    </a:lnTo>
                    <a:lnTo>
                      <a:pt x="955" y="371"/>
                    </a:lnTo>
                    <a:lnTo>
                      <a:pt x="955" y="369"/>
                    </a:lnTo>
                    <a:lnTo>
                      <a:pt x="955" y="369"/>
                    </a:lnTo>
                    <a:lnTo>
                      <a:pt x="955" y="369"/>
                    </a:lnTo>
                    <a:lnTo>
                      <a:pt x="955" y="369"/>
                    </a:lnTo>
                    <a:lnTo>
                      <a:pt x="957" y="369"/>
                    </a:lnTo>
                    <a:lnTo>
                      <a:pt x="957" y="371"/>
                    </a:lnTo>
                    <a:lnTo>
                      <a:pt x="955" y="373"/>
                    </a:lnTo>
                    <a:lnTo>
                      <a:pt x="955" y="373"/>
                    </a:lnTo>
                    <a:lnTo>
                      <a:pt x="955" y="373"/>
                    </a:lnTo>
                    <a:lnTo>
                      <a:pt x="955" y="376"/>
                    </a:lnTo>
                    <a:lnTo>
                      <a:pt x="959" y="373"/>
                    </a:lnTo>
                    <a:lnTo>
                      <a:pt x="959" y="373"/>
                    </a:lnTo>
                    <a:lnTo>
                      <a:pt x="959" y="373"/>
                    </a:lnTo>
                    <a:lnTo>
                      <a:pt x="962" y="373"/>
                    </a:lnTo>
                    <a:lnTo>
                      <a:pt x="964" y="371"/>
                    </a:lnTo>
                    <a:lnTo>
                      <a:pt x="966" y="371"/>
                    </a:lnTo>
                    <a:lnTo>
                      <a:pt x="969" y="369"/>
                    </a:lnTo>
                    <a:lnTo>
                      <a:pt x="966" y="366"/>
                    </a:lnTo>
                    <a:lnTo>
                      <a:pt x="969" y="366"/>
                    </a:lnTo>
                    <a:lnTo>
                      <a:pt x="971" y="369"/>
                    </a:lnTo>
                    <a:lnTo>
                      <a:pt x="971" y="369"/>
                    </a:lnTo>
                    <a:lnTo>
                      <a:pt x="973" y="369"/>
                    </a:lnTo>
                    <a:lnTo>
                      <a:pt x="973" y="371"/>
                    </a:lnTo>
                    <a:lnTo>
                      <a:pt x="976" y="371"/>
                    </a:lnTo>
                    <a:lnTo>
                      <a:pt x="976" y="371"/>
                    </a:lnTo>
                    <a:lnTo>
                      <a:pt x="976" y="371"/>
                    </a:lnTo>
                    <a:lnTo>
                      <a:pt x="976" y="373"/>
                    </a:lnTo>
                    <a:lnTo>
                      <a:pt x="978" y="373"/>
                    </a:lnTo>
                    <a:lnTo>
                      <a:pt x="978" y="373"/>
                    </a:lnTo>
                    <a:lnTo>
                      <a:pt x="981" y="373"/>
                    </a:lnTo>
                    <a:lnTo>
                      <a:pt x="983" y="373"/>
                    </a:lnTo>
                    <a:lnTo>
                      <a:pt x="983" y="371"/>
                    </a:lnTo>
                    <a:lnTo>
                      <a:pt x="985" y="371"/>
                    </a:lnTo>
                    <a:lnTo>
                      <a:pt x="985" y="371"/>
                    </a:lnTo>
                    <a:lnTo>
                      <a:pt x="990" y="369"/>
                    </a:lnTo>
                    <a:lnTo>
                      <a:pt x="992" y="371"/>
                    </a:lnTo>
                    <a:lnTo>
                      <a:pt x="995" y="369"/>
                    </a:lnTo>
                    <a:lnTo>
                      <a:pt x="995" y="369"/>
                    </a:lnTo>
                    <a:lnTo>
                      <a:pt x="995" y="369"/>
                    </a:lnTo>
                    <a:lnTo>
                      <a:pt x="995" y="366"/>
                    </a:lnTo>
                    <a:lnTo>
                      <a:pt x="995" y="366"/>
                    </a:lnTo>
                    <a:lnTo>
                      <a:pt x="999" y="364"/>
                    </a:lnTo>
                    <a:lnTo>
                      <a:pt x="999" y="364"/>
                    </a:lnTo>
                    <a:lnTo>
                      <a:pt x="1002" y="362"/>
                    </a:lnTo>
                    <a:lnTo>
                      <a:pt x="1002" y="362"/>
                    </a:lnTo>
                    <a:lnTo>
                      <a:pt x="1007" y="362"/>
                    </a:lnTo>
                    <a:lnTo>
                      <a:pt x="1009" y="359"/>
                    </a:lnTo>
                    <a:lnTo>
                      <a:pt x="1007" y="359"/>
                    </a:lnTo>
                    <a:lnTo>
                      <a:pt x="1007" y="359"/>
                    </a:lnTo>
                    <a:lnTo>
                      <a:pt x="1009" y="357"/>
                    </a:lnTo>
                    <a:lnTo>
                      <a:pt x="1009" y="354"/>
                    </a:lnTo>
                    <a:lnTo>
                      <a:pt x="1011" y="354"/>
                    </a:lnTo>
                    <a:lnTo>
                      <a:pt x="1011" y="354"/>
                    </a:lnTo>
                    <a:lnTo>
                      <a:pt x="1014" y="354"/>
                    </a:lnTo>
                    <a:lnTo>
                      <a:pt x="1014" y="354"/>
                    </a:lnTo>
                    <a:lnTo>
                      <a:pt x="1016" y="352"/>
                    </a:lnTo>
                    <a:lnTo>
                      <a:pt x="1016" y="352"/>
                    </a:lnTo>
                    <a:lnTo>
                      <a:pt x="1018" y="352"/>
                    </a:lnTo>
                    <a:lnTo>
                      <a:pt x="1021" y="352"/>
                    </a:lnTo>
                    <a:lnTo>
                      <a:pt x="1023" y="350"/>
                    </a:lnTo>
                    <a:lnTo>
                      <a:pt x="1025" y="350"/>
                    </a:lnTo>
                    <a:lnTo>
                      <a:pt x="1025" y="350"/>
                    </a:lnTo>
                    <a:lnTo>
                      <a:pt x="1028" y="350"/>
                    </a:lnTo>
                    <a:lnTo>
                      <a:pt x="1028" y="350"/>
                    </a:lnTo>
                    <a:lnTo>
                      <a:pt x="1030" y="350"/>
                    </a:lnTo>
                    <a:lnTo>
                      <a:pt x="1033" y="352"/>
                    </a:lnTo>
                    <a:lnTo>
                      <a:pt x="1033" y="350"/>
                    </a:lnTo>
                    <a:lnTo>
                      <a:pt x="1037" y="350"/>
                    </a:lnTo>
                    <a:lnTo>
                      <a:pt x="1040" y="350"/>
                    </a:lnTo>
                    <a:lnTo>
                      <a:pt x="1042" y="350"/>
                    </a:lnTo>
                    <a:lnTo>
                      <a:pt x="1042" y="345"/>
                    </a:lnTo>
                    <a:lnTo>
                      <a:pt x="1044" y="345"/>
                    </a:lnTo>
                    <a:lnTo>
                      <a:pt x="1044" y="345"/>
                    </a:lnTo>
                    <a:lnTo>
                      <a:pt x="1047" y="345"/>
                    </a:lnTo>
                    <a:lnTo>
                      <a:pt x="1047" y="345"/>
                    </a:lnTo>
                    <a:lnTo>
                      <a:pt x="1049" y="345"/>
                    </a:lnTo>
                    <a:lnTo>
                      <a:pt x="1049" y="345"/>
                    </a:lnTo>
                    <a:lnTo>
                      <a:pt x="1051" y="345"/>
                    </a:lnTo>
                    <a:lnTo>
                      <a:pt x="1051" y="343"/>
                    </a:lnTo>
                    <a:lnTo>
                      <a:pt x="1051" y="343"/>
                    </a:lnTo>
                    <a:lnTo>
                      <a:pt x="1056" y="343"/>
                    </a:lnTo>
                    <a:lnTo>
                      <a:pt x="1059" y="343"/>
                    </a:lnTo>
                    <a:lnTo>
                      <a:pt x="1059" y="343"/>
                    </a:lnTo>
                    <a:lnTo>
                      <a:pt x="1061" y="345"/>
                    </a:lnTo>
                    <a:lnTo>
                      <a:pt x="1063" y="347"/>
                    </a:lnTo>
                    <a:lnTo>
                      <a:pt x="1063" y="350"/>
                    </a:lnTo>
                    <a:lnTo>
                      <a:pt x="1063" y="352"/>
                    </a:lnTo>
                    <a:lnTo>
                      <a:pt x="1063" y="352"/>
                    </a:lnTo>
                    <a:lnTo>
                      <a:pt x="1063" y="354"/>
                    </a:lnTo>
                    <a:lnTo>
                      <a:pt x="1066" y="354"/>
                    </a:lnTo>
                    <a:lnTo>
                      <a:pt x="1066" y="354"/>
                    </a:lnTo>
                    <a:lnTo>
                      <a:pt x="1066" y="357"/>
                    </a:lnTo>
                    <a:lnTo>
                      <a:pt x="1066" y="357"/>
                    </a:lnTo>
                    <a:lnTo>
                      <a:pt x="1068" y="357"/>
                    </a:lnTo>
                    <a:lnTo>
                      <a:pt x="1068" y="357"/>
                    </a:lnTo>
                    <a:lnTo>
                      <a:pt x="1068" y="359"/>
                    </a:lnTo>
                    <a:lnTo>
                      <a:pt x="1070" y="359"/>
                    </a:lnTo>
                    <a:lnTo>
                      <a:pt x="1068" y="362"/>
                    </a:lnTo>
                    <a:lnTo>
                      <a:pt x="1068" y="362"/>
                    </a:lnTo>
                    <a:lnTo>
                      <a:pt x="1070" y="362"/>
                    </a:lnTo>
                    <a:lnTo>
                      <a:pt x="1073" y="362"/>
                    </a:lnTo>
                    <a:lnTo>
                      <a:pt x="1073" y="362"/>
                    </a:lnTo>
                    <a:lnTo>
                      <a:pt x="1075" y="362"/>
                    </a:lnTo>
                    <a:lnTo>
                      <a:pt x="1073" y="364"/>
                    </a:lnTo>
                    <a:lnTo>
                      <a:pt x="1073" y="366"/>
                    </a:lnTo>
                    <a:lnTo>
                      <a:pt x="1073" y="369"/>
                    </a:lnTo>
                    <a:lnTo>
                      <a:pt x="1075" y="369"/>
                    </a:lnTo>
                    <a:lnTo>
                      <a:pt x="1075" y="369"/>
                    </a:lnTo>
                    <a:lnTo>
                      <a:pt x="1075" y="369"/>
                    </a:lnTo>
                    <a:lnTo>
                      <a:pt x="1077" y="371"/>
                    </a:lnTo>
                    <a:lnTo>
                      <a:pt x="1077" y="369"/>
                    </a:lnTo>
                    <a:lnTo>
                      <a:pt x="1077" y="369"/>
                    </a:lnTo>
                    <a:lnTo>
                      <a:pt x="1080" y="369"/>
                    </a:lnTo>
                    <a:lnTo>
                      <a:pt x="1080" y="371"/>
                    </a:lnTo>
                    <a:lnTo>
                      <a:pt x="1080" y="371"/>
                    </a:lnTo>
                    <a:lnTo>
                      <a:pt x="1082" y="369"/>
                    </a:lnTo>
                    <a:lnTo>
                      <a:pt x="1085" y="369"/>
                    </a:lnTo>
                    <a:lnTo>
                      <a:pt x="1085" y="369"/>
                    </a:lnTo>
                    <a:lnTo>
                      <a:pt x="1087" y="371"/>
                    </a:lnTo>
                    <a:lnTo>
                      <a:pt x="1087" y="371"/>
                    </a:lnTo>
                    <a:lnTo>
                      <a:pt x="1089" y="371"/>
                    </a:lnTo>
                    <a:lnTo>
                      <a:pt x="1087" y="371"/>
                    </a:lnTo>
                    <a:lnTo>
                      <a:pt x="1087" y="373"/>
                    </a:lnTo>
                    <a:lnTo>
                      <a:pt x="1087" y="373"/>
                    </a:lnTo>
                    <a:lnTo>
                      <a:pt x="1087" y="371"/>
                    </a:lnTo>
                    <a:lnTo>
                      <a:pt x="1087" y="371"/>
                    </a:lnTo>
                    <a:lnTo>
                      <a:pt x="1089" y="371"/>
                    </a:lnTo>
                    <a:lnTo>
                      <a:pt x="1092" y="373"/>
                    </a:lnTo>
                    <a:lnTo>
                      <a:pt x="1092" y="373"/>
                    </a:lnTo>
                    <a:lnTo>
                      <a:pt x="1094" y="369"/>
                    </a:lnTo>
                    <a:lnTo>
                      <a:pt x="1094" y="369"/>
                    </a:lnTo>
                    <a:lnTo>
                      <a:pt x="1094" y="369"/>
                    </a:lnTo>
                    <a:lnTo>
                      <a:pt x="1094" y="369"/>
                    </a:lnTo>
                    <a:lnTo>
                      <a:pt x="1096" y="371"/>
                    </a:lnTo>
                    <a:lnTo>
                      <a:pt x="1096" y="369"/>
                    </a:lnTo>
                    <a:lnTo>
                      <a:pt x="1099" y="369"/>
                    </a:lnTo>
                    <a:lnTo>
                      <a:pt x="1099" y="369"/>
                    </a:lnTo>
                    <a:lnTo>
                      <a:pt x="1101" y="369"/>
                    </a:lnTo>
                    <a:lnTo>
                      <a:pt x="1103" y="369"/>
                    </a:lnTo>
                    <a:lnTo>
                      <a:pt x="1103" y="369"/>
                    </a:lnTo>
                    <a:lnTo>
                      <a:pt x="1103" y="369"/>
                    </a:lnTo>
                    <a:lnTo>
                      <a:pt x="1103" y="369"/>
                    </a:lnTo>
                    <a:lnTo>
                      <a:pt x="1103" y="366"/>
                    </a:lnTo>
                    <a:lnTo>
                      <a:pt x="1103" y="366"/>
                    </a:lnTo>
                    <a:lnTo>
                      <a:pt x="1106" y="364"/>
                    </a:lnTo>
                    <a:lnTo>
                      <a:pt x="1106" y="364"/>
                    </a:lnTo>
                    <a:lnTo>
                      <a:pt x="1106" y="364"/>
                    </a:lnTo>
                    <a:lnTo>
                      <a:pt x="1108" y="364"/>
                    </a:lnTo>
                    <a:lnTo>
                      <a:pt x="1108" y="364"/>
                    </a:lnTo>
                    <a:lnTo>
                      <a:pt x="1110" y="364"/>
                    </a:lnTo>
                    <a:lnTo>
                      <a:pt x="1108" y="366"/>
                    </a:lnTo>
                    <a:lnTo>
                      <a:pt x="1110" y="366"/>
                    </a:lnTo>
                    <a:lnTo>
                      <a:pt x="1110" y="369"/>
                    </a:lnTo>
                    <a:lnTo>
                      <a:pt x="1110" y="369"/>
                    </a:lnTo>
                    <a:lnTo>
                      <a:pt x="1110" y="369"/>
                    </a:lnTo>
                    <a:lnTo>
                      <a:pt x="1110" y="369"/>
                    </a:lnTo>
                    <a:lnTo>
                      <a:pt x="1110" y="366"/>
                    </a:lnTo>
                    <a:lnTo>
                      <a:pt x="1110" y="369"/>
                    </a:lnTo>
                    <a:lnTo>
                      <a:pt x="1110" y="366"/>
                    </a:lnTo>
                    <a:lnTo>
                      <a:pt x="1110" y="366"/>
                    </a:lnTo>
                    <a:lnTo>
                      <a:pt x="1113" y="366"/>
                    </a:lnTo>
                    <a:lnTo>
                      <a:pt x="1113" y="366"/>
                    </a:lnTo>
                    <a:lnTo>
                      <a:pt x="1115" y="369"/>
                    </a:lnTo>
                    <a:lnTo>
                      <a:pt x="1115" y="366"/>
                    </a:lnTo>
                    <a:lnTo>
                      <a:pt x="1115" y="369"/>
                    </a:lnTo>
                    <a:lnTo>
                      <a:pt x="1118" y="369"/>
                    </a:lnTo>
                    <a:lnTo>
                      <a:pt x="1118" y="369"/>
                    </a:lnTo>
                    <a:lnTo>
                      <a:pt x="1120" y="369"/>
                    </a:lnTo>
                    <a:lnTo>
                      <a:pt x="1120" y="369"/>
                    </a:lnTo>
                    <a:lnTo>
                      <a:pt x="1120" y="369"/>
                    </a:lnTo>
                    <a:lnTo>
                      <a:pt x="1122" y="369"/>
                    </a:lnTo>
                    <a:lnTo>
                      <a:pt x="1125" y="369"/>
                    </a:lnTo>
                    <a:lnTo>
                      <a:pt x="1125" y="369"/>
                    </a:lnTo>
                    <a:lnTo>
                      <a:pt x="1127" y="369"/>
                    </a:lnTo>
                    <a:lnTo>
                      <a:pt x="1127" y="371"/>
                    </a:lnTo>
                    <a:lnTo>
                      <a:pt x="1129" y="369"/>
                    </a:lnTo>
                    <a:lnTo>
                      <a:pt x="1129" y="369"/>
                    </a:lnTo>
                    <a:lnTo>
                      <a:pt x="1129" y="371"/>
                    </a:lnTo>
                    <a:lnTo>
                      <a:pt x="1129" y="371"/>
                    </a:lnTo>
                    <a:lnTo>
                      <a:pt x="1132" y="371"/>
                    </a:lnTo>
                    <a:lnTo>
                      <a:pt x="1132" y="373"/>
                    </a:lnTo>
                    <a:lnTo>
                      <a:pt x="1132" y="373"/>
                    </a:lnTo>
                    <a:lnTo>
                      <a:pt x="1132" y="376"/>
                    </a:lnTo>
                    <a:lnTo>
                      <a:pt x="1134" y="378"/>
                    </a:lnTo>
                    <a:lnTo>
                      <a:pt x="1134" y="378"/>
                    </a:lnTo>
                    <a:lnTo>
                      <a:pt x="1134" y="378"/>
                    </a:lnTo>
                    <a:lnTo>
                      <a:pt x="1134" y="380"/>
                    </a:lnTo>
                    <a:lnTo>
                      <a:pt x="1132" y="380"/>
                    </a:lnTo>
                    <a:lnTo>
                      <a:pt x="1132" y="380"/>
                    </a:lnTo>
                    <a:lnTo>
                      <a:pt x="1132" y="383"/>
                    </a:lnTo>
                    <a:lnTo>
                      <a:pt x="1129" y="383"/>
                    </a:lnTo>
                    <a:lnTo>
                      <a:pt x="1129" y="383"/>
                    </a:lnTo>
                    <a:lnTo>
                      <a:pt x="1129" y="383"/>
                    </a:lnTo>
                    <a:lnTo>
                      <a:pt x="1129" y="383"/>
                    </a:lnTo>
                    <a:lnTo>
                      <a:pt x="1129" y="385"/>
                    </a:lnTo>
                    <a:lnTo>
                      <a:pt x="1127" y="385"/>
                    </a:lnTo>
                    <a:lnTo>
                      <a:pt x="1125" y="388"/>
                    </a:lnTo>
                    <a:lnTo>
                      <a:pt x="1125" y="388"/>
                    </a:lnTo>
                    <a:lnTo>
                      <a:pt x="1122" y="388"/>
                    </a:lnTo>
                    <a:lnTo>
                      <a:pt x="1122" y="390"/>
                    </a:lnTo>
                    <a:lnTo>
                      <a:pt x="1122" y="390"/>
                    </a:lnTo>
                    <a:lnTo>
                      <a:pt x="1122" y="392"/>
                    </a:lnTo>
                    <a:lnTo>
                      <a:pt x="1122" y="392"/>
                    </a:lnTo>
                    <a:lnTo>
                      <a:pt x="1125" y="392"/>
                    </a:lnTo>
                    <a:lnTo>
                      <a:pt x="1125" y="392"/>
                    </a:lnTo>
                    <a:lnTo>
                      <a:pt x="1125" y="395"/>
                    </a:lnTo>
                    <a:lnTo>
                      <a:pt x="1122" y="395"/>
                    </a:lnTo>
                    <a:lnTo>
                      <a:pt x="1120" y="397"/>
                    </a:lnTo>
                    <a:lnTo>
                      <a:pt x="1120" y="399"/>
                    </a:lnTo>
                    <a:lnTo>
                      <a:pt x="1120" y="397"/>
                    </a:lnTo>
                    <a:lnTo>
                      <a:pt x="1118" y="397"/>
                    </a:lnTo>
                    <a:lnTo>
                      <a:pt x="1115" y="399"/>
                    </a:lnTo>
                    <a:lnTo>
                      <a:pt x="1115" y="399"/>
                    </a:lnTo>
                    <a:lnTo>
                      <a:pt x="1113" y="399"/>
                    </a:lnTo>
                    <a:lnTo>
                      <a:pt x="1115" y="399"/>
                    </a:lnTo>
                    <a:lnTo>
                      <a:pt x="1113" y="399"/>
                    </a:lnTo>
                    <a:lnTo>
                      <a:pt x="1108" y="402"/>
                    </a:lnTo>
                    <a:lnTo>
                      <a:pt x="1106" y="402"/>
                    </a:lnTo>
                    <a:lnTo>
                      <a:pt x="1106" y="402"/>
                    </a:lnTo>
                    <a:lnTo>
                      <a:pt x="1103" y="402"/>
                    </a:lnTo>
                    <a:lnTo>
                      <a:pt x="1103" y="399"/>
                    </a:lnTo>
                    <a:lnTo>
                      <a:pt x="1103" y="399"/>
                    </a:lnTo>
                    <a:lnTo>
                      <a:pt x="1101" y="399"/>
                    </a:lnTo>
                    <a:lnTo>
                      <a:pt x="1101" y="402"/>
                    </a:lnTo>
                    <a:lnTo>
                      <a:pt x="1101" y="402"/>
                    </a:lnTo>
                    <a:lnTo>
                      <a:pt x="1099" y="404"/>
                    </a:lnTo>
                    <a:lnTo>
                      <a:pt x="1099" y="404"/>
                    </a:lnTo>
                    <a:lnTo>
                      <a:pt x="1096" y="404"/>
                    </a:lnTo>
                    <a:lnTo>
                      <a:pt x="1096" y="404"/>
                    </a:lnTo>
                    <a:lnTo>
                      <a:pt x="1094" y="404"/>
                    </a:lnTo>
                    <a:lnTo>
                      <a:pt x="1094" y="402"/>
                    </a:lnTo>
                    <a:lnTo>
                      <a:pt x="1094" y="402"/>
                    </a:lnTo>
                    <a:lnTo>
                      <a:pt x="1094" y="402"/>
                    </a:lnTo>
                    <a:lnTo>
                      <a:pt x="1094" y="399"/>
                    </a:lnTo>
                    <a:lnTo>
                      <a:pt x="1092" y="399"/>
                    </a:lnTo>
                    <a:lnTo>
                      <a:pt x="1092" y="399"/>
                    </a:lnTo>
                    <a:lnTo>
                      <a:pt x="1089" y="402"/>
                    </a:lnTo>
                    <a:lnTo>
                      <a:pt x="1087" y="402"/>
                    </a:lnTo>
                    <a:lnTo>
                      <a:pt x="1087" y="404"/>
                    </a:lnTo>
                    <a:lnTo>
                      <a:pt x="1085" y="406"/>
                    </a:lnTo>
                    <a:lnTo>
                      <a:pt x="1082" y="404"/>
                    </a:lnTo>
                    <a:lnTo>
                      <a:pt x="1080" y="406"/>
                    </a:lnTo>
                    <a:lnTo>
                      <a:pt x="1077" y="406"/>
                    </a:lnTo>
                    <a:lnTo>
                      <a:pt x="1075" y="406"/>
                    </a:lnTo>
                    <a:lnTo>
                      <a:pt x="1075" y="409"/>
                    </a:lnTo>
                    <a:lnTo>
                      <a:pt x="1075" y="409"/>
                    </a:lnTo>
                    <a:lnTo>
                      <a:pt x="1070" y="411"/>
                    </a:lnTo>
                    <a:lnTo>
                      <a:pt x="1070" y="409"/>
                    </a:lnTo>
                    <a:lnTo>
                      <a:pt x="1068" y="411"/>
                    </a:lnTo>
                    <a:lnTo>
                      <a:pt x="1068" y="411"/>
                    </a:lnTo>
                    <a:lnTo>
                      <a:pt x="1066" y="411"/>
                    </a:lnTo>
                    <a:lnTo>
                      <a:pt x="1066" y="411"/>
                    </a:lnTo>
                    <a:lnTo>
                      <a:pt x="1066" y="411"/>
                    </a:lnTo>
                    <a:lnTo>
                      <a:pt x="1063" y="411"/>
                    </a:lnTo>
                    <a:lnTo>
                      <a:pt x="1061" y="413"/>
                    </a:lnTo>
                    <a:lnTo>
                      <a:pt x="1059" y="416"/>
                    </a:lnTo>
                    <a:lnTo>
                      <a:pt x="1061" y="416"/>
                    </a:lnTo>
                    <a:lnTo>
                      <a:pt x="1059" y="416"/>
                    </a:lnTo>
                    <a:lnTo>
                      <a:pt x="1059" y="418"/>
                    </a:lnTo>
                    <a:lnTo>
                      <a:pt x="1059" y="418"/>
                    </a:lnTo>
                    <a:lnTo>
                      <a:pt x="1059" y="418"/>
                    </a:lnTo>
                    <a:lnTo>
                      <a:pt x="1056" y="418"/>
                    </a:lnTo>
                    <a:lnTo>
                      <a:pt x="1056" y="418"/>
                    </a:lnTo>
                    <a:lnTo>
                      <a:pt x="1054" y="418"/>
                    </a:lnTo>
                    <a:lnTo>
                      <a:pt x="1054" y="418"/>
                    </a:lnTo>
                    <a:lnTo>
                      <a:pt x="1054" y="418"/>
                    </a:lnTo>
                    <a:lnTo>
                      <a:pt x="1054" y="421"/>
                    </a:lnTo>
                    <a:lnTo>
                      <a:pt x="1054" y="421"/>
                    </a:lnTo>
                    <a:lnTo>
                      <a:pt x="1054" y="423"/>
                    </a:lnTo>
                    <a:lnTo>
                      <a:pt x="1054" y="423"/>
                    </a:lnTo>
                    <a:lnTo>
                      <a:pt x="1054" y="423"/>
                    </a:lnTo>
                    <a:lnTo>
                      <a:pt x="1054" y="425"/>
                    </a:lnTo>
                    <a:lnTo>
                      <a:pt x="1054" y="425"/>
                    </a:lnTo>
                    <a:lnTo>
                      <a:pt x="1051" y="428"/>
                    </a:lnTo>
                    <a:lnTo>
                      <a:pt x="1051" y="428"/>
                    </a:lnTo>
                    <a:lnTo>
                      <a:pt x="1051" y="428"/>
                    </a:lnTo>
                    <a:lnTo>
                      <a:pt x="1051" y="430"/>
                    </a:lnTo>
                    <a:lnTo>
                      <a:pt x="1051" y="430"/>
                    </a:lnTo>
                    <a:lnTo>
                      <a:pt x="1051" y="432"/>
                    </a:lnTo>
                    <a:lnTo>
                      <a:pt x="1051" y="432"/>
                    </a:lnTo>
                    <a:lnTo>
                      <a:pt x="1051" y="432"/>
                    </a:lnTo>
                    <a:lnTo>
                      <a:pt x="1051" y="432"/>
                    </a:lnTo>
                    <a:lnTo>
                      <a:pt x="1051" y="432"/>
                    </a:lnTo>
                    <a:lnTo>
                      <a:pt x="1051" y="435"/>
                    </a:lnTo>
                    <a:lnTo>
                      <a:pt x="1051" y="435"/>
                    </a:lnTo>
                    <a:lnTo>
                      <a:pt x="1051" y="435"/>
                    </a:lnTo>
                    <a:lnTo>
                      <a:pt x="1051" y="437"/>
                    </a:lnTo>
                    <a:lnTo>
                      <a:pt x="1051" y="437"/>
                    </a:lnTo>
                    <a:lnTo>
                      <a:pt x="1051" y="437"/>
                    </a:lnTo>
                    <a:lnTo>
                      <a:pt x="1049" y="439"/>
                    </a:lnTo>
                    <a:lnTo>
                      <a:pt x="1051" y="442"/>
                    </a:lnTo>
                    <a:lnTo>
                      <a:pt x="1049" y="442"/>
                    </a:lnTo>
                    <a:lnTo>
                      <a:pt x="1049" y="442"/>
                    </a:lnTo>
                    <a:lnTo>
                      <a:pt x="1047" y="442"/>
                    </a:lnTo>
                    <a:lnTo>
                      <a:pt x="1047" y="442"/>
                    </a:lnTo>
                    <a:lnTo>
                      <a:pt x="1047" y="444"/>
                    </a:lnTo>
                    <a:lnTo>
                      <a:pt x="1047" y="444"/>
                    </a:lnTo>
                    <a:lnTo>
                      <a:pt x="1044" y="444"/>
                    </a:lnTo>
                    <a:lnTo>
                      <a:pt x="1044" y="444"/>
                    </a:lnTo>
                    <a:lnTo>
                      <a:pt x="1044" y="447"/>
                    </a:lnTo>
                    <a:lnTo>
                      <a:pt x="1042" y="447"/>
                    </a:lnTo>
                    <a:lnTo>
                      <a:pt x="1042" y="449"/>
                    </a:lnTo>
                    <a:lnTo>
                      <a:pt x="1042" y="449"/>
                    </a:lnTo>
                    <a:lnTo>
                      <a:pt x="1042" y="451"/>
                    </a:lnTo>
                    <a:lnTo>
                      <a:pt x="1044" y="451"/>
                    </a:lnTo>
                    <a:lnTo>
                      <a:pt x="1044" y="454"/>
                    </a:lnTo>
                    <a:lnTo>
                      <a:pt x="1047" y="454"/>
                    </a:lnTo>
                    <a:lnTo>
                      <a:pt x="1049" y="454"/>
                    </a:lnTo>
                    <a:lnTo>
                      <a:pt x="1049" y="454"/>
                    </a:lnTo>
                    <a:lnTo>
                      <a:pt x="1049" y="456"/>
                    </a:lnTo>
                    <a:lnTo>
                      <a:pt x="1049" y="456"/>
                    </a:lnTo>
                    <a:lnTo>
                      <a:pt x="1051" y="456"/>
                    </a:lnTo>
                    <a:lnTo>
                      <a:pt x="1049" y="458"/>
                    </a:lnTo>
                    <a:lnTo>
                      <a:pt x="1051" y="456"/>
                    </a:lnTo>
                    <a:lnTo>
                      <a:pt x="1051" y="458"/>
                    </a:lnTo>
                    <a:lnTo>
                      <a:pt x="1056" y="458"/>
                    </a:lnTo>
                    <a:lnTo>
                      <a:pt x="1056" y="461"/>
                    </a:lnTo>
                    <a:lnTo>
                      <a:pt x="1056" y="461"/>
                    </a:lnTo>
                    <a:lnTo>
                      <a:pt x="1056" y="463"/>
                    </a:lnTo>
                    <a:lnTo>
                      <a:pt x="1056" y="463"/>
                    </a:lnTo>
                    <a:lnTo>
                      <a:pt x="1056" y="463"/>
                    </a:lnTo>
                    <a:lnTo>
                      <a:pt x="1059" y="465"/>
                    </a:lnTo>
                    <a:lnTo>
                      <a:pt x="1061" y="465"/>
                    </a:lnTo>
                    <a:lnTo>
                      <a:pt x="1061" y="465"/>
                    </a:lnTo>
                    <a:lnTo>
                      <a:pt x="1061" y="468"/>
                    </a:lnTo>
                    <a:lnTo>
                      <a:pt x="1063" y="468"/>
                    </a:lnTo>
                    <a:lnTo>
                      <a:pt x="1061" y="468"/>
                    </a:lnTo>
                    <a:lnTo>
                      <a:pt x="1061" y="468"/>
                    </a:lnTo>
                    <a:lnTo>
                      <a:pt x="1056" y="470"/>
                    </a:lnTo>
                    <a:lnTo>
                      <a:pt x="1056" y="468"/>
                    </a:lnTo>
                    <a:lnTo>
                      <a:pt x="1054" y="468"/>
                    </a:lnTo>
                    <a:lnTo>
                      <a:pt x="1054" y="468"/>
                    </a:lnTo>
                    <a:lnTo>
                      <a:pt x="1054" y="470"/>
                    </a:lnTo>
                    <a:lnTo>
                      <a:pt x="1051" y="470"/>
                    </a:lnTo>
                    <a:lnTo>
                      <a:pt x="1051" y="470"/>
                    </a:lnTo>
                    <a:lnTo>
                      <a:pt x="1049" y="470"/>
                    </a:lnTo>
                    <a:lnTo>
                      <a:pt x="1049" y="470"/>
                    </a:lnTo>
                    <a:lnTo>
                      <a:pt x="1047" y="470"/>
                    </a:lnTo>
                    <a:lnTo>
                      <a:pt x="1049" y="470"/>
                    </a:lnTo>
                    <a:lnTo>
                      <a:pt x="1049" y="468"/>
                    </a:lnTo>
                    <a:lnTo>
                      <a:pt x="1047" y="468"/>
                    </a:lnTo>
                    <a:lnTo>
                      <a:pt x="1044" y="468"/>
                    </a:lnTo>
                    <a:lnTo>
                      <a:pt x="1042" y="470"/>
                    </a:lnTo>
                    <a:lnTo>
                      <a:pt x="1042" y="468"/>
                    </a:lnTo>
                    <a:lnTo>
                      <a:pt x="1042" y="465"/>
                    </a:lnTo>
                    <a:lnTo>
                      <a:pt x="1042" y="465"/>
                    </a:lnTo>
                    <a:lnTo>
                      <a:pt x="1042" y="463"/>
                    </a:lnTo>
                    <a:lnTo>
                      <a:pt x="1040" y="463"/>
                    </a:lnTo>
                    <a:lnTo>
                      <a:pt x="1040" y="465"/>
                    </a:lnTo>
                    <a:lnTo>
                      <a:pt x="1037" y="465"/>
                    </a:lnTo>
                    <a:lnTo>
                      <a:pt x="1035" y="465"/>
                    </a:lnTo>
                    <a:lnTo>
                      <a:pt x="1035" y="468"/>
                    </a:lnTo>
                    <a:lnTo>
                      <a:pt x="1035" y="470"/>
                    </a:lnTo>
                    <a:lnTo>
                      <a:pt x="1033" y="470"/>
                    </a:lnTo>
                    <a:lnTo>
                      <a:pt x="1033" y="470"/>
                    </a:lnTo>
                    <a:lnTo>
                      <a:pt x="1033" y="470"/>
                    </a:lnTo>
                    <a:lnTo>
                      <a:pt x="1033" y="473"/>
                    </a:lnTo>
                    <a:lnTo>
                      <a:pt x="1030" y="473"/>
                    </a:lnTo>
                    <a:lnTo>
                      <a:pt x="1030" y="473"/>
                    </a:lnTo>
                    <a:lnTo>
                      <a:pt x="1030" y="473"/>
                    </a:lnTo>
                    <a:lnTo>
                      <a:pt x="1028" y="473"/>
                    </a:lnTo>
                    <a:lnTo>
                      <a:pt x="1028" y="475"/>
                    </a:lnTo>
                    <a:lnTo>
                      <a:pt x="1023" y="475"/>
                    </a:lnTo>
                    <a:lnTo>
                      <a:pt x="1023" y="475"/>
                    </a:lnTo>
                    <a:lnTo>
                      <a:pt x="1023" y="475"/>
                    </a:lnTo>
                    <a:lnTo>
                      <a:pt x="1021" y="475"/>
                    </a:lnTo>
                    <a:lnTo>
                      <a:pt x="1021" y="475"/>
                    </a:lnTo>
                    <a:lnTo>
                      <a:pt x="1021" y="475"/>
                    </a:lnTo>
                    <a:lnTo>
                      <a:pt x="1021" y="475"/>
                    </a:lnTo>
                    <a:lnTo>
                      <a:pt x="1021" y="475"/>
                    </a:lnTo>
                    <a:lnTo>
                      <a:pt x="1021" y="477"/>
                    </a:lnTo>
                    <a:lnTo>
                      <a:pt x="1021" y="480"/>
                    </a:lnTo>
                    <a:lnTo>
                      <a:pt x="1021" y="480"/>
                    </a:lnTo>
                    <a:lnTo>
                      <a:pt x="1021" y="480"/>
                    </a:lnTo>
                    <a:lnTo>
                      <a:pt x="1023" y="480"/>
                    </a:lnTo>
                    <a:lnTo>
                      <a:pt x="1023" y="480"/>
                    </a:lnTo>
                    <a:lnTo>
                      <a:pt x="1023" y="480"/>
                    </a:lnTo>
                    <a:lnTo>
                      <a:pt x="1025" y="480"/>
                    </a:lnTo>
                    <a:lnTo>
                      <a:pt x="1023" y="480"/>
                    </a:lnTo>
                    <a:lnTo>
                      <a:pt x="1023" y="480"/>
                    </a:lnTo>
                    <a:lnTo>
                      <a:pt x="1021" y="482"/>
                    </a:lnTo>
                    <a:lnTo>
                      <a:pt x="1021" y="482"/>
                    </a:lnTo>
                    <a:lnTo>
                      <a:pt x="1021" y="482"/>
                    </a:lnTo>
                    <a:lnTo>
                      <a:pt x="1018" y="484"/>
                    </a:lnTo>
                    <a:lnTo>
                      <a:pt x="1018" y="484"/>
                    </a:lnTo>
                    <a:lnTo>
                      <a:pt x="1021" y="484"/>
                    </a:lnTo>
                    <a:lnTo>
                      <a:pt x="1018" y="487"/>
                    </a:lnTo>
                    <a:lnTo>
                      <a:pt x="1018" y="489"/>
                    </a:lnTo>
                    <a:lnTo>
                      <a:pt x="1018" y="487"/>
                    </a:lnTo>
                    <a:lnTo>
                      <a:pt x="1018" y="484"/>
                    </a:lnTo>
                    <a:lnTo>
                      <a:pt x="1016" y="484"/>
                    </a:lnTo>
                    <a:lnTo>
                      <a:pt x="1014" y="484"/>
                    </a:lnTo>
                    <a:lnTo>
                      <a:pt x="1016" y="484"/>
                    </a:lnTo>
                    <a:lnTo>
                      <a:pt x="1014" y="484"/>
                    </a:lnTo>
                    <a:lnTo>
                      <a:pt x="1014" y="484"/>
                    </a:lnTo>
                    <a:lnTo>
                      <a:pt x="1011" y="484"/>
                    </a:lnTo>
                    <a:lnTo>
                      <a:pt x="1014" y="487"/>
                    </a:lnTo>
                    <a:lnTo>
                      <a:pt x="1014" y="487"/>
                    </a:lnTo>
                    <a:lnTo>
                      <a:pt x="1014" y="487"/>
                    </a:lnTo>
                    <a:lnTo>
                      <a:pt x="1014" y="489"/>
                    </a:lnTo>
                    <a:lnTo>
                      <a:pt x="1014" y="489"/>
                    </a:lnTo>
                    <a:lnTo>
                      <a:pt x="1014" y="489"/>
                    </a:lnTo>
                    <a:lnTo>
                      <a:pt x="1014" y="489"/>
                    </a:lnTo>
                    <a:lnTo>
                      <a:pt x="1014" y="487"/>
                    </a:lnTo>
                    <a:lnTo>
                      <a:pt x="1011" y="487"/>
                    </a:lnTo>
                    <a:lnTo>
                      <a:pt x="1011" y="487"/>
                    </a:lnTo>
                    <a:lnTo>
                      <a:pt x="1011" y="484"/>
                    </a:lnTo>
                    <a:lnTo>
                      <a:pt x="1009" y="484"/>
                    </a:lnTo>
                    <a:lnTo>
                      <a:pt x="1009" y="484"/>
                    </a:lnTo>
                    <a:lnTo>
                      <a:pt x="1009" y="484"/>
                    </a:lnTo>
                    <a:lnTo>
                      <a:pt x="1007" y="484"/>
                    </a:lnTo>
                    <a:lnTo>
                      <a:pt x="1007" y="484"/>
                    </a:lnTo>
                    <a:lnTo>
                      <a:pt x="1007" y="484"/>
                    </a:lnTo>
                    <a:lnTo>
                      <a:pt x="1007" y="487"/>
                    </a:lnTo>
                    <a:lnTo>
                      <a:pt x="1009" y="487"/>
                    </a:lnTo>
                    <a:lnTo>
                      <a:pt x="1007" y="489"/>
                    </a:lnTo>
                    <a:lnTo>
                      <a:pt x="1009" y="489"/>
                    </a:lnTo>
                    <a:lnTo>
                      <a:pt x="1009" y="491"/>
                    </a:lnTo>
                    <a:lnTo>
                      <a:pt x="1007" y="491"/>
                    </a:lnTo>
                    <a:lnTo>
                      <a:pt x="1007" y="491"/>
                    </a:lnTo>
                    <a:lnTo>
                      <a:pt x="1004" y="491"/>
                    </a:lnTo>
                    <a:lnTo>
                      <a:pt x="1004" y="491"/>
                    </a:lnTo>
                    <a:lnTo>
                      <a:pt x="1004" y="489"/>
                    </a:lnTo>
                    <a:lnTo>
                      <a:pt x="1004" y="489"/>
                    </a:lnTo>
                    <a:lnTo>
                      <a:pt x="1004" y="489"/>
                    </a:lnTo>
                    <a:lnTo>
                      <a:pt x="1002" y="489"/>
                    </a:lnTo>
                    <a:lnTo>
                      <a:pt x="999" y="491"/>
                    </a:lnTo>
                    <a:lnTo>
                      <a:pt x="999" y="491"/>
                    </a:lnTo>
                    <a:lnTo>
                      <a:pt x="1002" y="491"/>
                    </a:lnTo>
                    <a:lnTo>
                      <a:pt x="1002" y="491"/>
                    </a:lnTo>
                    <a:lnTo>
                      <a:pt x="1002" y="491"/>
                    </a:lnTo>
                    <a:lnTo>
                      <a:pt x="1002" y="494"/>
                    </a:lnTo>
                    <a:lnTo>
                      <a:pt x="1002" y="494"/>
                    </a:lnTo>
                    <a:lnTo>
                      <a:pt x="1002" y="494"/>
                    </a:lnTo>
                    <a:lnTo>
                      <a:pt x="1002" y="494"/>
                    </a:lnTo>
                    <a:lnTo>
                      <a:pt x="1002" y="496"/>
                    </a:lnTo>
                    <a:lnTo>
                      <a:pt x="1002" y="496"/>
                    </a:lnTo>
                    <a:lnTo>
                      <a:pt x="997" y="496"/>
                    </a:lnTo>
                    <a:lnTo>
                      <a:pt x="997" y="499"/>
                    </a:lnTo>
                    <a:lnTo>
                      <a:pt x="995" y="499"/>
                    </a:lnTo>
                    <a:lnTo>
                      <a:pt x="997" y="499"/>
                    </a:lnTo>
                    <a:lnTo>
                      <a:pt x="995" y="496"/>
                    </a:lnTo>
                    <a:lnTo>
                      <a:pt x="995" y="499"/>
                    </a:lnTo>
                    <a:lnTo>
                      <a:pt x="995" y="496"/>
                    </a:lnTo>
                    <a:lnTo>
                      <a:pt x="992" y="496"/>
                    </a:lnTo>
                    <a:lnTo>
                      <a:pt x="992" y="496"/>
                    </a:lnTo>
                    <a:lnTo>
                      <a:pt x="992" y="496"/>
                    </a:lnTo>
                    <a:lnTo>
                      <a:pt x="992" y="494"/>
                    </a:lnTo>
                    <a:lnTo>
                      <a:pt x="992" y="494"/>
                    </a:lnTo>
                    <a:lnTo>
                      <a:pt x="990" y="494"/>
                    </a:lnTo>
                    <a:lnTo>
                      <a:pt x="988" y="496"/>
                    </a:lnTo>
                    <a:lnTo>
                      <a:pt x="985" y="499"/>
                    </a:lnTo>
                    <a:lnTo>
                      <a:pt x="983" y="501"/>
                    </a:lnTo>
                    <a:lnTo>
                      <a:pt x="983" y="501"/>
                    </a:lnTo>
                    <a:lnTo>
                      <a:pt x="981" y="503"/>
                    </a:lnTo>
                    <a:lnTo>
                      <a:pt x="981" y="501"/>
                    </a:lnTo>
                    <a:lnTo>
                      <a:pt x="978" y="503"/>
                    </a:lnTo>
                    <a:lnTo>
                      <a:pt x="978" y="503"/>
                    </a:lnTo>
                    <a:lnTo>
                      <a:pt x="978" y="501"/>
                    </a:lnTo>
                    <a:lnTo>
                      <a:pt x="976" y="501"/>
                    </a:lnTo>
                    <a:lnTo>
                      <a:pt x="976" y="503"/>
                    </a:lnTo>
                    <a:lnTo>
                      <a:pt x="973" y="506"/>
                    </a:lnTo>
                    <a:lnTo>
                      <a:pt x="973" y="510"/>
                    </a:lnTo>
                    <a:lnTo>
                      <a:pt x="973" y="513"/>
                    </a:lnTo>
                    <a:lnTo>
                      <a:pt x="976" y="515"/>
                    </a:lnTo>
                    <a:lnTo>
                      <a:pt x="976" y="515"/>
                    </a:lnTo>
                    <a:lnTo>
                      <a:pt x="978" y="515"/>
                    </a:lnTo>
                    <a:lnTo>
                      <a:pt x="978" y="517"/>
                    </a:lnTo>
                    <a:lnTo>
                      <a:pt x="976" y="517"/>
                    </a:lnTo>
                    <a:lnTo>
                      <a:pt x="978" y="522"/>
                    </a:lnTo>
                    <a:lnTo>
                      <a:pt x="978" y="525"/>
                    </a:lnTo>
                    <a:lnTo>
                      <a:pt x="978" y="527"/>
                    </a:lnTo>
                    <a:lnTo>
                      <a:pt x="976" y="525"/>
                    </a:lnTo>
                    <a:lnTo>
                      <a:pt x="976" y="527"/>
                    </a:lnTo>
                    <a:lnTo>
                      <a:pt x="976" y="527"/>
                    </a:lnTo>
                    <a:lnTo>
                      <a:pt x="976" y="527"/>
                    </a:lnTo>
                    <a:lnTo>
                      <a:pt x="973" y="529"/>
                    </a:lnTo>
                    <a:lnTo>
                      <a:pt x="973" y="527"/>
                    </a:lnTo>
                    <a:lnTo>
                      <a:pt x="971" y="529"/>
                    </a:lnTo>
                    <a:lnTo>
                      <a:pt x="971" y="527"/>
                    </a:lnTo>
                    <a:lnTo>
                      <a:pt x="969" y="527"/>
                    </a:lnTo>
                    <a:lnTo>
                      <a:pt x="966" y="529"/>
                    </a:lnTo>
                    <a:lnTo>
                      <a:pt x="966" y="529"/>
                    </a:lnTo>
                    <a:lnTo>
                      <a:pt x="966" y="529"/>
                    </a:lnTo>
                    <a:lnTo>
                      <a:pt x="964" y="529"/>
                    </a:lnTo>
                    <a:lnTo>
                      <a:pt x="964" y="529"/>
                    </a:lnTo>
                    <a:lnTo>
                      <a:pt x="964" y="529"/>
                    </a:lnTo>
                    <a:lnTo>
                      <a:pt x="964" y="529"/>
                    </a:lnTo>
                    <a:lnTo>
                      <a:pt x="959" y="529"/>
                    </a:lnTo>
                    <a:lnTo>
                      <a:pt x="959" y="527"/>
                    </a:lnTo>
                    <a:lnTo>
                      <a:pt x="959" y="527"/>
                    </a:lnTo>
                    <a:lnTo>
                      <a:pt x="957" y="527"/>
                    </a:lnTo>
                    <a:lnTo>
                      <a:pt x="957" y="525"/>
                    </a:lnTo>
                    <a:lnTo>
                      <a:pt x="957" y="525"/>
                    </a:lnTo>
                    <a:lnTo>
                      <a:pt x="955" y="525"/>
                    </a:lnTo>
                    <a:lnTo>
                      <a:pt x="952" y="525"/>
                    </a:lnTo>
                    <a:lnTo>
                      <a:pt x="950" y="525"/>
                    </a:lnTo>
                    <a:lnTo>
                      <a:pt x="950" y="525"/>
                    </a:lnTo>
                    <a:lnTo>
                      <a:pt x="947" y="525"/>
                    </a:lnTo>
                    <a:lnTo>
                      <a:pt x="950" y="522"/>
                    </a:lnTo>
                    <a:lnTo>
                      <a:pt x="947" y="522"/>
                    </a:lnTo>
                    <a:lnTo>
                      <a:pt x="947" y="522"/>
                    </a:lnTo>
                    <a:lnTo>
                      <a:pt x="947" y="522"/>
                    </a:lnTo>
                    <a:lnTo>
                      <a:pt x="945" y="522"/>
                    </a:lnTo>
                    <a:lnTo>
                      <a:pt x="945" y="522"/>
                    </a:lnTo>
                    <a:lnTo>
                      <a:pt x="945" y="522"/>
                    </a:lnTo>
                    <a:lnTo>
                      <a:pt x="943" y="522"/>
                    </a:lnTo>
                    <a:lnTo>
                      <a:pt x="940" y="522"/>
                    </a:lnTo>
                    <a:lnTo>
                      <a:pt x="940" y="522"/>
                    </a:lnTo>
                    <a:lnTo>
                      <a:pt x="940" y="520"/>
                    </a:lnTo>
                    <a:lnTo>
                      <a:pt x="938" y="520"/>
                    </a:lnTo>
                    <a:lnTo>
                      <a:pt x="938" y="520"/>
                    </a:lnTo>
                    <a:lnTo>
                      <a:pt x="938" y="520"/>
                    </a:lnTo>
                    <a:lnTo>
                      <a:pt x="936" y="520"/>
                    </a:lnTo>
                    <a:lnTo>
                      <a:pt x="931" y="520"/>
                    </a:lnTo>
                    <a:lnTo>
                      <a:pt x="931" y="520"/>
                    </a:lnTo>
                    <a:lnTo>
                      <a:pt x="931" y="520"/>
                    </a:lnTo>
                    <a:lnTo>
                      <a:pt x="926" y="520"/>
                    </a:lnTo>
                    <a:lnTo>
                      <a:pt x="926" y="520"/>
                    </a:lnTo>
                    <a:lnTo>
                      <a:pt x="926" y="520"/>
                    </a:lnTo>
                    <a:lnTo>
                      <a:pt x="922" y="520"/>
                    </a:lnTo>
                    <a:lnTo>
                      <a:pt x="914" y="520"/>
                    </a:lnTo>
                    <a:lnTo>
                      <a:pt x="905" y="522"/>
                    </a:lnTo>
                    <a:lnTo>
                      <a:pt x="903" y="525"/>
                    </a:lnTo>
                    <a:lnTo>
                      <a:pt x="903" y="525"/>
                    </a:lnTo>
                    <a:lnTo>
                      <a:pt x="900" y="525"/>
                    </a:lnTo>
                    <a:lnTo>
                      <a:pt x="898" y="527"/>
                    </a:lnTo>
                    <a:lnTo>
                      <a:pt x="896" y="527"/>
                    </a:lnTo>
                    <a:lnTo>
                      <a:pt x="896" y="527"/>
                    </a:lnTo>
                    <a:lnTo>
                      <a:pt x="896" y="529"/>
                    </a:lnTo>
                    <a:lnTo>
                      <a:pt x="896" y="529"/>
                    </a:lnTo>
                    <a:lnTo>
                      <a:pt x="896" y="527"/>
                    </a:lnTo>
                    <a:lnTo>
                      <a:pt x="896" y="527"/>
                    </a:lnTo>
                    <a:lnTo>
                      <a:pt x="893" y="527"/>
                    </a:lnTo>
                    <a:lnTo>
                      <a:pt x="891" y="527"/>
                    </a:lnTo>
                    <a:lnTo>
                      <a:pt x="886" y="529"/>
                    </a:lnTo>
                    <a:lnTo>
                      <a:pt x="884" y="529"/>
                    </a:lnTo>
                    <a:lnTo>
                      <a:pt x="884" y="532"/>
                    </a:lnTo>
                    <a:lnTo>
                      <a:pt x="884" y="532"/>
                    </a:lnTo>
                    <a:lnTo>
                      <a:pt x="884" y="534"/>
                    </a:lnTo>
                    <a:lnTo>
                      <a:pt x="886" y="532"/>
                    </a:lnTo>
                    <a:lnTo>
                      <a:pt x="884" y="534"/>
                    </a:lnTo>
                    <a:lnTo>
                      <a:pt x="884" y="534"/>
                    </a:lnTo>
                    <a:lnTo>
                      <a:pt x="884" y="536"/>
                    </a:lnTo>
                    <a:lnTo>
                      <a:pt x="881" y="536"/>
                    </a:lnTo>
                    <a:lnTo>
                      <a:pt x="881" y="539"/>
                    </a:lnTo>
                    <a:lnTo>
                      <a:pt x="884" y="539"/>
                    </a:lnTo>
                    <a:lnTo>
                      <a:pt x="881" y="539"/>
                    </a:lnTo>
                    <a:lnTo>
                      <a:pt x="881" y="539"/>
                    </a:lnTo>
                    <a:lnTo>
                      <a:pt x="879" y="541"/>
                    </a:lnTo>
                    <a:lnTo>
                      <a:pt x="879" y="543"/>
                    </a:lnTo>
                    <a:lnTo>
                      <a:pt x="879" y="543"/>
                    </a:lnTo>
                    <a:lnTo>
                      <a:pt x="881" y="543"/>
                    </a:lnTo>
                    <a:lnTo>
                      <a:pt x="881" y="543"/>
                    </a:lnTo>
                    <a:lnTo>
                      <a:pt x="881" y="543"/>
                    </a:lnTo>
                    <a:lnTo>
                      <a:pt x="881" y="543"/>
                    </a:lnTo>
                    <a:lnTo>
                      <a:pt x="879" y="546"/>
                    </a:lnTo>
                    <a:lnTo>
                      <a:pt x="877" y="546"/>
                    </a:lnTo>
                    <a:lnTo>
                      <a:pt x="877" y="548"/>
                    </a:lnTo>
                    <a:lnTo>
                      <a:pt x="877" y="548"/>
                    </a:lnTo>
                    <a:lnTo>
                      <a:pt x="879" y="548"/>
                    </a:lnTo>
                    <a:lnTo>
                      <a:pt x="877" y="548"/>
                    </a:lnTo>
                    <a:lnTo>
                      <a:pt x="877" y="550"/>
                    </a:lnTo>
                    <a:lnTo>
                      <a:pt x="877" y="550"/>
                    </a:lnTo>
                    <a:lnTo>
                      <a:pt x="874" y="550"/>
                    </a:lnTo>
                    <a:lnTo>
                      <a:pt x="877" y="548"/>
                    </a:lnTo>
                    <a:lnTo>
                      <a:pt x="874" y="548"/>
                    </a:lnTo>
                    <a:lnTo>
                      <a:pt x="870" y="548"/>
                    </a:lnTo>
                    <a:lnTo>
                      <a:pt x="867" y="550"/>
                    </a:lnTo>
                    <a:lnTo>
                      <a:pt x="867" y="553"/>
                    </a:lnTo>
                    <a:lnTo>
                      <a:pt x="867" y="553"/>
                    </a:lnTo>
                    <a:lnTo>
                      <a:pt x="867" y="553"/>
                    </a:lnTo>
                    <a:lnTo>
                      <a:pt x="867" y="553"/>
                    </a:lnTo>
                    <a:lnTo>
                      <a:pt x="865" y="553"/>
                    </a:lnTo>
                    <a:lnTo>
                      <a:pt x="865" y="555"/>
                    </a:lnTo>
                    <a:lnTo>
                      <a:pt x="865" y="558"/>
                    </a:lnTo>
                    <a:lnTo>
                      <a:pt x="865" y="555"/>
                    </a:lnTo>
                    <a:lnTo>
                      <a:pt x="865" y="555"/>
                    </a:lnTo>
                    <a:lnTo>
                      <a:pt x="865" y="553"/>
                    </a:lnTo>
                    <a:lnTo>
                      <a:pt x="865" y="553"/>
                    </a:lnTo>
                    <a:lnTo>
                      <a:pt x="862" y="553"/>
                    </a:lnTo>
                    <a:lnTo>
                      <a:pt x="862" y="555"/>
                    </a:lnTo>
                    <a:lnTo>
                      <a:pt x="862" y="553"/>
                    </a:lnTo>
                    <a:lnTo>
                      <a:pt x="862" y="553"/>
                    </a:lnTo>
                    <a:lnTo>
                      <a:pt x="860" y="553"/>
                    </a:lnTo>
                    <a:lnTo>
                      <a:pt x="860" y="550"/>
                    </a:lnTo>
                    <a:lnTo>
                      <a:pt x="862" y="550"/>
                    </a:lnTo>
                    <a:lnTo>
                      <a:pt x="862" y="548"/>
                    </a:lnTo>
                    <a:lnTo>
                      <a:pt x="860" y="548"/>
                    </a:lnTo>
                    <a:lnTo>
                      <a:pt x="858" y="546"/>
                    </a:lnTo>
                    <a:lnTo>
                      <a:pt x="855" y="546"/>
                    </a:lnTo>
                    <a:lnTo>
                      <a:pt x="855" y="546"/>
                    </a:lnTo>
                    <a:lnTo>
                      <a:pt x="855" y="548"/>
                    </a:lnTo>
                    <a:lnTo>
                      <a:pt x="855" y="548"/>
                    </a:lnTo>
                    <a:lnTo>
                      <a:pt x="853" y="546"/>
                    </a:lnTo>
                    <a:lnTo>
                      <a:pt x="853" y="546"/>
                    </a:lnTo>
                    <a:lnTo>
                      <a:pt x="853" y="548"/>
                    </a:lnTo>
                    <a:lnTo>
                      <a:pt x="853" y="548"/>
                    </a:lnTo>
                    <a:lnTo>
                      <a:pt x="853" y="548"/>
                    </a:lnTo>
                    <a:lnTo>
                      <a:pt x="853" y="550"/>
                    </a:lnTo>
                    <a:lnTo>
                      <a:pt x="853" y="550"/>
                    </a:lnTo>
                    <a:lnTo>
                      <a:pt x="853" y="550"/>
                    </a:lnTo>
                    <a:lnTo>
                      <a:pt x="853" y="553"/>
                    </a:lnTo>
                    <a:lnTo>
                      <a:pt x="853" y="553"/>
                    </a:lnTo>
                    <a:lnTo>
                      <a:pt x="853" y="553"/>
                    </a:lnTo>
                    <a:lnTo>
                      <a:pt x="853" y="553"/>
                    </a:lnTo>
                    <a:lnTo>
                      <a:pt x="851" y="555"/>
                    </a:lnTo>
                    <a:lnTo>
                      <a:pt x="851" y="555"/>
                    </a:lnTo>
                    <a:lnTo>
                      <a:pt x="851" y="553"/>
                    </a:lnTo>
                    <a:lnTo>
                      <a:pt x="848" y="553"/>
                    </a:lnTo>
                    <a:lnTo>
                      <a:pt x="844" y="553"/>
                    </a:lnTo>
                    <a:lnTo>
                      <a:pt x="839" y="555"/>
                    </a:lnTo>
                    <a:lnTo>
                      <a:pt x="825" y="562"/>
                    </a:lnTo>
                    <a:lnTo>
                      <a:pt x="810" y="569"/>
                    </a:lnTo>
                    <a:lnTo>
                      <a:pt x="801" y="574"/>
                    </a:lnTo>
                    <a:lnTo>
                      <a:pt x="799" y="576"/>
                    </a:lnTo>
                    <a:lnTo>
                      <a:pt x="796" y="576"/>
                    </a:lnTo>
                    <a:lnTo>
                      <a:pt x="789" y="584"/>
                    </a:lnTo>
                    <a:lnTo>
                      <a:pt x="782" y="586"/>
                    </a:lnTo>
                    <a:lnTo>
                      <a:pt x="775" y="593"/>
                    </a:lnTo>
                    <a:lnTo>
                      <a:pt x="775" y="595"/>
                    </a:lnTo>
                    <a:lnTo>
                      <a:pt x="775" y="598"/>
                    </a:lnTo>
                    <a:lnTo>
                      <a:pt x="773" y="598"/>
                    </a:lnTo>
                    <a:lnTo>
                      <a:pt x="773" y="600"/>
                    </a:lnTo>
                    <a:lnTo>
                      <a:pt x="773" y="600"/>
                    </a:lnTo>
                    <a:lnTo>
                      <a:pt x="773" y="602"/>
                    </a:lnTo>
                    <a:lnTo>
                      <a:pt x="773" y="602"/>
                    </a:lnTo>
                    <a:lnTo>
                      <a:pt x="775" y="602"/>
                    </a:lnTo>
                    <a:lnTo>
                      <a:pt x="773" y="602"/>
                    </a:lnTo>
                    <a:lnTo>
                      <a:pt x="775" y="605"/>
                    </a:lnTo>
                    <a:lnTo>
                      <a:pt x="773" y="605"/>
                    </a:lnTo>
                    <a:lnTo>
                      <a:pt x="773" y="605"/>
                    </a:lnTo>
                    <a:lnTo>
                      <a:pt x="773" y="605"/>
                    </a:lnTo>
                    <a:lnTo>
                      <a:pt x="773" y="605"/>
                    </a:lnTo>
                    <a:lnTo>
                      <a:pt x="773" y="607"/>
                    </a:lnTo>
                    <a:lnTo>
                      <a:pt x="770" y="607"/>
                    </a:lnTo>
                    <a:lnTo>
                      <a:pt x="768" y="607"/>
                    </a:lnTo>
                    <a:lnTo>
                      <a:pt x="766" y="610"/>
                    </a:lnTo>
                    <a:lnTo>
                      <a:pt x="763" y="610"/>
                    </a:lnTo>
                    <a:lnTo>
                      <a:pt x="756" y="614"/>
                    </a:lnTo>
                    <a:lnTo>
                      <a:pt x="751" y="619"/>
                    </a:lnTo>
                    <a:lnTo>
                      <a:pt x="751" y="619"/>
                    </a:lnTo>
                    <a:lnTo>
                      <a:pt x="751" y="621"/>
                    </a:lnTo>
                    <a:lnTo>
                      <a:pt x="749" y="621"/>
                    </a:lnTo>
                    <a:lnTo>
                      <a:pt x="747" y="624"/>
                    </a:lnTo>
                    <a:lnTo>
                      <a:pt x="747" y="626"/>
                    </a:lnTo>
                    <a:lnTo>
                      <a:pt x="742" y="626"/>
                    </a:lnTo>
                    <a:lnTo>
                      <a:pt x="725" y="638"/>
                    </a:lnTo>
                    <a:lnTo>
                      <a:pt x="723" y="638"/>
                    </a:lnTo>
                    <a:lnTo>
                      <a:pt x="723" y="638"/>
                    </a:lnTo>
                    <a:lnTo>
                      <a:pt x="718" y="640"/>
                    </a:lnTo>
                    <a:lnTo>
                      <a:pt x="718" y="643"/>
                    </a:lnTo>
                    <a:lnTo>
                      <a:pt x="711" y="645"/>
                    </a:lnTo>
                    <a:lnTo>
                      <a:pt x="707" y="647"/>
                    </a:lnTo>
                    <a:lnTo>
                      <a:pt x="697" y="654"/>
                    </a:lnTo>
                    <a:lnTo>
                      <a:pt x="692" y="657"/>
                    </a:lnTo>
                    <a:lnTo>
                      <a:pt x="676" y="669"/>
                    </a:lnTo>
                    <a:lnTo>
                      <a:pt x="669" y="678"/>
                    </a:lnTo>
                    <a:lnTo>
                      <a:pt x="664" y="683"/>
                    </a:lnTo>
                    <a:lnTo>
                      <a:pt x="662" y="685"/>
                    </a:lnTo>
                    <a:lnTo>
                      <a:pt x="662" y="690"/>
                    </a:lnTo>
                    <a:lnTo>
                      <a:pt x="659" y="690"/>
                    </a:lnTo>
                    <a:lnTo>
                      <a:pt x="659" y="690"/>
                    </a:lnTo>
                    <a:lnTo>
                      <a:pt x="659" y="692"/>
                    </a:lnTo>
                    <a:lnTo>
                      <a:pt x="662" y="692"/>
                    </a:lnTo>
                    <a:lnTo>
                      <a:pt x="662" y="695"/>
                    </a:lnTo>
                    <a:lnTo>
                      <a:pt x="662" y="695"/>
                    </a:lnTo>
                    <a:lnTo>
                      <a:pt x="659" y="697"/>
                    </a:lnTo>
                    <a:lnTo>
                      <a:pt x="659" y="702"/>
                    </a:lnTo>
                    <a:lnTo>
                      <a:pt x="659" y="702"/>
                    </a:lnTo>
                    <a:lnTo>
                      <a:pt x="659" y="702"/>
                    </a:lnTo>
                    <a:lnTo>
                      <a:pt x="659" y="702"/>
                    </a:lnTo>
                    <a:lnTo>
                      <a:pt x="659" y="704"/>
                    </a:lnTo>
                    <a:lnTo>
                      <a:pt x="659" y="702"/>
                    </a:lnTo>
                    <a:lnTo>
                      <a:pt x="659" y="702"/>
                    </a:lnTo>
                    <a:lnTo>
                      <a:pt x="657" y="702"/>
                    </a:lnTo>
                    <a:lnTo>
                      <a:pt x="655" y="704"/>
                    </a:lnTo>
                    <a:lnTo>
                      <a:pt x="652" y="709"/>
                    </a:lnTo>
                    <a:lnTo>
                      <a:pt x="645" y="713"/>
                    </a:lnTo>
                    <a:lnTo>
                      <a:pt x="636" y="723"/>
                    </a:lnTo>
                    <a:lnTo>
                      <a:pt x="636" y="723"/>
                    </a:lnTo>
                    <a:lnTo>
                      <a:pt x="636" y="721"/>
                    </a:lnTo>
                    <a:lnTo>
                      <a:pt x="636" y="718"/>
                    </a:lnTo>
                    <a:lnTo>
                      <a:pt x="645" y="711"/>
                    </a:lnTo>
                    <a:lnTo>
                      <a:pt x="643" y="711"/>
                    </a:lnTo>
                    <a:lnTo>
                      <a:pt x="645" y="711"/>
                    </a:lnTo>
                    <a:lnTo>
                      <a:pt x="643" y="711"/>
                    </a:lnTo>
                    <a:lnTo>
                      <a:pt x="643" y="711"/>
                    </a:lnTo>
                    <a:lnTo>
                      <a:pt x="643" y="711"/>
                    </a:lnTo>
                    <a:lnTo>
                      <a:pt x="640" y="711"/>
                    </a:lnTo>
                    <a:lnTo>
                      <a:pt x="640" y="711"/>
                    </a:lnTo>
                    <a:lnTo>
                      <a:pt x="640" y="711"/>
                    </a:lnTo>
                    <a:lnTo>
                      <a:pt x="640" y="713"/>
                    </a:lnTo>
                    <a:lnTo>
                      <a:pt x="638" y="713"/>
                    </a:lnTo>
                    <a:lnTo>
                      <a:pt x="638" y="713"/>
                    </a:lnTo>
                    <a:lnTo>
                      <a:pt x="636" y="713"/>
                    </a:lnTo>
                    <a:lnTo>
                      <a:pt x="636" y="713"/>
                    </a:lnTo>
                    <a:lnTo>
                      <a:pt x="633" y="713"/>
                    </a:lnTo>
                    <a:lnTo>
                      <a:pt x="629" y="711"/>
                    </a:lnTo>
                    <a:lnTo>
                      <a:pt x="629" y="711"/>
                    </a:lnTo>
                    <a:lnTo>
                      <a:pt x="626" y="709"/>
                    </a:lnTo>
                    <a:lnTo>
                      <a:pt x="626" y="709"/>
                    </a:lnTo>
                    <a:lnTo>
                      <a:pt x="624" y="709"/>
                    </a:lnTo>
                    <a:lnTo>
                      <a:pt x="624" y="706"/>
                    </a:lnTo>
                    <a:lnTo>
                      <a:pt x="626" y="704"/>
                    </a:lnTo>
                    <a:lnTo>
                      <a:pt x="626" y="704"/>
                    </a:lnTo>
                    <a:lnTo>
                      <a:pt x="626" y="702"/>
                    </a:lnTo>
                    <a:lnTo>
                      <a:pt x="626" y="702"/>
                    </a:lnTo>
                    <a:lnTo>
                      <a:pt x="629" y="702"/>
                    </a:lnTo>
                    <a:lnTo>
                      <a:pt x="626" y="699"/>
                    </a:lnTo>
                    <a:lnTo>
                      <a:pt x="624" y="699"/>
                    </a:lnTo>
                    <a:lnTo>
                      <a:pt x="624" y="699"/>
                    </a:lnTo>
                    <a:lnTo>
                      <a:pt x="624" y="697"/>
                    </a:lnTo>
                    <a:lnTo>
                      <a:pt x="624" y="695"/>
                    </a:lnTo>
                    <a:lnTo>
                      <a:pt x="621" y="692"/>
                    </a:lnTo>
                    <a:lnTo>
                      <a:pt x="621" y="692"/>
                    </a:lnTo>
                    <a:lnTo>
                      <a:pt x="619" y="692"/>
                    </a:lnTo>
                    <a:lnTo>
                      <a:pt x="621" y="690"/>
                    </a:lnTo>
                    <a:lnTo>
                      <a:pt x="619" y="688"/>
                    </a:lnTo>
                    <a:lnTo>
                      <a:pt x="621" y="685"/>
                    </a:lnTo>
                    <a:lnTo>
                      <a:pt x="621" y="685"/>
                    </a:lnTo>
                    <a:lnTo>
                      <a:pt x="619" y="685"/>
                    </a:lnTo>
                    <a:lnTo>
                      <a:pt x="619" y="685"/>
                    </a:lnTo>
                    <a:lnTo>
                      <a:pt x="619" y="683"/>
                    </a:lnTo>
                    <a:lnTo>
                      <a:pt x="619" y="683"/>
                    </a:lnTo>
                    <a:lnTo>
                      <a:pt x="619" y="683"/>
                    </a:lnTo>
                    <a:lnTo>
                      <a:pt x="619" y="683"/>
                    </a:lnTo>
                    <a:lnTo>
                      <a:pt x="617" y="680"/>
                    </a:lnTo>
                    <a:lnTo>
                      <a:pt x="617" y="680"/>
                    </a:lnTo>
                    <a:lnTo>
                      <a:pt x="617" y="678"/>
                    </a:lnTo>
                    <a:lnTo>
                      <a:pt x="614" y="678"/>
                    </a:lnTo>
                    <a:lnTo>
                      <a:pt x="614" y="680"/>
                    </a:lnTo>
                    <a:lnTo>
                      <a:pt x="614" y="680"/>
                    </a:lnTo>
                    <a:lnTo>
                      <a:pt x="614" y="680"/>
                    </a:lnTo>
                    <a:lnTo>
                      <a:pt x="614" y="680"/>
                    </a:lnTo>
                    <a:lnTo>
                      <a:pt x="614" y="683"/>
                    </a:lnTo>
                    <a:lnTo>
                      <a:pt x="614" y="683"/>
                    </a:lnTo>
                    <a:lnTo>
                      <a:pt x="612" y="683"/>
                    </a:lnTo>
                    <a:lnTo>
                      <a:pt x="612" y="685"/>
                    </a:lnTo>
                    <a:lnTo>
                      <a:pt x="612" y="685"/>
                    </a:lnTo>
                    <a:lnTo>
                      <a:pt x="612" y="685"/>
                    </a:lnTo>
                    <a:lnTo>
                      <a:pt x="610" y="685"/>
                    </a:lnTo>
                    <a:lnTo>
                      <a:pt x="610" y="685"/>
                    </a:lnTo>
                    <a:lnTo>
                      <a:pt x="610" y="685"/>
                    </a:lnTo>
                    <a:lnTo>
                      <a:pt x="607" y="688"/>
                    </a:lnTo>
                    <a:lnTo>
                      <a:pt x="607" y="690"/>
                    </a:lnTo>
                    <a:lnTo>
                      <a:pt x="605" y="690"/>
                    </a:lnTo>
                    <a:lnTo>
                      <a:pt x="605" y="690"/>
                    </a:lnTo>
                    <a:lnTo>
                      <a:pt x="607" y="690"/>
                    </a:lnTo>
                    <a:lnTo>
                      <a:pt x="607" y="685"/>
                    </a:lnTo>
                    <a:lnTo>
                      <a:pt x="605" y="685"/>
                    </a:lnTo>
                    <a:lnTo>
                      <a:pt x="605" y="688"/>
                    </a:lnTo>
                    <a:lnTo>
                      <a:pt x="605" y="685"/>
                    </a:lnTo>
                    <a:lnTo>
                      <a:pt x="603" y="685"/>
                    </a:lnTo>
                    <a:lnTo>
                      <a:pt x="603" y="685"/>
                    </a:lnTo>
                    <a:lnTo>
                      <a:pt x="603" y="685"/>
                    </a:lnTo>
                    <a:lnTo>
                      <a:pt x="600" y="683"/>
                    </a:lnTo>
                    <a:lnTo>
                      <a:pt x="600" y="683"/>
                    </a:lnTo>
                    <a:lnTo>
                      <a:pt x="600" y="680"/>
                    </a:lnTo>
                    <a:lnTo>
                      <a:pt x="598" y="680"/>
                    </a:lnTo>
                    <a:lnTo>
                      <a:pt x="596" y="678"/>
                    </a:lnTo>
                    <a:lnTo>
                      <a:pt x="596" y="680"/>
                    </a:lnTo>
                    <a:lnTo>
                      <a:pt x="593" y="680"/>
                    </a:lnTo>
                    <a:lnTo>
                      <a:pt x="588" y="683"/>
                    </a:lnTo>
                    <a:lnTo>
                      <a:pt x="586" y="688"/>
                    </a:lnTo>
                    <a:lnTo>
                      <a:pt x="586" y="690"/>
                    </a:lnTo>
                    <a:lnTo>
                      <a:pt x="586" y="690"/>
                    </a:lnTo>
                    <a:lnTo>
                      <a:pt x="584" y="690"/>
                    </a:lnTo>
                    <a:lnTo>
                      <a:pt x="581" y="692"/>
                    </a:lnTo>
                    <a:lnTo>
                      <a:pt x="581" y="692"/>
                    </a:lnTo>
                    <a:lnTo>
                      <a:pt x="581" y="695"/>
                    </a:lnTo>
                    <a:lnTo>
                      <a:pt x="579" y="695"/>
                    </a:lnTo>
                    <a:lnTo>
                      <a:pt x="579" y="692"/>
                    </a:lnTo>
                    <a:lnTo>
                      <a:pt x="577" y="692"/>
                    </a:lnTo>
                    <a:lnTo>
                      <a:pt x="577" y="692"/>
                    </a:lnTo>
                    <a:lnTo>
                      <a:pt x="577" y="690"/>
                    </a:lnTo>
                    <a:lnTo>
                      <a:pt x="577" y="690"/>
                    </a:lnTo>
                    <a:lnTo>
                      <a:pt x="577" y="688"/>
                    </a:lnTo>
                    <a:lnTo>
                      <a:pt x="574" y="688"/>
                    </a:lnTo>
                    <a:lnTo>
                      <a:pt x="574" y="685"/>
                    </a:lnTo>
                    <a:lnTo>
                      <a:pt x="572" y="685"/>
                    </a:lnTo>
                    <a:lnTo>
                      <a:pt x="572" y="685"/>
                    </a:lnTo>
                    <a:lnTo>
                      <a:pt x="572" y="685"/>
                    </a:lnTo>
                    <a:lnTo>
                      <a:pt x="572" y="683"/>
                    </a:lnTo>
                    <a:lnTo>
                      <a:pt x="572" y="683"/>
                    </a:lnTo>
                    <a:lnTo>
                      <a:pt x="572" y="683"/>
                    </a:lnTo>
                    <a:lnTo>
                      <a:pt x="572" y="680"/>
                    </a:lnTo>
                    <a:lnTo>
                      <a:pt x="572" y="680"/>
                    </a:lnTo>
                    <a:lnTo>
                      <a:pt x="572" y="680"/>
                    </a:lnTo>
                    <a:lnTo>
                      <a:pt x="574" y="678"/>
                    </a:lnTo>
                    <a:lnTo>
                      <a:pt x="577" y="678"/>
                    </a:lnTo>
                    <a:lnTo>
                      <a:pt x="577" y="676"/>
                    </a:lnTo>
                    <a:lnTo>
                      <a:pt x="577" y="676"/>
                    </a:lnTo>
                    <a:lnTo>
                      <a:pt x="577" y="676"/>
                    </a:lnTo>
                    <a:lnTo>
                      <a:pt x="577" y="673"/>
                    </a:lnTo>
                    <a:lnTo>
                      <a:pt x="577" y="673"/>
                    </a:lnTo>
                    <a:lnTo>
                      <a:pt x="577" y="673"/>
                    </a:lnTo>
                    <a:lnTo>
                      <a:pt x="577" y="671"/>
                    </a:lnTo>
                    <a:lnTo>
                      <a:pt x="577" y="671"/>
                    </a:lnTo>
                    <a:lnTo>
                      <a:pt x="577" y="669"/>
                    </a:lnTo>
                    <a:lnTo>
                      <a:pt x="577" y="669"/>
                    </a:lnTo>
                    <a:lnTo>
                      <a:pt x="577" y="669"/>
                    </a:lnTo>
                    <a:lnTo>
                      <a:pt x="577" y="669"/>
                    </a:lnTo>
                    <a:lnTo>
                      <a:pt x="577" y="666"/>
                    </a:lnTo>
                    <a:lnTo>
                      <a:pt x="577" y="666"/>
                    </a:lnTo>
                    <a:lnTo>
                      <a:pt x="577" y="666"/>
                    </a:lnTo>
                    <a:lnTo>
                      <a:pt x="579" y="666"/>
                    </a:lnTo>
                    <a:lnTo>
                      <a:pt x="579" y="664"/>
                    </a:lnTo>
                    <a:lnTo>
                      <a:pt x="579" y="664"/>
                    </a:lnTo>
                    <a:lnTo>
                      <a:pt x="577" y="664"/>
                    </a:lnTo>
                    <a:lnTo>
                      <a:pt x="577" y="664"/>
                    </a:lnTo>
                    <a:lnTo>
                      <a:pt x="577" y="662"/>
                    </a:lnTo>
                    <a:lnTo>
                      <a:pt x="577" y="659"/>
                    </a:lnTo>
                    <a:lnTo>
                      <a:pt x="577" y="659"/>
                    </a:lnTo>
                    <a:lnTo>
                      <a:pt x="577" y="657"/>
                    </a:lnTo>
                    <a:lnTo>
                      <a:pt x="577" y="657"/>
                    </a:lnTo>
                    <a:lnTo>
                      <a:pt x="579" y="654"/>
                    </a:lnTo>
                    <a:lnTo>
                      <a:pt x="581" y="654"/>
                    </a:lnTo>
                    <a:lnTo>
                      <a:pt x="581" y="652"/>
                    </a:lnTo>
                    <a:lnTo>
                      <a:pt x="581" y="650"/>
                    </a:lnTo>
                    <a:lnTo>
                      <a:pt x="584" y="650"/>
                    </a:lnTo>
                    <a:lnTo>
                      <a:pt x="584" y="650"/>
                    </a:lnTo>
                    <a:lnTo>
                      <a:pt x="584" y="647"/>
                    </a:lnTo>
                    <a:lnTo>
                      <a:pt x="584" y="647"/>
                    </a:lnTo>
                    <a:lnTo>
                      <a:pt x="584" y="647"/>
                    </a:lnTo>
                    <a:lnTo>
                      <a:pt x="584" y="647"/>
                    </a:lnTo>
                    <a:lnTo>
                      <a:pt x="581" y="647"/>
                    </a:lnTo>
                    <a:lnTo>
                      <a:pt x="581" y="647"/>
                    </a:lnTo>
                    <a:lnTo>
                      <a:pt x="581" y="647"/>
                    </a:lnTo>
                    <a:lnTo>
                      <a:pt x="579" y="645"/>
                    </a:lnTo>
                    <a:lnTo>
                      <a:pt x="579" y="645"/>
                    </a:lnTo>
                    <a:lnTo>
                      <a:pt x="579" y="645"/>
                    </a:lnTo>
                    <a:lnTo>
                      <a:pt x="579" y="645"/>
                    </a:lnTo>
                    <a:lnTo>
                      <a:pt x="579" y="645"/>
                    </a:lnTo>
                    <a:lnTo>
                      <a:pt x="577" y="645"/>
                    </a:lnTo>
                    <a:lnTo>
                      <a:pt x="577" y="643"/>
                    </a:lnTo>
                    <a:lnTo>
                      <a:pt x="577" y="640"/>
                    </a:lnTo>
                    <a:lnTo>
                      <a:pt x="574" y="640"/>
                    </a:lnTo>
                    <a:lnTo>
                      <a:pt x="574" y="638"/>
                    </a:lnTo>
                    <a:lnTo>
                      <a:pt x="572" y="640"/>
                    </a:lnTo>
                    <a:lnTo>
                      <a:pt x="572" y="638"/>
                    </a:lnTo>
                    <a:lnTo>
                      <a:pt x="572" y="638"/>
                    </a:lnTo>
                    <a:lnTo>
                      <a:pt x="570" y="638"/>
                    </a:lnTo>
                    <a:lnTo>
                      <a:pt x="570" y="638"/>
                    </a:lnTo>
                    <a:lnTo>
                      <a:pt x="567" y="640"/>
                    </a:lnTo>
                    <a:lnTo>
                      <a:pt x="565" y="640"/>
                    </a:lnTo>
                    <a:lnTo>
                      <a:pt x="565" y="640"/>
                    </a:lnTo>
                    <a:lnTo>
                      <a:pt x="565" y="640"/>
                    </a:lnTo>
                    <a:lnTo>
                      <a:pt x="562" y="643"/>
                    </a:lnTo>
                    <a:lnTo>
                      <a:pt x="562" y="643"/>
                    </a:lnTo>
                    <a:lnTo>
                      <a:pt x="562" y="643"/>
                    </a:lnTo>
                    <a:lnTo>
                      <a:pt x="562" y="640"/>
                    </a:lnTo>
                    <a:lnTo>
                      <a:pt x="562" y="640"/>
                    </a:lnTo>
                    <a:lnTo>
                      <a:pt x="562" y="640"/>
                    </a:lnTo>
                    <a:lnTo>
                      <a:pt x="562" y="640"/>
                    </a:lnTo>
                    <a:lnTo>
                      <a:pt x="562" y="638"/>
                    </a:lnTo>
                    <a:lnTo>
                      <a:pt x="560" y="638"/>
                    </a:lnTo>
                    <a:lnTo>
                      <a:pt x="560" y="638"/>
                    </a:lnTo>
                    <a:lnTo>
                      <a:pt x="560" y="640"/>
                    </a:lnTo>
                    <a:lnTo>
                      <a:pt x="560" y="640"/>
                    </a:lnTo>
                    <a:lnTo>
                      <a:pt x="560" y="640"/>
                    </a:lnTo>
                    <a:lnTo>
                      <a:pt x="558" y="640"/>
                    </a:lnTo>
                    <a:lnTo>
                      <a:pt x="555" y="640"/>
                    </a:lnTo>
                    <a:lnTo>
                      <a:pt x="553" y="640"/>
                    </a:lnTo>
                    <a:lnTo>
                      <a:pt x="553" y="640"/>
                    </a:lnTo>
                    <a:lnTo>
                      <a:pt x="553" y="640"/>
                    </a:lnTo>
                    <a:lnTo>
                      <a:pt x="551" y="640"/>
                    </a:lnTo>
                    <a:lnTo>
                      <a:pt x="551" y="640"/>
                    </a:lnTo>
                    <a:lnTo>
                      <a:pt x="548" y="643"/>
                    </a:lnTo>
                    <a:lnTo>
                      <a:pt x="548" y="640"/>
                    </a:lnTo>
                    <a:lnTo>
                      <a:pt x="546" y="638"/>
                    </a:lnTo>
                    <a:lnTo>
                      <a:pt x="544" y="638"/>
                    </a:lnTo>
                    <a:lnTo>
                      <a:pt x="544" y="638"/>
                    </a:lnTo>
                    <a:lnTo>
                      <a:pt x="544" y="636"/>
                    </a:lnTo>
                    <a:lnTo>
                      <a:pt x="541" y="638"/>
                    </a:lnTo>
                    <a:lnTo>
                      <a:pt x="539" y="636"/>
                    </a:lnTo>
                    <a:lnTo>
                      <a:pt x="539" y="638"/>
                    </a:lnTo>
                    <a:lnTo>
                      <a:pt x="541" y="638"/>
                    </a:lnTo>
                    <a:lnTo>
                      <a:pt x="539" y="638"/>
                    </a:lnTo>
                    <a:lnTo>
                      <a:pt x="536" y="638"/>
                    </a:lnTo>
                    <a:lnTo>
                      <a:pt x="534" y="638"/>
                    </a:lnTo>
                    <a:lnTo>
                      <a:pt x="532" y="638"/>
                    </a:lnTo>
                    <a:lnTo>
                      <a:pt x="532" y="640"/>
                    </a:lnTo>
                    <a:lnTo>
                      <a:pt x="532" y="640"/>
                    </a:lnTo>
                    <a:lnTo>
                      <a:pt x="532" y="638"/>
                    </a:lnTo>
                    <a:lnTo>
                      <a:pt x="529" y="638"/>
                    </a:lnTo>
                    <a:lnTo>
                      <a:pt x="527" y="638"/>
                    </a:lnTo>
                    <a:lnTo>
                      <a:pt x="527" y="640"/>
                    </a:lnTo>
                    <a:lnTo>
                      <a:pt x="525" y="638"/>
                    </a:lnTo>
                    <a:lnTo>
                      <a:pt x="525" y="638"/>
                    </a:lnTo>
                    <a:lnTo>
                      <a:pt x="525" y="638"/>
                    </a:lnTo>
                    <a:lnTo>
                      <a:pt x="522" y="638"/>
                    </a:lnTo>
                    <a:lnTo>
                      <a:pt x="522" y="636"/>
                    </a:lnTo>
                    <a:lnTo>
                      <a:pt x="522" y="636"/>
                    </a:lnTo>
                    <a:lnTo>
                      <a:pt x="520" y="638"/>
                    </a:lnTo>
                    <a:lnTo>
                      <a:pt x="520" y="636"/>
                    </a:lnTo>
                    <a:lnTo>
                      <a:pt x="522" y="636"/>
                    </a:lnTo>
                    <a:lnTo>
                      <a:pt x="522" y="633"/>
                    </a:lnTo>
                    <a:lnTo>
                      <a:pt x="520" y="633"/>
                    </a:lnTo>
                    <a:lnTo>
                      <a:pt x="518" y="636"/>
                    </a:lnTo>
                    <a:lnTo>
                      <a:pt x="518" y="633"/>
                    </a:lnTo>
                    <a:lnTo>
                      <a:pt x="515" y="633"/>
                    </a:lnTo>
                    <a:lnTo>
                      <a:pt x="515" y="636"/>
                    </a:lnTo>
                    <a:lnTo>
                      <a:pt x="515" y="636"/>
                    </a:lnTo>
                    <a:lnTo>
                      <a:pt x="518" y="636"/>
                    </a:lnTo>
                    <a:lnTo>
                      <a:pt x="515" y="636"/>
                    </a:lnTo>
                    <a:lnTo>
                      <a:pt x="515" y="636"/>
                    </a:lnTo>
                    <a:lnTo>
                      <a:pt x="515" y="638"/>
                    </a:lnTo>
                    <a:lnTo>
                      <a:pt x="515" y="638"/>
                    </a:lnTo>
                    <a:lnTo>
                      <a:pt x="515" y="640"/>
                    </a:lnTo>
                    <a:lnTo>
                      <a:pt x="513" y="640"/>
                    </a:lnTo>
                    <a:lnTo>
                      <a:pt x="513" y="640"/>
                    </a:lnTo>
                    <a:lnTo>
                      <a:pt x="513" y="640"/>
                    </a:lnTo>
                    <a:lnTo>
                      <a:pt x="510" y="638"/>
                    </a:lnTo>
                    <a:lnTo>
                      <a:pt x="510" y="638"/>
                    </a:lnTo>
                    <a:lnTo>
                      <a:pt x="510" y="640"/>
                    </a:lnTo>
                    <a:lnTo>
                      <a:pt x="508" y="640"/>
                    </a:lnTo>
                    <a:lnTo>
                      <a:pt x="508" y="638"/>
                    </a:lnTo>
                    <a:lnTo>
                      <a:pt x="508" y="638"/>
                    </a:lnTo>
                    <a:lnTo>
                      <a:pt x="506" y="640"/>
                    </a:lnTo>
                    <a:lnTo>
                      <a:pt x="506" y="640"/>
                    </a:lnTo>
                    <a:lnTo>
                      <a:pt x="503" y="638"/>
                    </a:lnTo>
                    <a:lnTo>
                      <a:pt x="501" y="638"/>
                    </a:lnTo>
                    <a:lnTo>
                      <a:pt x="499" y="638"/>
                    </a:lnTo>
                    <a:lnTo>
                      <a:pt x="499" y="638"/>
                    </a:lnTo>
                    <a:lnTo>
                      <a:pt x="496" y="638"/>
                    </a:lnTo>
                    <a:lnTo>
                      <a:pt x="496" y="640"/>
                    </a:lnTo>
                    <a:lnTo>
                      <a:pt x="496" y="640"/>
                    </a:lnTo>
                    <a:lnTo>
                      <a:pt x="494" y="640"/>
                    </a:lnTo>
                    <a:lnTo>
                      <a:pt x="494" y="643"/>
                    </a:lnTo>
                    <a:lnTo>
                      <a:pt x="492" y="643"/>
                    </a:lnTo>
                    <a:lnTo>
                      <a:pt x="489" y="643"/>
                    </a:lnTo>
                    <a:lnTo>
                      <a:pt x="489" y="640"/>
                    </a:lnTo>
                    <a:lnTo>
                      <a:pt x="487" y="640"/>
                    </a:lnTo>
                    <a:lnTo>
                      <a:pt x="487" y="640"/>
                    </a:lnTo>
                    <a:lnTo>
                      <a:pt x="484" y="638"/>
                    </a:lnTo>
                    <a:lnTo>
                      <a:pt x="482" y="638"/>
                    </a:lnTo>
                    <a:lnTo>
                      <a:pt x="482" y="638"/>
                    </a:lnTo>
                    <a:lnTo>
                      <a:pt x="482" y="638"/>
                    </a:lnTo>
                    <a:lnTo>
                      <a:pt x="482" y="636"/>
                    </a:lnTo>
                    <a:lnTo>
                      <a:pt x="482" y="636"/>
                    </a:lnTo>
                    <a:lnTo>
                      <a:pt x="482" y="636"/>
                    </a:lnTo>
                    <a:lnTo>
                      <a:pt x="482" y="636"/>
                    </a:lnTo>
                    <a:lnTo>
                      <a:pt x="480" y="636"/>
                    </a:lnTo>
                    <a:lnTo>
                      <a:pt x="482" y="631"/>
                    </a:lnTo>
                    <a:lnTo>
                      <a:pt x="480" y="631"/>
                    </a:lnTo>
                    <a:lnTo>
                      <a:pt x="480" y="631"/>
                    </a:lnTo>
                    <a:lnTo>
                      <a:pt x="482" y="628"/>
                    </a:lnTo>
                    <a:lnTo>
                      <a:pt x="482" y="628"/>
                    </a:lnTo>
                    <a:lnTo>
                      <a:pt x="480" y="628"/>
                    </a:lnTo>
                    <a:lnTo>
                      <a:pt x="482" y="628"/>
                    </a:lnTo>
                    <a:lnTo>
                      <a:pt x="482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0" y="624"/>
                    </a:lnTo>
                    <a:lnTo>
                      <a:pt x="482" y="624"/>
                    </a:lnTo>
                    <a:lnTo>
                      <a:pt x="482" y="621"/>
                    </a:lnTo>
                    <a:lnTo>
                      <a:pt x="484" y="624"/>
                    </a:lnTo>
                    <a:lnTo>
                      <a:pt x="484" y="621"/>
                    </a:lnTo>
                    <a:lnTo>
                      <a:pt x="484" y="621"/>
                    </a:lnTo>
                    <a:lnTo>
                      <a:pt x="484" y="619"/>
                    </a:lnTo>
                    <a:lnTo>
                      <a:pt x="484" y="619"/>
                    </a:lnTo>
                    <a:lnTo>
                      <a:pt x="484" y="617"/>
                    </a:lnTo>
                    <a:lnTo>
                      <a:pt x="484" y="617"/>
                    </a:lnTo>
                    <a:lnTo>
                      <a:pt x="487" y="617"/>
                    </a:lnTo>
                    <a:lnTo>
                      <a:pt x="487" y="614"/>
                    </a:lnTo>
                    <a:lnTo>
                      <a:pt x="487" y="612"/>
                    </a:lnTo>
                    <a:lnTo>
                      <a:pt x="489" y="612"/>
                    </a:lnTo>
                    <a:lnTo>
                      <a:pt x="489" y="612"/>
                    </a:lnTo>
                    <a:lnTo>
                      <a:pt x="489" y="612"/>
                    </a:lnTo>
                    <a:lnTo>
                      <a:pt x="489" y="610"/>
                    </a:lnTo>
                    <a:lnTo>
                      <a:pt x="489" y="610"/>
                    </a:lnTo>
                    <a:lnTo>
                      <a:pt x="489" y="610"/>
                    </a:lnTo>
                    <a:lnTo>
                      <a:pt x="489" y="607"/>
                    </a:lnTo>
                    <a:lnTo>
                      <a:pt x="489" y="607"/>
                    </a:lnTo>
                    <a:lnTo>
                      <a:pt x="492" y="605"/>
                    </a:lnTo>
                    <a:lnTo>
                      <a:pt x="492" y="602"/>
                    </a:lnTo>
                    <a:lnTo>
                      <a:pt x="489" y="602"/>
                    </a:lnTo>
                    <a:lnTo>
                      <a:pt x="489" y="605"/>
                    </a:lnTo>
                    <a:lnTo>
                      <a:pt x="489" y="605"/>
                    </a:lnTo>
                    <a:lnTo>
                      <a:pt x="489" y="602"/>
                    </a:lnTo>
                    <a:lnTo>
                      <a:pt x="489" y="600"/>
                    </a:lnTo>
                    <a:lnTo>
                      <a:pt x="492" y="598"/>
                    </a:lnTo>
                    <a:lnTo>
                      <a:pt x="494" y="598"/>
                    </a:lnTo>
                    <a:lnTo>
                      <a:pt x="496" y="595"/>
                    </a:lnTo>
                    <a:lnTo>
                      <a:pt x="494" y="595"/>
                    </a:lnTo>
                    <a:lnTo>
                      <a:pt x="494" y="595"/>
                    </a:lnTo>
                    <a:lnTo>
                      <a:pt x="492" y="593"/>
                    </a:lnTo>
                    <a:lnTo>
                      <a:pt x="489" y="593"/>
                    </a:lnTo>
                    <a:lnTo>
                      <a:pt x="489" y="593"/>
                    </a:lnTo>
                    <a:lnTo>
                      <a:pt x="489" y="593"/>
                    </a:lnTo>
                    <a:lnTo>
                      <a:pt x="487" y="591"/>
                    </a:lnTo>
                    <a:lnTo>
                      <a:pt x="487" y="591"/>
                    </a:lnTo>
                    <a:lnTo>
                      <a:pt x="484" y="591"/>
                    </a:lnTo>
                    <a:lnTo>
                      <a:pt x="484" y="591"/>
                    </a:lnTo>
                    <a:lnTo>
                      <a:pt x="484" y="591"/>
                    </a:lnTo>
                    <a:lnTo>
                      <a:pt x="484" y="588"/>
                    </a:lnTo>
                    <a:lnTo>
                      <a:pt x="484" y="588"/>
                    </a:lnTo>
                    <a:lnTo>
                      <a:pt x="482" y="586"/>
                    </a:lnTo>
                    <a:lnTo>
                      <a:pt x="484" y="586"/>
                    </a:lnTo>
                    <a:lnTo>
                      <a:pt x="482" y="584"/>
                    </a:lnTo>
                    <a:lnTo>
                      <a:pt x="482" y="584"/>
                    </a:lnTo>
                    <a:lnTo>
                      <a:pt x="482" y="584"/>
                    </a:lnTo>
                    <a:lnTo>
                      <a:pt x="482" y="584"/>
                    </a:lnTo>
                    <a:lnTo>
                      <a:pt x="480" y="584"/>
                    </a:lnTo>
                    <a:lnTo>
                      <a:pt x="480" y="581"/>
                    </a:lnTo>
                    <a:lnTo>
                      <a:pt x="477" y="579"/>
                    </a:lnTo>
                    <a:lnTo>
                      <a:pt x="475" y="579"/>
                    </a:lnTo>
                    <a:lnTo>
                      <a:pt x="477" y="576"/>
                    </a:lnTo>
                    <a:lnTo>
                      <a:pt x="477" y="576"/>
                    </a:lnTo>
                    <a:lnTo>
                      <a:pt x="477" y="574"/>
                    </a:lnTo>
                    <a:lnTo>
                      <a:pt x="477" y="572"/>
                    </a:lnTo>
                    <a:lnTo>
                      <a:pt x="480" y="572"/>
                    </a:lnTo>
                    <a:lnTo>
                      <a:pt x="477" y="569"/>
                    </a:lnTo>
                    <a:lnTo>
                      <a:pt x="477" y="569"/>
                    </a:lnTo>
                    <a:lnTo>
                      <a:pt x="477" y="569"/>
                    </a:lnTo>
                    <a:lnTo>
                      <a:pt x="475" y="567"/>
                    </a:lnTo>
                    <a:lnTo>
                      <a:pt x="475" y="567"/>
                    </a:lnTo>
                    <a:lnTo>
                      <a:pt x="473" y="565"/>
                    </a:lnTo>
                    <a:lnTo>
                      <a:pt x="473" y="567"/>
                    </a:lnTo>
                    <a:lnTo>
                      <a:pt x="473" y="565"/>
                    </a:lnTo>
                    <a:lnTo>
                      <a:pt x="470" y="567"/>
                    </a:lnTo>
                    <a:lnTo>
                      <a:pt x="470" y="565"/>
                    </a:lnTo>
                    <a:lnTo>
                      <a:pt x="468" y="565"/>
                    </a:lnTo>
                    <a:lnTo>
                      <a:pt x="470" y="565"/>
                    </a:lnTo>
                    <a:lnTo>
                      <a:pt x="468" y="565"/>
                    </a:lnTo>
                    <a:lnTo>
                      <a:pt x="470" y="562"/>
                    </a:lnTo>
                    <a:lnTo>
                      <a:pt x="468" y="562"/>
                    </a:lnTo>
                    <a:lnTo>
                      <a:pt x="466" y="562"/>
                    </a:lnTo>
                    <a:lnTo>
                      <a:pt x="466" y="562"/>
                    </a:lnTo>
                    <a:lnTo>
                      <a:pt x="466" y="560"/>
                    </a:lnTo>
                    <a:lnTo>
                      <a:pt x="466" y="560"/>
                    </a:lnTo>
                    <a:lnTo>
                      <a:pt x="466" y="560"/>
                    </a:lnTo>
                    <a:lnTo>
                      <a:pt x="466" y="558"/>
                    </a:lnTo>
                    <a:lnTo>
                      <a:pt x="463" y="558"/>
                    </a:lnTo>
                    <a:lnTo>
                      <a:pt x="463" y="558"/>
                    </a:lnTo>
                    <a:lnTo>
                      <a:pt x="461" y="555"/>
                    </a:lnTo>
                    <a:lnTo>
                      <a:pt x="461" y="555"/>
                    </a:lnTo>
                    <a:lnTo>
                      <a:pt x="461" y="555"/>
                    </a:lnTo>
                    <a:lnTo>
                      <a:pt x="461" y="553"/>
                    </a:lnTo>
                    <a:lnTo>
                      <a:pt x="461" y="553"/>
                    </a:lnTo>
                    <a:lnTo>
                      <a:pt x="459" y="553"/>
                    </a:lnTo>
                    <a:lnTo>
                      <a:pt x="459" y="553"/>
                    </a:lnTo>
                    <a:lnTo>
                      <a:pt x="459" y="553"/>
                    </a:lnTo>
                    <a:lnTo>
                      <a:pt x="459" y="553"/>
                    </a:lnTo>
                    <a:lnTo>
                      <a:pt x="459" y="553"/>
                    </a:lnTo>
                    <a:lnTo>
                      <a:pt x="461" y="553"/>
                    </a:lnTo>
                    <a:lnTo>
                      <a:pt x="459" y="553"/>
                    </a:lnTo>
                    <a:lnTo>
                      <a:pt x="459" y="550"/>
                    </a:lnTo>
                    <a:lnTo>
                      <a:pt x="459" y="550"/>
                    </a:lnTo>
                    <a:lnTo>
                      <a:pt x="459" y="550"/>
                    </a:lnTo>
                    <a:lnTo>
                      <a:pt x="459" y="548"/>
                    </a:lnTo>
                    <a:lnTo>
                      <a:pt x="459" y="548"/>
                    </a:lnTo>
                    <a:lnTo>
                      <a:pt x="459" y="548"/>
                    </a:lnTo>
                    <a:lnTo>
                      <a:pt x="456" y="546"/>
                    </a:lnTo>
                    <a:lnTo>
                      <a:pt x="456" y="546"/>
                    </a:lnTo>
                    <a:lnTo>
                      <a:pt x="456" y="546"/>
                    </a:lnTo>
                    <a:lnTo>
                      <a:pt x="459" y="546"/>
                    </a:lnTo>
                    <a:lnTo>
                      <a:pt x="459" y="546"/>
                    </a:lnTo>
                    <a:lnTo>
                      <a:pt x="456" y="546"/>
                    </a:lnTo>
                    <a:lnTo>
                      <a:pt x="456" y="543"/>
                    </a:lnTo>
                    <a:lnTo>
                      <a:pt x="456" y="543"/>
                    </a:lnTo>
                    <a:lnTo>
                      <a:pt x="454" y="543"/>
                    </a:lnTo>
                    <a:lnTo>
                      <a:pt x="454" y="543"/>
                    </a:lnTo>
                    <a:lnTo>
                      <a:pt x="456" y="543"/>
                    </a:lnTo>
                    <a:lnTo>
                      <a:pt x="456" y="543"/>
                    </a:lnTo>
                    <a:lnTo>
                      <a:pt x="456" y="541"/>
                    </a:lnTo>
                    <a:lnTo>
                      <a:pt x="456" y="541"/>
                    </a:lnTo>
                    <a:lnTo>
                      <a:pt x="454" y="541"/>
                    </a:lnTo>
                    <a:lnTo>
                      <a:pt x="454" y="539"/>
                    </a:lnTo>
                    <a:lnTo>
                      <a:pt x="454" y="541"/>
                    </a:lnTo>
                    <a:lnTo>
                      <a:pt x="454" y="541"/>
                    </a:lnTo>
                    <a:lnTo>
                      <a:pt x="451" y="541"/>
                    </a:lnTo>
                    <a:lnTo>
                      <a:pt x="451" y="541"/>
                    </a:lnTo>
                    <a:lnTo>
                      <a:pt x="451" y="539"/>
                    </a:lnTo>
                    <a:lnTo>
                      <a:pt x="449" y="539"/>
                    </a:lnTo>
                    <a:lnTo>
                      <a:pt x="449" y="539"/>
                    </a:lnTo>
                    <a:lnTo>
                      <a:pt x="449" y="536"/>
                    </a:lnTo>
                    <a:lnTo>
                      <a:pt x="449" y="534"/>
                    </a:lnTo>
                    <a:lnTo>
                      <a:pt x="447" y="536"/>
                    </a:lnTo>
                    <a:lnTo>
                      <a:pt x="444" y="534"/>
                    </a:lnTo>
                    <a:lnTo>
                      <a:pt x="444" y="534"/>
                    </a:lnTo>
                    <a:lnTo>
                      <a:pt x="444" y="532"/>
                    </a:lnTo>
                    <a:lnTo>
                      <a:pt x="444" y="532"/>
                    </a:lnTo>
                    <a:lnTo>
                      <a:pt x="444" y="532"/>
                    </a:lnTo>
                    <a:lnTo>
                      <a:pt x="444" y="529"/>
                    </a:lnTo>
                    <a:lnTo>
                      <a:pt x="444" y="529"/>
                    </a:lnTo>
                    <a:lnTo>
                      <a:pt x="444" y="529"/>
                    </a:lnTo>
                    <a:lnTo>
                      <a:pt x="447" y="529"/>
                    </a:lnTo>
                    <a:lnTo>
                      <a:pt x="444" y="529"/>
                    </a:lnTo>
                    <a:lnTo>
                      <a:pt x="444" y="529"/>
                    </a:lnTo>
                    <a:lnTo>
                      <a:pt x="447" y="529"/>
                    </a:lnTo>
                    <a:lnTo>
                      <a:pt x="449" y="527"/>
                    </a:lnTo>
                    <a:lnTo>
                      <a:pt x="449" y="527"/>
                    </a:lnTo>
                    <a:lnTo>
                      <a:pt x="449" y="527"/>
                    </a:lnTo>
                    <a:lnTo>
                      <a:pt x="449" y="525"/>
                    </a:lnTo>
                    <a:lnTo>
                      <a:pt x="449" y="525"/>
                    </a:lnTo>
                    <a:lnTo>
                      <a:pt x="449" y="522"/>
                    </a:lnTo>
                    <a:lnTo>
                      <a:pt x="449" y="520"/>
                    </a:lnTo>
                    <a:lnTo>
                      <a:pt x="449" y="520"/>
                    </a:lnTo>
                    <a:lnTo>
                      <a:pt x="449" y="520"/>
                    </a:lnTo>
                    <a:lnTo>
                      <a:pt x="449" y="517"/>
                    </a:lnTo>
                    <a:lnTo>
                      <a:pt x="449" y="517"/>
                    </a:lnTo>
                    <a:lnTo>
                      <a:pt x="449" y="517"/>
                    </a:lnTo>
                    <a:lnTo>
                      <a:pt x="449" y="515"/>
                    </a:lnTo>
                    <a:lnTo>
                      <a:pt x="451" y="517"/>
                    </a:lnTo>
                    <a:lnTo>
                      <a:pt x="451" y="517"/>
                    </a:lnTo>
                    <a:lnTo>
                      <a:pt x="451" y="515"/>
                    </a:lnTo>
                    <a:lnTo>
                      <a:pt x="451" y="513"/>
                    </a:lnTo>
                    <a:lnTo>
                      <a:pt x="451" y="513"/>
                    </a:lnTo>
                    <a:lnTo>
                      <a:pt x="451" y="510"/>
                    </a:lnTo>
                    <a:lnTo>
                      <a:pt x="451" y="510"/>
                    </a:lnTo>
                    <a:lnTo>
                      <a:pt x="449" y="510"/>
                    </a:lnTo>
                    <a:lnTo>
                      <a:pt x="449" y="510"/>
                    </a:lnTo>
                    <a:lnTo>
                      <a:pt x="449" y="510"/>
                    </a:lnTo>
                    <a:lnTo>
                      <a:pt x="449" y="508"/>
                    </a:lnTo>
                    <a:lnTo>
                      <a:pt x="447" y="508"/>
                    </a:lnTo>
                    <a:lnTo>
                      <a:pt x="447" y="508"/>
                    </a:lnTo>
                    <a:lnTo>
                      <a:pt x="447" y="508"/>
                    </a:lnTo>
                    <a:lnTo>
                      <a:pt x="447" y="508"/>
                    </a:lnTo>
                    <a:lnTo>
                      <a:pt x="447" y="506"/>
                    </a:lnTo>
                    <a:lnTo>
                      <a:pt x="444" y="506"/>
                    </a:lnTo>
                    <a:lnTo>
                      <a:pt x="444" y="503"/>
                    </a:lnTo>
                    <a:lnTo>
                      <a:pt x="442" y="503"/>
                    </a:lnTo>
                    <a:lnTo>
                      <a:pt x="444" y="503"/>
                    </a:lnTo>
                    <a:lnTo>
                      <a:pt x="444" y="501"/>
                    </a:lnTo>
                    <a:lnTo>
                      <a:pt x="442" y="501"/>
                    </a:lnTo>
                    <a:lnTo>
                      <a:pt x="442" y="501"/>
                    </a:lnTo>
                    <a:lnTo>
                      <a:pt x="442" y="501"/>
                    </a:lnTo>
                    <a:lnTo>
                      <a:pt x="442" y="499"/>
                    </a:lnTo>
                    <a:lnTo>
                      <a:pt x="442" y="499"/>
                    </a:lnTo>
                    <a:lnTo>
                      <a:pt x="444" y="496"/>
                    </a:lnTo>
                    <a:lnTo>
                      <a:pt x="444" y="494"/>
                    </a:lnTo>
                    <a:lnTo>
                      <a:pt x="444" y="494"/>
                    </a:lnTo>
                    <a:lnTo>
                      <a:pt x="444" y="491"/>
                    </a:lnTo>
                    <a:lnTo>
                      <a:pt x="444" y="491"/>
                    </a:lnTo>
                    <a:lnTo>
                      <a:pt x="444" y="489"/>
                    </a:lnTo>
                    <a:lnTo>
                      <a:pt x="442" y="489"/>
                    </a:lnTo>
                    <a:lnTo>
                      <a:pt x="442" y="487"/>
                    </a:lnTo>
                    <a:lnTo>
                      <a:pt x="442" y="487"/>
                    </a:lnTo>
                    <a:lnTo>
                      <a:pt x="442" y="487"/>
                    </a:lnTo>
                    <a:lnTo>
                      <a:pt x="442" y="484"/>
                    </a:lnTo>
                    <a:lnTo>
                      <a:pt x="442" y="484"/>
                    </a:lnTo>
                    <a:lnTo>
                      <a:pt x="442" y="482"/>
                    </a:lnTo>
                    <a:lnTo>
                      <a:pt x="444" y="482"/>
                    </a:lnTo>
                    <a:lnTo>
                      <a:pt x="444" y="482"/>
                    </a:lnTo>
                    <a:lnTo>
                      <a:pt x="444" y="482"/>
                    </a:lnTo>
                    <a:lnTo>
                      <a:pt x="444" y="480"/>
                    </a:lnTo>
                    <a:lnTo>
                      <a:pt x="444" y="480"/>
                    </a:lnTo>
                    <a:lnTo>
                      <a:pt x="444" y="477"/>
                    </a:lnTo>
                    <a:lnTo>
                      <a:pt x="447" y="477"/>
                    </a:lnTo>
                    <a:lnTo>
                      <a:pt x="447" y="477"/>
                    </a:lnTo>
                    <a:lnTo>
                      <a:pt x="449" y="477"/>
                    </a:lnTo>
                    <a:lnTo>
                      <a:pt x="449" y="477"/>
                    </a:lnTo>
                    <a:lnTo>
                      <a:pt x="449" y="477"/>
                    </a:lnTo>
                    <a:lnTo>
                      <a:pt x="449" y="475"/>
                    </a:lnTo>
                    <a:lnTo>
                      <a:pt x="447" y="475"/>
                    </a:lnTo>
                    <a:lnTo>
                      <a:pt x="447" y="475"/>
                    </a:lnTo>
                    <a:lnTo>
                      <a:pt x="447" y="475"/>
                    </a:lnTo>
                    <a:lnTo>
                      <a:pt x="444" y="473"/>
                    </a:lnTo>
                    <a:lnTo>
                      <a:pt x="444" y="473"/>
                    </a:lnTo>
                    <a:lnTo>
                      <a:pt x="444" y="473"/>
                    </a:lnTo>
                    <a:lnTo>
                      <a:pt x="444" y="473"/>
                    </a:lnTo>
                    <a:lnTo>
                      <a:pt x="444" y="473"/>
                    </a:lnTo>
                    <a:lnTo>
                      <a:pt x="442" y="473"/>
                    </a:lnTo>
                    <a:lnTo>
                      <a:pt x="442" y="473"/>
                    </a:lnTo>
                    <a:lnTo>
                      <a:pt x="442" y="470"/>
                    </a:lnTo>
                    <a:lnTo>
                      <a:pt x="444" y="470"/>
                    </a:lnTo>
                    <a:lnTo>
                      <a:pt x="444" y="470"/>
                    </a:lnTo>
                    <a:lnTo>
                      <a:pt x="447" y="470"/>
                    </a:lnTo>
                    <a:lnTo>
                      <a:pt x="444" y="470"/>
                    </a:lnTo>
                    <a:lnTo>
                      <a:pt x="444" y="468"/>
                    </a:lnTo>
                    <a:lnTo>
                      <a:pt x="442" y="465"/>
                    </a:lnTo>
                    <a:lnTo>
                      <a:pt x="440" y="465"/>
                    </a:lnTo>
                    <a:lnTo>
                      <a:pt x="440" y="465"/>
                    </a:lnTo>
                    <a:lnTo>
                      <a:pt x="440" y="463"/>
                    </a:lnTo>
                    <a:lnTo>
                      <a:pt x="442" y="465"/>
                    </a:lnTo>
                    <a:lnTo>
                      <a:pt x="442" y="463"/>
                    </a:lnTo>
                    <a:lnTo>
                      <a:pt x="442" y="461"/>
                    </a:lnTo>
                    <a:lnTo>
                      <a:pt x="442" y="461"/>
                    </a:lnTo>
                    <a:lnTo>
                      <a:pt x="442" y="456"/>
                    </a:lnTo>
                    <a:lnTo>
                      <a:pt x="440" y="454"/>
                    </a:lnTo>
                    <a:lnTo>
                      <a:pt x="440" y="454"/>
                    </a:lnTo>
                    <a:lnTo>
                      <a:pt x="440" y="451"/>
                    </a:lnTo>
                    <a:lnTo>
                      <a:pt x="440" y="451"/>
                    </a:lnTo>
                    <a:lnTo>
                      <a:pt x="437" y="451"/>
                    </a:lnTo>
                    <a:lnTo>
                      <a:pt x="437" y="449"/>
                    </a:lnTo>
                    <a:lnTo>
                      <a:pt x="437" y="447"/>
                    </a:lnTo>
                    <a:lnTo>
                      <a:pt x="435" y="444"/>
                    </a:lnTo>
                    <a:lnTo>
                      <a:pt x="435" y="442"/>
                    </a:lnTo>
                    <a:lnTo>
                      <a:pt x="435" y="442"/>
                    </a:lnTo>
                    <a:lnTo>
                      <a:pt x="433" y="442"/>
                    </a:lnTo>
                    <a:lnTo>
                      <a:pt x="433" y="442"/>
                    </a:lnTo>
                    <a:lnTo>
                      <a:pt x="433" y="439"/>
                    </a:lnTo>
                    <a:lnTo>
                      <a:pt x="430" y="442"/>
                    </a:lnTo>
                    <a:lnTo>
                      <a:pt x="430" y="439"/>
                    </a:lnTo>
                    <a:lnTo>
                      <a:pt x="428" y="437"/>
                    </a:lnTo>
                    <a:lnTo>
                      <a:pt x="428" y="437"/>
                    </a:lnTo>
                    <a:lnTo>
                      <a:pt x="430" y="435"/>
                    </a:lnTo>
                    <a:lnTo>
                      <a:pt x="428" y="435"/>
                    </a:lnTo>
                    <a:lnTo>
                      <a:pt x="428" y="432"/>
                    </a:lnTo>
                    <a:lnTo>
                      <a:pt x="425" y="432"/>
                    </a:lnTo>
                    <a:lnTo>
                      <a:pt x="423" y="435"/>
                    </a:lnTo>
                    <a:lnTo>
                      <a:pt x="423" y="432"/>
                    </a:lnTo>
                    <a:lnTo>
                      <a:pt x="421" y="432"/>
                    </a:lnTo>
                    <a:lnTo>
                      <a:pt x="421" y="432"/>
                    </a:lnTo>
                    <a:lnTo>
                      <a:pt x="418" y="432"/>
                    </a:lnTo>
                    <a:lnTo>
                      <a:pt x="418" y="432"/>
                    </a:lnTo>
                    <a:lnTo>
                      <a:pt x="418" y="430"/>
                    </a:lnTo>
                    <a:lnTo>
                      <a:pt x="416" y="430"/>
                    </a:lnTo>
                    <a:lnTo>
                      <a:pt x="416" y="430"/>
                    </a:lnTo>
                    <a:lnTo>
                      <a:pt x="416" y="428"/>
                    </a:lnTo>
                    <a:lnTo>
                      <a:pt x="414" y="430"/>
                    </a:lnTo>
                    <a:lnTo>
                      <a:pt x="411" y="430"/>
                    </a:lnTo>
                    <a:lnTo>
                      <a:pt x="411" y="428"/>
                    </a:lnTo>
                    <a:lnTo>
                      <a:pt x="409" y="428"/>
                    </a:lnTo>
                    <a:lnTo>
                      <a:pt x="409" y="428"/>
                    </a:lnTo>
                    <a:lnTo>
                      <a:pt x="407" y="428"/>
                    </a:lnTo>
                    <a:lnTo>
                      <a:pt x="404" y="428"/>
                    </a:lnTo>
                    <a:lnTo>
                      <a:pt x="404" y="425"/>
                    </a:lnTo>
                    <a:lnTo>
                      <a:pt x="404" y="423"/>
                    </a:lnTo>
                    <a:lnTo>
                      <a:pt x="407" y="421"/>
                    </a:lnTo>
                    <a:lnTo>
                      <a:pt x="407" y="421"/>
                    </a:lnTo>
                    <a:lnTo>
                      <a:pt x="407" y="421"/>
                    </a:lnTo>
                    <a:lnTo>
                      <a:pt x="407" y="421"/>
                    </a:lnTo>
                    <a:lnTo>
                      <a:pt x="404" y="418"/>
                    </a:lnTo>
                    <a:lnTo>
                      <a:pt x="402" y="418"/>
                    </a:lnTo>
                    <a:lnTo>
                      <a:pt x="399" y="418"/>
                    </a:lnTo>
                    <a:lnTo>
                      <a:pt x="397" y="416"/>
                    </a:lnTo>
                    <a:lnTo>
                      <a:pt x="397" y="413"/>
                    </a:lnTo>
                    <a:lnTo>
                      <a:pt x="397" y="413"/>
                    </a:lnTo>
                    <a:lnTo>
                      <a:pt x="399" y="411"/>
                    </a:lnTo>
                    <a:lnTo>
                      <a:pt x="397" y="409"/>
                    </a:lnTo>
                    <a:lnTo>
                      <a:pt x="397" y="409"/>
                    </a:lnTo>
                    <a:lnTo>
                      <a:pt x="395" y="406"/>
                    </a:lnTo>
                    <a:lnTo>
                      <a:pt x="395" y="406"/>
                    </a:lnTo>
                    <a:lnTo>
                      <a:pt x="395" y="409"/>
                    </a:lnTo>
                    <a:lnTo>
                      <a:pt x="395" y="409"/>
                    </a:lnTo>
                    <a:lnTo>
                      <a:pt x="395" y="411"/>
                    </a:lnTo>
                    <a:lnTo>
                      <a:pt x="395" y="411"/>
                    </a:lnTo>
                    <a:lnTo>
                      <a:pt x="392" y="411"/>
                    </a:lnTo>
                    <a:lnTo>
                      <a:pt x="392" y="409"/>
                    </a:lnTo>
                    <a:lnTo>
                      <a:pt x="390" y="409"/>
                    </a:lnTo>
                    <a:lnTo>
                      <a:pt x="388" y="406"/>
                    </a:lnTo>
                    <a:lnTo>
                      <a:pt x="388" y="409"/>
                    </a:lnTo>
                    <a:lnTo>
                      <a:pt x="385" y="411"/>
                    </a:lnTo>
                    <a:lnTo>
                      <a:pt x="383" y="409"/>
                    </a:lnTo>
                    <a:lnTo>
                      <a:pt x="381" y="409"/>
                    </a:lnTo>
                    <a:lnTo>
                      <a:pt x="381" y="411"/>
                    </a:lnTo>
                    <a:lnTo>
                      <a:pt x="378" y="411"/>
                    </a:lnTo>
                    <a:lnTo>
                      <a:pt x="378" y="411"/>
                    </a:lnTo>
                    <a:lnTo>
                      <a:pt x="376" y="411"/>
                    </a:lnTo>
                    <a:lnTo>
                      <a:pt x="373" y="413"/>
                    </a:lnTo>
                    <a:lnTo>
                      <a:pt x="371" y="413"/>
                    </a:lnTo>
                    <a:lnTo>
                      <a:pt x="369" y="413"/>
                    </a:lnTo>
                    <a:lnTo>
                      <a:pt x="366" y="413"/>
                    </a:lnTo>
                    <a:lnTo>
                      <a:pt x="364" y="413"/>
                    </a:lnTo>
                    <a:lnTo>
                      <a:pt x="364" y="413"/>
                    </a:lnTo>
                    <a:lnTo>
                      <a:pt x="364" y="413"/>
                    </a:lnTo>
                    <a:lnTo>
                      <a:pt x="362" y="411"/>
                    </a:lnTo>
                    <a:lnTo>
                      <a:pt x="359" y="411"/>
                    </a:lnTo>
                    <a:lnTo>
                      <a:pt x="357" y="411"/>
                    </a:lnTo>
                    <a:lnTo>
                      <a:pt x="357" y="411"/>
                    </a:lnTo>
                    <a:lnTo>
                      <a:pt x="355" y="413"/>
                    </a:lnTo>
                    <a:lnTo>
                      <a:pt x="352" y="413"/>
                    </a:lnTo>
                    <a:lnTo>
                      <a:pt x="350" y="413"/>
                    </a:lnTo>
                    <a:lnTo>
                      <a:pt x="350" y="411"/>
                    </a:lnTo>
                    <a:lnTo>
                      <a:pt x="347" y="409"/>
                    </a:lnTo>
                    <a:lnTo>
                      <a:pt x="347" y="409"/>
                    </a:lnTo>
                    <a:lnTo>
                      <a:pt x="345" y="406"/>
                    </a:lnTo>
                    <a:lnTo>
                      <a:pt x="343" y="409"/>
                    </a:lnTo>
                    <a:lnTo>
                      <a:pt x="343" y="409"/>
                    </a:lnTo>
                    <a:lnTo>
                      <a:pt x="340" y="409"/>
                    </a:lnTo>
                    <a:lnTo>
                      <a:pt x="340" y="411"/>
                    </a:lnTo>
                    <a:lnTo>
                      <a:pt x="340" y="411"/>
                    </a:lnTo>
                    <a:lnTo>
                      <a:pt x="340" y="413"/>
                    </a:lnTo>
                    <a:lnTo>
                      <a:pt x="338" y="411"/>
                    </a:lnTo>
                    <a:lnTo>
                      <a:pt x="336" y="413"/>
                    </a:lnTo>
                    <a:lnTo>
                      <a:pt x="333" y="411"/>
                    </a:lnTo>
                    <a:lnTo>
                      <a:pt x="331" y="411"/>
                    </a:lnTo>
                    <a:lnTo>
                      <a:pt x="331" y="413"/>
                    </a:lnTo>
                    <a:lnTo>
                      <a:pt x="329" y="411"/>
                    </a:lnTo>
                    <a:lnTo>
                      <a:pt x="329" y="411"/>
                    </a:lnTo>
                    <a:lnTo>
                      <a:pt x="326" y="409"/>
                    </a:lnTo>
                    <a:lnTo>
                      <a:pt x="326" y="409"/>
                    </a:lnTo>
                    <a:lnTo>
                      <a:pt x="324" y="409"/>
                    </a:lnTo>
                    <a:lnTo>
                      <a:pt x="321" y="406"/>
                    </a:lnTo>
                    <a:lnTo>
                      <a:pt x="319" y="409"/>
                    </a:lnTo>
                    <a:lnTo>
                      <a:pt x="317" y="409"/>
                    </a:lnTo>
                    <a:lnTo>
                      <a:pt x="314" y="409"/>
                    </a:lnTo>
                    <a:lnTo>
                      <a:pt x="312" y="409"/>
                    </a:lnTo>
                    <a:lnTo>
                      <a:pt x="312" y="406"/>
                    </a:lnTo>
                    <a:lnTo>
                      <a:pt x="310" y="406"/>
                    </a:lnTo>
                    <a:lnTo>
                      <a:pt x="310" y="406"/>
                    </a:lnTo>
                    <a:lnTo>
                      <a:pt x="307" y="406"/>
                    </a:lnTo>
                    <a:lnTo>
                      <a:pt x="307" y="409"/>
                    </a:lnTo>
                    <a:lnTo>
                      <a:pt x="305" y="413"/>
                    </a:lnTo>
                    <a:lnTo>
                      <a:pt x="303" y="416"/>
                    </a:lnTo>
                    <a:lnTo>
                      <a:pt x="300" y="416"/>
                    </a:lnTo>
                    <a:lnTo>
                      <a:pt x="300" y="416"/>
                    </a:lnTo>
                    <a:lnTo>
                      <a:pt x="298" y="413"/>
                    </a:lnTo>
                    <a:lnTo>
                      <a:pt x="298" y="413"/>
                    </a:lnTo>
                    <a:lnTo>
                      <a:pt x="296" y="413"/>
                    </a:lnTo>
                    <a:lnTo>
                      <a:pt x="293" y="413"/>
                    </a:lnTo>
                    <a:lnTo>
                      <a:pt x="293" y="411"/>
                    </a:lnTo>
                    <a:lnTo>
                      <a:pt x="293" y="406"/>
                    </a:lnTo>
                    <a:lnTo>
                      <a:pt x="293" y="406"/>
                    </a:lnTo>
                    <a:lnTo>
                      <a:pt x="293" y="406"/>
                    </a:lnTo>
                    <a:lnTo>
                      <a:pt x="291" y="404"/>
                    </a:lnTo>
                    <a:lnTo>
                      <a:pt x="288" y="402"/>
                    </a:lnTo>
                    <a:lnTo>
                      <a:pt x="288" y="402"/>
                    </a:lnTo>
                    <a:lnTo>
                      <a:pt x="286" y="397"/>
                    </a:lnTo>
                    <a:lnTo>
                      <a:pt x="281" y="395"/>
                    </a:lnTo>
                    <a:lnTo>
                      <a:pt x="281" y="392"/>
                    </a:lnTo>
                    <a:lnTo>
                      <a:pt x="277" y="392"/>
                    </a:lnTo>
                    <a:lnTo>
                      <a:pt x="277" y="392"/>
                    </a:lnTo>
                    <a:lnTo>
                      <a:pt x="274" y="395"/>
                    </a:lnTo>
                    <a:lnTo>
                      <a:pt x="274" y="395"/>
                    </a:lnTo>
                    <a:lnTo>
                      <a:pt x="272" y="392"/>
                    </a:lnTo>
                    <a:lnTo>
                      <a:pt x="270" y="392"/>
                    </a:lnTo>
                    <a:lnTo>
                      <a:pt x="267" y="392"/>
                    </a:lnTo>
                    <a:lnTo>
                      <a:pt x="267" y="392"/>
                    </a:lnTo>
                    <a:lnTo>
                      <a:pt x="260" y="390"/>
                    </a:lnTo>
                    <a:lnTo>
                      <a:pt x="253" y="390"/>
                    </a:lnTo>
                    <a:lnTo>
                      <a:pt x="248" y="388"/>
                    </a:lnTo>
                    <a:lnTo>
                      <a:pt x="246" y="385"/>
                    </a:lnTo>
                    <a:lnTo>
                      <a:pt x="244" y="385"/>
                    </a:lnTo>
                    <a:lnTo>
                      <a:pt x="241" y="383"/>
                    </a:lnTo>
                    <a:lnTo>
                      <a:pt x="239" y="383"/>
                    </a:lnTo>
                    <a:lnTo>
                      <a:pt x="236" y="383"/>
                    </a:lnTo>
                    <a:lnTo>
                      <a:pt x="236" y="378"/>
                    </a:lnTo>
                    <a:lnTo>
                      <a:pt x="236" y="378"/>
                    </a:lnTo>
                    <a:lnTo>
                      <a:pt x="234" y="378"/>
                    </a:lnTo>
                    <a:lnTo>
                      <a:pt x="232" y="376"/>
                    </a:lnTo>
                    <a:lnTo>
                      <a:pt x="229" y="378"/>
                    </a:lnTo>
                    <a:lnTo>
                      <a:pt x="229" y="378"/>
                    </a:lnTo>
                    <a:lnTo>
                      <a:pt x="225" y="376"/>
                    </a:lnTo>
                    <a:lnTo>
                      <a:pt x="222" y="376"/>
                    </a:lnTo>
                    <a:lnTo>
                      <a:pt x="220" y="376"/>
                    </a:lnTo>
                    <a:lnTo>
                      <a:pt x="218" y="376"/>
                    </a:lnTo>
                    <a:lnTo>
                      <a:pt x="215" y="376"/>
                    </a:lnTo>
                    <a:lnTo>
                      <a:pt x="213" y="373"/>
                    </a:lnTo>
                    <a:lnTo>
                      <a:pt x="210" y="373"/>
                    </a:lnTo>
                    <a:lnTo>
                      <a:pt x="208" y="378"/>
                    </a:lnTo>
                    <a:lnTo>
                      <a:pt x="206" y="378"/>
                    </a:lnTo>
                    <a:lnTo>
                      <a:pt x="203" y="380"/>
                    </a:lnTo>
                    <a:lnTo>
                      <a:pt x="201" y="380"/>
                    </a:lnTo>
                    <a:lnTo>
                      <a:pt x="201" y="378"/>
                    </a:lnTo>
                    <a:lnTo>
                      <a:pt x="196" y="380"/>
                    </a:lnTo>
                    <a:lnTo>
                      <a:pt x="196" y="380"/>
                    </a:lnTo>
                    <a:lnTo>
                      <a:pt x="194" y="380"/>
                    </a:lnTo>
                    <a:lnTo>
                      <a:pt x="192" y="378"/>
                    </a:lnTo>
                    <a:lnTo>
                      <a:pt x="189" y="376"/>
                    </a:lnTo>
                    <a:lnTo>
                      <a:pt x="187" y="376"/>
                    </a:lnTo>
                    <a:lnTo>
                      <a:pt x="182" y="376"/>
                    </a:lnTo>
                    <a:lnTo>
                      <a:pt x="182" y="376"/>
                    </a:lnTo>
                    <a:lnTo>
                      <a:pt x="177" y="378"/>
                    </a:lnTo>
                    <a:lnTo>
                      <a:pt x="175" y="378"/>
                    </a:lnTo>
                    <a:lnTo>
                      <a:pt x="175" y="376"/>
                    </a:lnTo>
                    <a:lnTo>
                      <a:pt x="175" y="371"/>
                    </a:lnTo>
                    <a:lnTo>
                      <a:pt x="175" y="371"/>
                    </a:lnTo>
                    <a:lnTo>
                      <a:pt x="173" y="371"/>
                    </a:lnTo>
                    <a:lnTo>
                      <a:pt x="173" y="371"/>
                    </a:lnTo>
                    <a:lnTo>
                      <a:pt x="170" y="371"/>
                    </a:lnTo>
                    <a:lnTo>
                      <a:pt x="168" y="369"/>
                    </a:lnTo>
                    <a:lnTo>
                      <a:pt x="158" y="371"/>
                    </a:lnTo>
                    <a:lnTo>
                      <a:pt x="158" y="371"/>
                    </a:lnTo>
                    <a:lnTo>
                      <a:pt x="156" y="371"/>
                    </a:lnTo>
                    <a:lnTo>
                      <a:pt x="154" y="369"/>
                    </a:lnTo>
                    <a:lnTo>
                      <a:pt x="154" y="369"/>
                    </a:lnTo>
                    <a:lnTo>
                      <a:pt x="154" y="369"/>
                    </a:lnTo>
                    <a:lnTo>
                      <a:pt x="147" y="364"/>
                    </a:lnTo>
                    <a:lnTo>
                      <a:pt x="144" y="364"/>
                    </a:lnTo>
                    <a:lnTo>
                      <a:pt x="140" y="362"/>
                    </a:lnTo>
                    <a:lnTo>
                      <a:pt x="137" y="359"/>
                    </a:lnTo>
                    <a:lnTo>
                      <a:pt x="137" y="359"/>
                    </a:lnTo>
                    <a:lnTo>
                      <a:pt x="133" y="359"/>
                    </a:lnTo>
                    <a:lnTo>
                      <a:pt x="128" y="357"/>
                    </a:lnTo>
                    <a:lnTo>
                      <a:pt x="128" y="357"/>
                    </a:lnTo>
                    <a:lnTo>
                      <a:pt x="125" y="357"/>
                    </a:lnTo>
                    <a:lnTo>
                      <a:pt x="123" y="357"/>
                    </a:lnTo>
                    <a:lnTo>
                      <a:pt x="123" y="359"/>
                    </a:lnTo>
                    <a:lnTo>
                      <a:pt x="121" y="362"/>
                    </a:lnTo>
                    <a:lnTo>
                      <a:pt x="121" y="364"/>
                    </a:lnTo>
                    <a:lnTo>
                      <a:pt x="121" y="364"/>
                    </a:lnTo>
                    <a:lnTo>
                      <a:pt x="121" y="369"/>
                    </a:lnTo>
                    <a:lnTo>
                      <a:pt x="121" y="369"/>
                    </a:lnTo>
                    <a:lnTo>
                      <a:pt x="121" y="373"/>
                    </a:lnTo>
                    <a:lnTo>
                      <a:pt x="118" y="373"/>
                    </a:lnTo>
                    <a:lnTo>
                      <a:pt x="116" y="376"/>
                    </a:lnTo>
                    <a:lnTo>
                      <a:pt x="111" y="378"/>
                    </a:lnTo>
                    <a:lnTo>
                      <a:pt x="111" y="378"/>
                    </a:lnTo>
                    <a:lnTo>
                      <a:pt x="111" y="376"/>
                    </a:lnTo>
                    <a:lnTo>
                      <a:pt x="111" y="373"/>
                    </a:lnTo>
                    <a:lnTo>
                      <a:pt x="109" y="371"/>
                    </a:lnTo>
                    <a:lnTo>
                      <a:pt x="109" y="369"/>
                    </a:lnTo>
                    <a:lnTo>
                      <a:pt x="104" y="371"/>
                    </a:lnTo>
                    <a:lnTo>
                      <a:pt x="104" y="371"/>
                    </a:lnTo>
                    <a:lnTo>
                      <a:pt x="102" y="373"/>
                    </a:lnTo>
                    <a:lnTo>
                      <a:pt x="99" y="371"/>
                    </a:lnTo>
                    <a:lnTo>
                      <a:pt x="92" y="371"/>
                    </a:lnTo>
                    <a:lnTo>
                      <a:pt x="90" y="371"/>
                    </a:lnTo>
                    <a:lnTo>
                      <a:pt x="88" y="369"/>
                    </a:lnTo>
                    <a:lnTo>
                      <a:pt x="85" y="369"/>
                    </a:lnTo>
                    <a:lnTo>
                      <a:pt x="85" y="369"/>
                    </a:lnTo>
                    <a:lnTo>
                      <a:pt x="83" y="369"/>
                    </a:lnTo>
                    <a:lnTo>
                      <a:pt x="83" y="369"/>
                    </a:lnTo>
                    <a:lnTo>
                      <a:pt x="83" y="369"/>
                    </a:lnTo>
                    <a:lnTo>
                      <a:pt x="78" y="371"/>
                    </a:lnTo>
                    <a:lnTo>
                      <a:pt x="76" y="371"/>
                    </a:lnTo>
                    <a:lnTo>
                      <a:pt x="73" y="371"/>
                    </a:lnTo>
                    <a:lnTo>
                      <a:pt x="73" y="369"/>
                    </a:lnTo>
                    <a:lnTo>
                      <a:pt x="71" y="369"/>
                    </a:lnTo>
                    <a:lnTo>
                      <a:pt x="69" y="366"/>
                    </a:lnTo>
                    <a:lnTo>
                      <a:pt x="66" y="364"/>
                    </a:lnTo>
                    <a:lnTo>
                      <a:pt x="66" y="364"/>
                    </a:lnTo>
                    <a:lnTo>
                      <a:pt x="64" y="364"/>
                    </a:lnTo>
                    <a:lnTo>
                      <a:pt x="57" y="369"/>
                    </a:lnTo>
                    <a:lnTo>
                      <a:pt x="50" y="371"/>
                    </a:lnTo>
                    <a:lnTo>
                      <a:pt x="47" y="371"/>
                    </a:lnTo>
                    <a:lnTo>
                      <a:pt x="45" y="369"/>
                    </a:lnTo>
                    <a:lnTo>
                      <a:pt x="40" y="369"/>
                    </a:lnTo>
                    <a:lnTo>
                      <a:pt x="40" y="369"/>
                    </a:lnTo>
                    <a:lnTo>
                      <a:pt x="40" y="369"/>
                    </a:lnTo>
                    <a:lnTo>
                      <a:pt x="38" y="369"/>
                    </a:lnTo>
                    <a:lnTo>
                      <a:pt x="33" y="369"/>
                    </a:lnTo>
                    <a:lnTo>
                      <a:pt x="31" y="369"/>
                    </a:lnTo>
                    <a:lnTo>
                      <a:pt x="26" y="364"/>
                    </a:lnTo>
                    <a:lnTo>
                      <a:pt x="21" y="364"/>
                    </a:lnTo>
                    <a:lnTo>
                      <a:pt x="17" y="364"/>
                    </a:lnTo>
                    <a:lnTo>
                      <a:pt x="17" y="364"/>
                    </a:lnTo>
                    <a:lnTo>
                      <a:pt x="14" y="366"/>
                    </a:lnTo>
                    <a:lnTo>
                      <a:pt x="12" y="366"/>
                    </a:lnTo>
                    <a:lnTo>
                      <a:pt x="12" y="369"/>
                    </a:lnTo>
                    <a:lnTo>
                      <a:pt x="10" y="369"/>
                    </a:lnTo>
                    <a:lnTo>
                      <a:pt x="10" y="371"/>
                    </a:lnTo>
                    <a:lnTo>
                      <a:pt x="7" y="371"/>
                    </a:lnTo>
                    <a:lnTo>
                      <a:pt x="3" y="373"/>
                    </a:lnTo>
                    <a:lnTo>
                      <a:pt x="3" y="376"/>
                    </a:lnTo>
                    <a:lnTo>
                      <a:pt x="0" y="373"/>
                    </a:lnTo>
                    <a:lnTo>
                      <a:pt x="0" y="371"/>
                    </a:lnTo>
                    <a:close/>
                    <a:moveTo>
                      <a:pt x="1047" y="473"/>
                    </a:moveTo>
                    <a:lnTo>
                      <a:pt x="1047" y="473"/>
                    </a:lnTo>
                    <a:lnTo>
                      <a:pt x="1047" y="473"/>
                    </a:lnTo>
                    <a:lnTo>
                      <a:pt x="1047" y="473"/>
                    </a:lnTo>
                    <a:lnTo>
                      <a:pt x="1047" y="473"/>
                    </a:lnTo>
                    <a:lnTo>
                      <a:pt x="1047" y="473"/>
                    </a:lnTo>
                    <a:lnTo>
                      <a:pt x="1047" y="473"/>
                    </a:lnTo>
                    <a:close/>
                    <a:moveTo>
                      <a:pt x="1025" y="517"/>
                    </a:moveTo>
                    <a:lnTo>
                      <a:pt x="1025" y="517"/>
                    </a:lnTo>
                    <a:lnTo>
                      <a:pt x="1025" y="517"/>
                    </a:lnTo>
                    <a:lnTo>
                      <a:pt x="1025" y="517"/>
                    </a:lnTo>
                    <a:lnTo>
                      <a:pt x="1028" y="517"/>
                    </a:lnTo>
                    <a:lnTo>
                      <a:pt x="1025" y="517"/>
                    </a:lnTo>
                    <a:lnTo>
                      <a:pt x="1028" y="517"/>
                    </a:lnTo>
                    <a:lnTo>
                      <a:pt x="1028" y="520"/>
                    </a:lnTo>
                    <a:lnTo>
                      <a:pt x="1025" y="520"/>
                    </a:lnTo>
                    <a:lnTo>
                      <a:pt x="1025" y="520"/>
                    </a:lnTo>
                    <a:lnTo>
                      <a:pt x="1025" y="517"/>
                    </a:lnTo>
                    <a:lnTo>
                      <a:pt x="1025" y="517"/>
                    </a:lnTo>
                    <a:close/>
                    <a:moveTo>
                      <a:pt x="898" y="529"/>
                    </a:moveTo>
                    <a:lnTo>
                      <a:pt x="898" y="527"/>
                    </a:lnTo>
                    <a:lnTo>
                      <a:pt x="898" y="529"/>
                    </a:lnTo>
                    <a:close/>
                    <a:moveTo>
                      <a:pt x="1002" y="489"/>
                    </a:moveTo>
                    <a:lnTo>
                      <a:pt x="1002" y="489"/>
                    </a:lnTo>
                    <a:lnTo>
                      <a:pt x="1002" y="489"/>
                    </a:lnTo>
                    <a:close/>
                    <a:moveTo>
                      <a:pt x="1023" y="489"/>
                    </a:moveTo>
                    <a:lnTo>
                      <a:pt x="1023" y="489"/>
                    </a:lnTo>
                    <a:lnTo>
                      <a:pt x="1023" y="487"/>
                    </a:lnTo>
                    <a:lnTo>
                      <a:pt x="1023" y="489"/>
                    </a:lnTo>
                    <a:lnTo>
                      <a:pt x="1023" y="489"/>
                    </a:lnTo>
                    <a:lnTo>
                      <a:pt x="1023" y="489"/>
                    </a:lnTo>
                    <a:close/>
                    <a:moveTo>
                      <a:pt x="1040" y="465"/>
                    </a:moveTo>
                    <a:lnTo>
                      <a:pt x="1040" y="465"/>
                    </a:lnTo>
                    <a:lnTo>
                      <a:pt x="1040" y="465"/>
                    </a:lnTo>
                    <a:close/>
                    <a:moveTo>
                      <a:pt x="988" y="496"/>
                    </a:moveTo>
                    <a:lnTo>
                      <a:pt x="988" y="496"/>
                    </a:lnTo>
                    <a:lnTo>
                      <a:pt x="988" y="496"/>
                    </a:lnTo>
                    <a:close/>
                    <a:moveTo>
                      <a:pt x="990" y="541"/>
                    </a:moveTo>
                    <a:lnTo>
                      <a:pt x="990" y="539"/>
                    </a:lnTo>
                    <a:lnTo>
                      <a:pt x="990" y="541"/>
                    </a:lnTo>
                    <a:close/>
                    <a:moveTo>
                      <a:pt x="1040" y="475"/>
                    </a:moveTo>
                    <a:lnTo>
                      <a:pt x="1040" y="475"/>
                    </a:lnTo>
                    <a:lnTo>
                      <a:pt x="1040" y="475"/>
                    </a:lnTo>
                    <a:lnTo>
                      <a:pt x="1040" y="475"/>
                    </a:lnTo>
                    <a:lnTo>
                      <a:pt x="1040" y="475"/>
                    </a:lnTo>
                    <a:close/>
                    <a:moveTo>
                      <a:pt x="988" y="541"/>
                    </a:moveTo>
                    <a:lnTo>
                      <a:pt x="988" y="539"/>
                    </a:lnTo>
                    <a:lnTo>
                      <a:pt x="988" y="541"/>
                    </a:lnTo>
                    <a:close/>
                    <a:moveTo>
                      <a:pt x="992" y="532"/>
                    </a:moveTo>
                    <a:lnTo>
                      <a:pt x="992" y="532"/>
                    </a:lnTo>
                    <a:lnTo>
                      <a:pt x="992" y="534"/>
                    </a:lnTo>
                    <a:lnTo>
                      <a:pt x="992" y="534"/>
                    </a:lnTo>
                    <a:lnTo>
                      <a:pt x="992" y="534"/>
                    </a:lnTo>
                    <a:lnTo>
                      <a:pt x="995" y="534"/>
                    </a:lnTo>
                    <a:lnTo>
                      <a:pt x="992" y="536"/>
                    </a:lnTo>
                    <a:lnTo>
                      <a:pt x="995" y="536"/>
                    </a:lnTo>
                    <a:lnTo>
                      <a:pt x="995" y="536"/>
                    </a:lnTo>
                    <a:lnTo>
                      <a:pt x="997" y="539"/>
                    </a:lnTo>
                    <a:lnTo>
                      <a:pt x="997" y="536"/>
                    </a:lnTo>
                    <a:lnTo>
                      <a:pt x="997" y="536"/>
                    </a:lnTo>
                    <a:lnTo>
                      <a:pt x="999" y="536"/>
                    </a:lnTo>
                    <a:lnTo>
                      <a:pt x="999" y="539"/>
                    </a:lnTo>
                    <a:lnTo>
                      <a:pt x="999" y="539"/>
                    </a:lnTo>
                    <a:lnTo>
                      <a:pt x="997" y="539"/>
                    </a:lnTo>
                    <a:lnTo>
                      <a:pt x="997" y="539"/>
                    </a:lnTo>
                    <a:lnTo>
                      <a:pt x="997" y="541"/>
                    </a:lnTo>
                    <a:lnTo>
                      <a:pt x="997" y="541"/>
                    </a:lnTo>
                    <a:lnTo>
                      <a:pt x="997" y="543"/>
                    </a:lnTo>
                    <a:lnTo>
                      <a:pt x="997" y="543"/>
                    </a:lnTo>
                    <a:lnTo>
                      <a:pt x="999" y="543"/>
                    </a:lnTo>
                    <a:lnTo>
                      <a:pt x="997" y="543"/>
                    </a:lnTo>
                    <a:lnTo>
                      <a:pt x="997" y="546"/>
                    </a:lnTo>
                    <a:lnTo>
                      <a:pt x="997" y="546"/>
                    </a:lnTo>
                    <a:lnTo>
                      <a:pt x="995" y="546"/>
                    </a:lnTo>
                    <a:lnTo>
                      <a:pt x="992" y="543"/>
                    </a:lnTo>
                    <a:lnTo>
                      <a:pt x="992" y="541"/>
                    </a:lnTo>
                    <a:lnTo>
                      <a:pt x="992" y="539"/>
                    </a:lnTo>
                    <a:lnTo>
                      <a:pt x="990" y="539"/>
                    </a:lnTo>
                    <a:lnTo>
                      <a:pt x="990" y="539"/>
                    </a:lnTo>
                    <a:lnTo>
                      <a:pt x="988" y="539"/>
                    </a:lnTo>
                    <a:lnTo>
                      <a:pt x="988" y="539"/>
                    </a:lnTo>
                    <a:lnTo>
                      <a:pt x="988" y="539"/>
                    </a:lnTo>
                    <a:lnTo>
                      <a:pt x="985" y="539"/>
                    </a:lnTo>
                    <a:lnTo>
                      <a:pt x="985" y="539"/>
                    </a:lnTo>
                    <a:lnTo>
                      <a:pt x="985" y="541"/>
                    </a:lnTo>
                    <a:lnTo>
                      <a:pt x="983" y="539"/>
                    </a:lnTo>
                    <a:lnTo>
                      <a:pt x="983" y="541"/>
                    </a:lnTo>
                    <a:lnTo>
                      <a:pt x="978" y="543"/>
                    </a:lnTo>
                    <a:lnTo>
                      <a:pt x="976" y="543"/>
                    </a:lnTo>
                    <a:lnTo>
                      <a:pt x="973" y="543"/>
                    </a:lnTo>
                    <a:lnTo>
                      <a:pt x="971" y="543"/>
                    </a:lnTo>
                    <a:lnTo>
                      <a:pt x="969" y="539"/>
                    </a:lnTo>
                    <a:lnTo>
                      <a:pt x="969" y="536"/>
                    </a:lnTo>
                    <a:lnTo>
                      <a:pt x="969" y="536"/>
                    </a:lnTo>
                    <a:lnTo>
                      <a:pt x="971" y="536"/>
                    </a:lnTo>
                    <a:lnTo>
                      <a:pt x="973" y="534"/>
                    </a:lnTo>
                    <a:lnTo>
                      <a:pt x="973" y="534"/>
                    </a:lnTo>
                    <a:lnTo>
                      <a:pt x="973" y="534"/>
                    </a:lnTo>
                    <a:lnTo>
                      <a:pt x="976" y="532"/>
                    </a:lnTo>
                    <a:lnTo>
                      <a:pt x="976" y="532"/>
                    </a:lnTo>
                    <a:lnTo>
                      <a:pt x="976" y="532"/>
                    </a:lnTo>
                    <a:lnTo>
                      <a:pt x="976" y="532"/>
                    </a:lnTo>
                    <a:lnTo>
                      <a:pt x="981" y="527"/>
                    </a:lnTo>
                    <a:lnTo>
                      <a:pt x="983" y="527"/>
                    </a:lnTo>
                    <a:lnTo>
                      <a:pt x="983" y="522"/>
                    </a:lnTo>
                    <a:lnTo>
                      <a:pt x="983" y="522"/>
                    </a:lnTo>
                    <a:lnTo>
                      <a:pt x="983" y="522"/>
                    </a:lnTo>
                    <a:lnTo>
                      <a:pt x="983" y="520"/>
                    </a:lnTo>
                    <a:lnTo>
                      <a:pt x="983" y="520"/>
                    </a:lnTo>
                    <a:lnTo>
                      <a:pt x="983" y="520"/>
                    </a:lnTo>
                    <a:lnTo>
                      <a:pt x="985" y="517"/>
                    </a:lnTo>
                    <a:lnTo>
                      <a:pt x="985" y="515"/>
                    </a:lnTo>
                    <a:lnTo>
                      <a:pt x="985" y="513"/>
                    </a:lnTo>
                    <a:lnTo>
                      <a:pt x="988" y="515"/>
                    </a:lnTo>
                    <a:lnTo>
                      <a:pt x="988" y="515"/>
                    </a:lnTo>
                    <a:lnTo>
                      <a:pt x="992" y="515"/>
                    </a:lnTo>
                    <a:lnTo>
                      <a:pt x="992" y="517"/>
                    </a:lnTo>
                    <a:lnTo>
                      <a:pt x="992" y="517"/>
                    </a:lnTo>
                    <a:lnTo>
                      <a:pt x="995" y="517"/>
                    </a:lnTo>
                    <a:lnTo>
                      <a:pt x="995" y="517"/>
                    </a:lnTo>
                    <a:lnTo>
                      <a:pt x="995" y="517"/>
                    </a:lnTo>
                    <a:lnTo>
                      <a:pt x="995" y="520"/>
                    </a:lnTo>
                    <a:lnTo>
                      <a:pt x="997" y="520"/>
                    </a:lnTo>
                    <a:lnTo>
                      <a:pt x="997" y="520"/>
                    </a:lnTo>
                    <a:lnTo>
                      <a:pt x="997" y="522"/>
                    </a:lnTo>
                    <a:lnTo>
                      <a:pt x="999" y="522"/>
                    </a:lnTo>
                    <a:lnTo>
                      <a:pt x="997" y="522"/>
                    </a:lnTo>
                    <a:lnTo>
                      <a:pt x="997" y="525"/>
                    </a:lnTo>
                    <a:lnTo>
                      <a:pt x="997" y="527"/>
                    </a:lnTo>
                    <a:lnTo>
                      <a:pt x="997" y="527"/>
                    </a:lnTo>
                    <a:lnTo>
                      <a:pt x="997" y="527"/>
                    </a:lnTo>
                    <a:lnTo>
                      <a:pt x="997" y="527"/>
                    </a:lnTo>
                    <a:lnTo>
                      <a:pt x="997" y="529"/>
                    </a:lnTo>
                    <a:lnTo>
                      <a:pt x="997" y="529"/>
                    </a:lnTo>
                    <a:lnTo>
                      <a:pt x="997" y="529"/>
                    </a:lnTo>
                    <a:lnTo>
                      <a:pt x="997" y="529"/>
                    </a:lnTo>
                    <a:lnTo>
                      <a:pt x="999" y="529"/>
                    </a:lnTo>
                    <a:lnTo>
                      <a:pt x="997" y="529"/>
                    </a:lnTo>
                    <a:lnTo>
                      <a:pt x="995" y="529"/>
                    </a:lnTo>
                    <a:lnTo>
                      <a:pt x="995" y="529"/>
                    </a:lnTo>
                    <a:lnTo>
                      <a:pt x="992" y="532"/>
                    </a:lnTo>
                    <a:lnTo>
                      <a:pt x="992" y="532"/>
                    </a:lnTo>
                    <a:lnTo>
                      <a:pt x="992" y="532"/>
                    </a:lnTo>
                    <a:close/>
                    <a:moveTo>
                      <a:pt x="1023" y="491"/>
                    </a:moveTo>
                    <a:lnTo>
                      <a:pt x="1025" y="491"/>
                    </a:lnTo>
                    <a:lnTo>
                      <a:pt x="1023" y="491"/>
                    </a:lnTo>
                    <a:close/>
                    <a:moveTo>
                      <a:pt x="999" y="527"/>
                    </a:moveTo>
                    <a:lnTo>
                      <a:pt x="999" y="527"/>
                    </a:lnTo>
                    <a:lnTo>
                      <a:pt x="999" y="527"/>
                    </a:lnTo>
                    <a:lnTo>
                      <a:pt x="999" y="527"/>
                    </a:lnTo>
                    <a:close/>
                    <a:moveTo>
                      <a:pt x="777" y="600"/>
                    </a:moveTo>
                    <a:lnTo>
                      <a:pt x="777" y="600"/>
                    </a:lnTo>
                    <a:lnTo>
                      <a:pt x="777" y="600"/>
                    </a:lnTo>
                    <a:close/>
                    <a:moveTo>
                      <a:pt x="1040" y="470"/>
                    </a:moveTo>
                    <a:lnTo>
                      <a:pt x="1042" y="470"/>
                    </a:lnTo>
                    <a:lnTo>
                      <a:pt x="1040" y="470"/>
                    </a:lnTo>
                    <a:lnTo>
                      <a:pt x="1040" y="470"/>
                    </a:lnTo>
                    <a:lnTo>
                      <a:pt x="1040" y="470"/>
                    </a:lnTo>
                    <a:lnTo>
                      <a:pt x="1040" y="470"/>
                    </a:lnTo>
                    <a:close/>
                    <a:moveTo>
                      <a:pt x="1035" y="470"/>
                    </a:moveTo>
                    <a:lnTo>
                      <a:pt x="1035" y="470"/>
                    </a:lnTo>
                    <a:lnTo>
                      <a:pt x="1035" y="470"/>
                    </a:lnTo>
                    <a:lnTo>
                      <a:pt x="1035" y="470"/>
                    </a:lnTo>
                    <a:lnTo>
                      <a:pt x="1035" y="470"/>
                    </a:lnTo>
                    <a:close/>
                    <a:moveTo>
                      <a:pt x="938" y="525"/>
                    </a:moveTo>
                    <a:lnTo>
                      <a:pt x="938" y="525"/>
                    </a:lnTo>
                    <a:lnTo>
                      <a:pt x="938" y="525"/>
                    </a:lnTo>
                    <a:close/>
                    <a:moveTo>
                      <a:pt x="962" y="532"/>
                    </a:moveTo>
                    <a:lnTo>
                      <a:pt x="962" y="532"/>
                    </a:lnTo>
                    <a:lnTo>
                      <a:pt x="962" y="532"/>
                    </a:lnTo>
                    <a:lnTo>
                      <a:pt x="962" y="529"/>
                    </a:lnTo>
                    <a:lnTo>
                      <a:pt x="962" y="532"/>
                    </a:lnTo>
                    <a:lnTo>
                      <a:pt x="962" y="532"/>
                    </a:lnTo>
                    <a:lnTo>
                      <a:pt x="962" y="532"/>
                    </a:lnTo>
                    <a:close/>
                    <a:moveTo>
                      <a:pt x="784" y="600"/>
                    </a:moveTo>
                    <a:lnTo>
                      <a:pt x="787" y="600"/>
                    </a:lnTo>
                    <a:lnTo>
                      <a:pt x="787" y="600"/>
                    </a:lnTo>
                    <a:lnTo>
                      <a:pt x="784" y="600"/>
                    </a:lnTo>
                    <a:lnTo>
                      <a:pt x="784" y="600"/>
                    </a:lnTo>
                    <a:close/>
                    <a:moveTo>
                      <a:pt x="787" y="602"/>
                    </a:moveTo>
                    <a:lnTo>
                      <a:pt x="787" y="602"/>
                    </a:lnTo>
                    <a:lnTo>
                      <a:pt x="787" y="602"/>
                    </a:lnTo>
                    <a:lnTo>
                      <a:pt x="787" y="602"/>
                    </a:lnTo>
                    <a:lnTo>
                      <a:pt x="787" y="602"/>
                    </a:lnTo>
                    <a:close/>
                    <a:moveTo>
                      <a:pt x="1047" y="475"/>
                    </a:moveTo>
                    <a:lnTo>
                      <a:pt x="1047" y="475"/>
                    </a:lnTo>
                    <a:lnTo>
                      <a:pt x="1047" y="475"/>
                    </a:lnTo>
                    <a:lnTo>
                      <a:pt x="1047" y="475"/>
                    </a:lnTo>
                    <a:lnTo>
                      <a:pt x="1047" y="475"/>
                    </a:lnTo>
                    <a:lnTo>
                      <a:pt x="1047" y="475"/>
                    </a:lnTo>
                    <a:lnTo>
                      <a:pt x="1047" y="475"/>
                    </a:lnTo>
                    <a:lnTo>
                      <a:pt x="1047" y="475"/>
                    </a:lnTo>
                    <a:close/>
                    <a:moveTo>
                      <a:pt x="936" y="525"/>
                    </a:moveTo>
                    <a:lnTo>
                      <a:pt x="936" y="525"/>
                    </a:lnTo>
                    <a:lnTo>
                      <a:pt x="938" y="525"/>
                    </a:lnTo>
                    <a:lnTo>
                      <a:pt x="938" y="525"/>
                    </a:lnTo>
                    <a:lnTo>
                      <a:pt x="936" y="525"/>
                    </a:lnTo>
                    <a:close/>
                    <a:moveTo>
                      <a:pt x="990" y="499"/>
                    </a:moveTo>
                    <a:lnTo>
                      <a:pt x="992" y="499"/>
                    </a:lnTo>
                    <a:lnTo>
                      <a:pt x="992" y="499"/>
                    </a:lnTo>
                    <a:lnTo>
                      <a:pt x="992" y="499"/>
                    </a:lnTo>
                    <a:lnTo>
                      <a:pt x="990" y="499"/>
                    </a:lnTo>
                    <a:close/>
                    <a:moveTo>
                      <a:pt x="929" y="534"/>
                    </a:moveTo>
                    <a:lnTo>
                      <a:pt x="929" y="532"/>
                    </a:lnTo>
                    <a:lnTo>
                      <a:pt x="929" y="532"/>
                    </a:lnTo>
                    <a:lnTo>
                      <a:pt x="931" y="532"/>
                    </a:lnTo>
                    <a:lnTo>
                      <a:pt x="929" y="534"/>
                    </a:lnTo>
                    <a:lnTo>
                      <a:pt x="929" y="534"/>
                    </a:lnTo>
                    <a:lnTo>
                      <a:pt x="929" y="534"/>
                    </a:lnTo>
                    <a:lnTo>
                      <a:pt x="929" y="534"/>
                    </a:lnTo>
                    <a:close/>
                    <a:moveTo>
                      <a:pt x="1009" y="494"/>
                    </a:moveTo>
                    <a:lnTo>
                      <a:pt x="1009" y="494"/>
                    </a:lnTo>
                    <a:lnTo>
                      <a:pt x="1009" y="494"/>
                    </a:lnTo>
                    <a:lnTo>
                      <a:pt x="1009" y="494"/>
                    </a:lnTo>
                    <a:lnTo>
                      <a:pt x="1009" y="494"/>
                    </a:lnTo>
                    <a:lnTo>
                      <a:pt x="1009" y="494"/>
                    </a:lnTo>
                    <a:lnTo>
                      <a:pt x="1009" y="494"/>
                    </a:lnTo>
                    <a:close/>
                    <a:moveTo>
                      <a:pt x="1009" y="525"/>
                    </a:moveTo>
                    <a:lnTo>
                      <a:pt x="1009" y="525"/>
                    </a:lnTo>
                    <a:lnTo>
                      <a:pt x="1011" y="525"/>
                    </a:lnTo>
                    <a:lnTo>
                      <a:pt x="1011" y="525"/>
                    </a:lnTo>
                    <a:lnTo>
                      <a:pt x="1014" y="527"/>
                    </a:lnTo>
                    <a:lnTo>
                      <a:pt x="1014" y="527"/>
                    </a:lnTo>
                    <a:lnTo>
                      <a:pt x="1011" y="527"/>
                    </a:lnTo>
                    <a:lnTo>
                      <a:pt x="1009" y="527"/>
                    </a:lnTo>
                    <a:lnTo>
                      <a:pt x="1009" y="527"/>
                    </a:lnTo>
                    <a:lnTo>
                      <a:pt x="1009" y="525"/>
                    </a:lnTo>
                    <a:close/>
                    <a:moveTo>
                      <a:pt x="1021" y="489"/>
                    </a:moveTo>
                    <a:lnTo>
                      <a:pt x="1021" y="489"/>
                    </a:lnTo>
                    <a:lnTo>
                      <a:pt x="1023" y="489"/>
                    </a:lnTo>
                    <a:lnTo>
                      <a:pt x="1023" y="491"/>
                    </a:lnTo>
                    <a:lnTo>
                      <a:pt x="1021" y="491"/>
                    </a:lnTo>
                    <a:lnTo>
                      <a:pt x="1018" y="494"/>
                    </a:lnTo>
                    <a:lnTo>
                      <a:pt x="1018" y="491"/>
                    </a:lnTo>
                    <a:lnTo>
                      <a:pt x="1018" y="491"/>
                    </a:lnTo>
                    <a:lnTo>
                      <a:pt x="1018" y="491"/>
                    </a:lnTo>
                    <a:lnTo>
                      <a:pt x="1018" y="489"/>
                    </a:lnTo>
                    <a:lnTo>
                      <a:pt x="1018" y="489"/>
                    </a:lnTo>
                    <a:lnTo>
                      <a:pt x="1018" y="489"/>
                    </a:lnTo>
                    <a:lnTo>
                      <a:pt x="1018" y="491"/>
                    </a:lnTo>
                    <a:lnTo>
                      <a:pt x="1021" y="491"/>
                    </a:lnTo>
                    <a:lnTo>
                      <a:pt x="1021" y="48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5" name="Freeform 18"/>
              <p:cNvSpPr>
                <a:spLocks noEditPoints="1"/>
              </p:cNvSpPr>
              <p:nvPr/>
            </p:nvSpPr>
            <p:spPr bwMode="auto">
              <a:xfrm>
                <a:off x="6061717" y="4313193"/>
                <a:ext cx="295398" cy="474975"/>
              </a:xfrm>
              <a:custGeom>
                <a:avLst/>
                <a:gdLst/>
                <a:ahLst/>
                <a:cxnLst>
                  <a:cxn ang="0">
                    <a:pos x="2" y="366"/>
                  </a:cxn>
                  <a:cxn ang="0">
                    <a:pos x="2" y="357"/>
                  </a:cxn>
                  <a:cxn ang="0">
                    <a:pos x="9" y="340"/>
                  </a:cxn>
                  <a:cxn ang="0">
                    <a:pos x="4" y="319"/>
                  </a:cxn>
                  <a:cxn ang="0">
                    <a:pos x="14" y="302"/>
                  </a:cxn>
                  <a:cxn ang="0">
                    <a:pos x="66" y="291"/>
                  </a:cxn>
                  <a:cxn ang="0">
                    <a:pos x="71" y="272"/>
                  </a:cxn>
                  <a:cxn ang="0">
                    <a:pos x="89" y="255"/>
                  </a:cxn>
                  <a:cxn ang="0">
                    <a:pos x="89" y="239"/>
                  </a:cxn>
                  <a:cxn ang="0">
                    <a:pos x="99" y="224"/>
                  </a:cxn>
                  <a:cxn ang="0">
                    <a:pos x="108" y="210"/>
                  </a:cxn>
                  <a:cxn ang="0">
                    <a:pos x="120" y="194"/>
                  </a:cxn>
                  <a:cxn ang="0">
                    <a:pos x="120" y="184"/>
                  </a:cxn>
                  <a:cxn ang="0">
                    <a:pos x="120" y="170"/>
                  </a:cxn>
                  <a:cxn ang="0">
                    <a:pos x="113" y="161"/>
                  </a:cxn>
                  <a:cxn ang="0">
                    <a:pos x="104" y="151"/>
                  </a:cxn>
                  <a:cxn ang="0">
                    <a:pos x="104" y="142"/>
                  </a:cxn>
                  <a:cxn ang="0">
                    <a:pos x="92" y="130"/>
                  </a:cxn>
                  <a:cxn ang="0">
                    <a:pos x="80" y="125"/>
                  </a:cxn>
                  <a:cxn ang="0">
                    <a:pos x="99" y="123"/>
                  </a:cxn>
                  <a:cxn ang="0">
                    <a:pos x="120" y="116"/>
                  </a:cxn>
                  <a:cxn ang="0">
                    <a:pos x="104" y="99"/>
                  </a:cxn>
                  <a:cxn ang="0">
                    <a:pos x="108" y="73"/>
                  </a:cxn>
                  <a:cxn ang="0">
                    <a:pos x="92" y="62"/>
                  </a:cxn>
                  <a:cxn ang="0">
                    <a:pos x="99" y="40"/>
                  </a:cxn>
                  <a:cxn ang="0">
                    <a:pos x="113" y="33"/>
                  </a:cxn>
                  <a:cxn ang="0">
                    <a:pos x="123" y="28"/>
                  </a:cxn>
                  <a:cxn ang="0">
                    <a:pos x="139" y="28"/>
                  </a:cxn>
                  <a:cxn ang="0">
                    <a:pos x="137" y="10"/>
                  </a:cxn>
                  <a:cxn ang="0">
                    <a:pos x="146" y="14"/>
                  </a:cxn>
                  <a:cxn ang="0">
                    <a:pos x="160" y="7"/>
                  </a:cxn>
                  <a:cxn ang="0">
                    <a:pos x="184" y="5"/>
                  </a:cxn>
                  <a:cxn ang="0">
                    <a:pos x="203" y="10"/>
                  </a:cxn>
                  <a:cxn ang="0">
                    <a:pos x="274" y="76"/>
                  </a:cxn>
                  <a:cxn ang="0">
                    <a:pos x="276" y="184"/>
                  </a:cxn>
                  <a:cxn ang="0">
                    <a:pos x="231" y="250"/>
                  </a:cxn>
                  <a:cxn ang="0">
                    <a:pos x="222" y="272"/>
                  </a:cxn>
                  <a:cxn ang="0">
                    <a:pos x="212" y="302"/>
                  </a:cxn>
                  <a:cxn ang="0">
                    <a:pos x="200" y="314"/>
                  </a:cxn>
                  <a:cxn ang="0">
                    <a:pos x="203" y="319"/>
                  </a:cxn>
                  <a:cxn ang="0">
                    <a:pos x="191" y="343"/>
                  </a:cxn>
                  <a:cxn ang="0">
                    <a:pos x="179" y="359"/>
                  </a:cxn>
                  <a:cxn ang="0">
                    <a:pos x="174" y="364"/>
                  </a:cxn>
                  <a:cxn ang="0">
                    <a:pos x="170" y="373"/>
                  </a:cxn>
                  <a:cxn ang="0">
                    <a:pos x="158" y="383"/>
                  </a:cxn>
                  <a:cxn ang="0">
                    <a:pos x="151" y="383"/>
                  </a:cxn>
                  <a:cxn ang="0">
                    <a:pos x="146" y="385"/>
                  </a:cxn>
                  <a:cxn ang="0">
                    <a:pos x="134" y="406"/>
                  </a:cxn>
                  <a:cxn ang="0">
                    <a:pos x="115" y="447"/>
                  </a:cxn>
                  <a:cxn ang="0">
                    <a:pos x="106" y="439"/>
                  </a:cxn>
                  <a:cxn ang="0">
                    <a:pos x="87" y="437"/>
                  </a:cxn>
                  <a:cxn ang="0">
                    <a:pos x="82" y="435"/>
                  </a:cxn>
                  <a:cxn ang="0">
                    <a:pos x="68" y="435"/>
                  </a:cxn>
                  <a:cxn ang="0">
                    <a:pos x="56" y="435"/>
                  </a:cxn>
                  <a:cxn ang="0">
                    <a:pos x="40" y="430"/>
                  </a:cxn>
                  <a:cxn ang="0">
                    <a:pos x="26" y="423"/>
                  </a:cxn>
                  <a:cxn ang="0">
                    <a:pos x="19" y="416"/>
                  </a:cxn>
                  <a:cxn ang="0">
                    <a:pos x="19" y="406"/>
                  </a:cxn>
                  <a:cxn ang="0">
                    <a:pos x="21" y="390"/>
                  </a:cxn>
                  <a:cxn ang="0">
                    <a:pos x="9" y="380"/>
                  </a:cxn>
                  <a:cxn ang="0">
                    <a:pos x="191" y="345"/>
                  </a:cxn>
                  <a:cxn ang="0">
                    <a:pos x="167" y="364"/>
                  </a:cxn>
                  <a:cxn ang="0">
                    <a:pos x="200" y="326"/>
                  </a:cxn>
                </a:cxnLst>
                <a:rect l="0" t="0" r="r" b="b"/>
                <a:pathLst>
                  <a:path w="278" h="447">
                    <a:moveTo>
                      <a:pt x="0" y="376"/>
                    </a:moveTo>
                    <a:lnTo>
                      <a:pt x="0" y="376"/>
                    </a:lnTo>
                    <a:lnTo>
                      <a:pt x="0" y="373"/>
                    </a:lnTo>
                    <a:lnTo>
                      <a:pt x="0" y="373"/>
                    </a:lnTo>
                    <a:lnTo>
                      <a:pt x="2" y="373"/>
                    </a:lnTo>
                    <a:lnTo>
                      <a:pt x="2" y="373"/>
                    </a:lnTo>
                    <a:lnTo>
                      <a:pt x="2" y="373"/>
                    </a:lnTo>
                    <a:lnTo>
                      <a:pt x="2" y="371"/>
                    </a:lnTo>
                    <a:lnTo>
                      <a:pt x="0" y="371"/>
                    </a:lnTo>
                    <a:lnTo>
                      <a:pt x="2" y="371"/>
                    </a:lnTo>
                    <a:lnTo>
                      <a:pt x="2" y="369"/>
                    </a:lnTo>
                    <a:lnTo>
                      <a:pt x="2" y="369"/>
                    </a:lnTo>
                    <a:lnTo>
                      <a:pt x="2" y="369"/>
                    </a:lnTo>
                    <a:lnTo>
                      <a:pt x="2" y="366"/>
                    </a:lnTo>
                    <a:lnTo>
                      <a:pt x="2" y="366"/>
                    </a:lnTo>
                    <a:lnTo>
                      <a:pt x="4" y="364"/>
                    </a:lnTo>
                    <a:lnTo>
                      <a:pt x="4" y="364"/>
                    </a:lnTo>
                    <a:lnTo>
                      <a:pt x="7" y="361"/>
                    </a:lnTo>
                    <a:lnTo>
                      <a:pt x="7" y="361"/>
                    </a:lnTo>
                    <a:lnTo>
                      <a:pt x="7" y="361"/>
                    </a:lnTo>
                    <a:lnTo>
                      <a:pt x="7" y="361"/>
                    </a:lnTo>
                    <a:lnTo>
                      <a:pt x="9" y="359"/>
                    </a:lnTo>
                    <a:lnTo>
                      <a:pt x="7" y="359"/>
                    </a:lnTo>
                    <a:lnTo>
                      <a:pt x="7" y="359"/>
                    </a:lnTo>
                    <a:lnTo>
                      <a:pt x="7" y="359"/>
                    </a:lnTo>
                    <a:lnTo>
                      <a:pt x="7" y="357"/>
                    </a:lnTo>
                    <a:lnTo>
                      <a:pt x="7" y="357"/>
                    </a:lnTo>
                    <a:lnTo>
                      <a:pt x="2" y="357"/>
                    </a:lnTo>
                    <a:lnTo>
                      <a:pt x="2" y="357"/>
                    </a:lnTo>
                    <a:lnTo>
                      <a:pt x="2" y="354"/>
                    </a:lnTo>
                    <a:lnTo>
                      <a:pt x="2" y="354"/>
                    </a:lnTo>
                    <a:lnTo>
                      <a:pt x="4" y="354"/>
                    </a:lnTo>
                    <a:lnTo>
                      <a:pt x="4" y="352"/>
                    </a:lnTo>
                    <a:lnTo>
                      <a:pt x="7" y="350"/>
                    </a:lnTo>
                    <a:lnTo>
                      <a:pt x="7" y="350"/>
                    </a:lnTo>
                    <a:lnTo>
                      <a:pt x="7" y="347"/>
                    </a:lnTo>
                    <a:lnTo>
                      <a:pt x="9" y="347"/>
                    </a:lnTo>
                    <a:lnTo>
                      <a:pt x="9" y="347"/>
                    </a:lnTo>
                    <a:lnTo>
                      <a:pt x="9" y="345"/>
                    </a:lnTo>
                    <a:lnTo>
                      <a:pt x="7" y="343"/>
                    </a:lnTo>
                    <a:lnTo>
                      <a:pt x="9" y="343"/>
                    </a:lnTo>
                    <a:lnTo>
                      <a:pt x="9" y="340"/>
                    </a:lnTo>
                    <a:lnTo>
                      <a:pt x="9" y="338"/>
                    </a:lnTo>
                    <a:lnTo>
                      <a:pt x="9" y="333"/>
                    </a:lnTo>
                    <a:lnTo>
                      <a:pt x="9" y="333"/>
                    </a:lnTo>
                    <a:lnTo>
                      <a:pt x="9" y="331"/>
                    </a:lnTo>
                    <a:lnTo>
                      <a:pt x="4" y="328"/>
                    </a:lnTo>
                    <a:lnTo>
                      <a:pt x="2" y="326"/>
                    </a:lnTo>
                    <a:lnTo>
                      <a:pt x="2" y="324"/>
                    </a:lnTo>
                    <a:lnTo>
                      <a:pt x="2" y="324"/>
                    </a:lnTo>
                    <a:lnTo>
                      <a:pt x="2" y="321"/>
                    </a:lnTo>
                    <a:lnTo>
                      <a:pt x="2" y="321"/>
                    </a:lnTo>
                    <a:lnTo>
                      <a:pt x="4" y="319"/>
                    </a:lnTo>
                    <a:lnTo>
                      <a:pt x="2" y="319"/>
                    </a:lnTo>
                    <a:lnTo>
                      <a:pt x="4" y="319"/>
                    </a:lnTo>
                    <a:lnTo>
                      <a:pt x="4" y="319"/>
                    </a:lnTo>
                    <a:lnTo>
                      <a:pt x="7" y="317"/>
                    </a:lnTo>
                    <a:lnTo>
                      <a:pt x="7" y="317"/>
                    </a:lnTo>
                    <a:lnTo>
                      <a:pt x="9" y="317"/>
                    </a:lnTo>
                    <a:lnTo>
                      <a:pt x="9" y="314"/>
                    </a:lnTo>
                    <a:lnTo>
                      <a:pt x="9" y="314"/>
                    </a:lnTo>
                    <a:lnTo>
                      <a:pt x="11" y="314"/>
                    </a:lnTo>
                    <a:lnTo>
                      <a:pt x="11" y="314"/>
                    </a:lnTo>
                    <a:lnTo>
                      <a:pt x="11" y="312"/>
                    </a:lnTo>
                    <a:lnTo>
                      <a:pt x="11" y="310"/>
                    </a:lnTo>
                    <a:lnTo>
                      <a:pt x="14" y="310"/>
                    </a:lnTo>
                    <a:lnTo>
                      <a:pt x="14" y="305"/>
                    </a:lnTo>
                    <a:lnTo>
                      <a:pt x="14" y="305"/>
                    </a:lnTo>
                    <a:lnTo>
                      <a:pt x="14" y="305"/>
                    </a:lnTo>
                    <a:lnTo>
                      <a:pt x="14" y="302"/>
                    </a:lnTo>
                    <a:lnTo>
                      <a:pt x="26" y="302"/>
                    </a:lnTo>
                    <a:lnTo>
                      <a:pt x="54" y="302"/>
                    </a:lnTo>
                    <a:lnTo>
                      <a:pt x="59" y="302"/>
                    </a:lnTo>
                    <a:lnTo>
                      <a:pt x="59" y="302"/>
                    </a:lnTo>
                    <a:lnTo>
                      <a:pt x="59" y="300"/>
                    </a:lnTo>
                    <a:lnTo>
                      <a:pt x="59" y="302"/>
                    </a:lnTo>
                    <a:lnTo>
                      <a:pt x="63" y="300"/>
                    </a:lnTo>
                    <a:lnTo>
                      <a:pt x="63" y="298"/>
                    </a:lnTo>
                    <a:lnTo>
                      <a:pt x="63" y="298"/>
                    </a:lnTo>
                    <a:lnTo>
                      <a:pt x="63" y="295"/>
                    </a:lnTo>
                    <a:lnTo>
                      <a:pt x="66" y="295"/>
                    </a:lnTo>
                    <a:lnTo>
                      <a:pt x="66" y="293"/>
                    </a:lnTo>
                    <a:lnTo>
                      <a:pt x="66" y="293"/>
                    </a:lnTo>
                    <a:lnTo>
                      <a:pt x="66" y="291"/>
                    </a:lnTo>
                    <a:lnTo>
                      <a:pt x="66" y="291"/>
                    </a:lnTo>
                    <a:lnTo>
                      <a:pt x="66" y="288"/>
                    </a:lnTo>
                    <a:lnTo>
                      <a:pt x="66" y="288"/>
                    </a:lnTo>
                    <a:lnTo>
                      <a:pt x="68" y="286"/>
                    </a:lnTo>
                    <a:lnTo>
                      <a:pt x="68" y="284"/>
                    </a:lnTo>
                    <a:lnTo>
                      <a:pt x="68" y="284"/>
                    </a:lnTo>
                    <a:lnTo>
                      <a:pt x="68" y="281"/>
                    </a:lnTo>
                    <a:lnTo>
                      <a:pt x="71" y="281"/>
                    </a:lnTo>
                    <a:lnTo>
                      <a:pt x="71" y="279"/>
                    </a:lnTo>
                    <a:lnTo>
                      <a:pt x="73" y="276"/>
                    </a:lnTo>
                    <a:lnTo>
                      <a:pt x="71" y="276"/>
                    </a:lnTo>
                    <a:lnTo>
                      <a:pt x="71" y="274"/>
                    </a:lnTo>
                    <a:lnTo>
                      <a:pt x="71" y="272"/>
                    </a:lnTo>
                    <a:lnTo>
                      <a:pt x="71" y="272"/>
                    </a:lnTo>
                    <a:lnTo>
                      <a:pt x="73" y="269"/>
                    </a:lnTo>
                    <a:lnTo>
                      <a:pt x="73" y="267"/>
                    </a:lnTo>
                    <a:lnTo>
                      <a:pt x="75" y="267"/>
                    </a:lnTo>
                    <a:lnTo>
                      <a:pt x="78" y="267"/>
                    </a:lnTo>
                    <a:lnTo>
                      <a:pt x="78" y="267"/>
                    </a:lnTo>
                    <a:lnTo>
                      <a:pt x="80" y="267"/>
                    </a:lnTo>
                    <a:lnTo>
                      <a:pt x="82" y="265"/>
                    </a:lnTo>
                    <a:lnTo>
                      <a:pt x="82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7" y="262"/>
                    </a:lnTo>
                    <a:lnTo>
                      <a:pt x="87" y="260"/>
                    </a:lnTo>
                    <a:lnTo>
                      <a:pt x="87" y="255"/>
                    </a:lnTo>
                    <a:lnTo>
                      <a:pt x="89" y="255"/>
                    </a:lnTo>
                    <a:lnTo>
                      <a:pt x="89" y="255"/>
                    </a:lnTo>
                    <a:lnTo>
                      <a:pt x="87" y="253"/>
                    </a:lnTo>
                    <a:lnTo>
                      <a:pt x="89" y="253"/>
                    </a:lnTo>
                    <a:lnTo>
                      <a:pt x="89" y="250"/>
                    </a:lnTo>
                    <a:lnTo>
                      <a:pt x="89" y="248"/>
                    </a:lnTo>
                    <a:lnTo>
                      <a:pt x="89" y="248"/>
                    </a:lnTo>
                    <a:lnTo>
                      <a:pt x="89" y="248"/>
                    </a:lnTo>
                    <a:lnTo>
                      <a:pt x="89" y="248"/>
                    </a:lnTo>
                    <a:lnTo>
                      <a:pt x="89" y="246"/>
                    </a:lnTo>
                    <a:lnTo>
                      <a:pt x="87" y="243"/>
                    </a:lnTo>
                    <a:lnTo>
                      <a:pt x="87" y="243"/>
                    </a:lnTo>
                    <a:lnTo>
                      <a:pt x="89" y="241"/>
                    </a:lnTo>
                    <a:lnTo>
                      <a:pt x="87" y="241"/>
                    </a:lnTo>
                    <a:lnTo>
                      <a:pt x="89" y="239"/>
                    </a:lnTo>
                    <a:lnTo>
                      <a:pt x="89" y="239"/>
                    </a:lnTo>
                    <a:lnTo>
                      <a:pt x="89" y="236"/>
                    </a:lnTo>
                    <a:lnTo>
                      <a:pt x="89" y="236"/>
                    </a:lnTo>
                    <a:lnTo>
                      <a:pt x="89" y="234"/>
                    </a:lnTo>
                    <a:lnTo>
                      <a:pt x="89" y="232"/>
                    </a:lnTo>
                    <a:lnTo>
                      <a:pt x="89" y="232"/>
                    </a:lnTo>
                    <a:lnTo>
                      <a:pt x="92" y="232"/>
                    </a:lnTo>
                    <a:lnTo>
                      <a:pt x="94" y="232"/>
                    </a:lnTo>
                    <a:lnTo>
                      <a:pt x="94" y="229"/>
                    </a:lnTo>
                    <a:lnTo>
                      <a:pt x="94" y="229"/>
                    </a:lnTo>
                    <a:lnTo>
                      <a:pt x="97" y="229"/>
                    </a:lnTo>
                    <a:lnTo>
                      <a:pt x="97" y="227"/>
                    </a:lnTo>
                    <a:lnTo>
                      <a:pt x="99" y="224"/>
                    </a:lnTo>
                    <a:lnTo>
                      <a:pt x="99" y="224"/>
                    </a:lnTo>
                    <a:lnTo>
                      <a:pt x="99" y="222"/>
                    </a:lnTo>
                    <a:lnTo>
                      <a:pt x="101" y="222"/>
                    </a:lnTo>
                    <a:lnTo>
                      <a:pt x="101" y="222"/>
                    </a:lnTo>
                    <a:lnTo>
                      <a:pt x="101" y="222"/>
                    </a:lnTo>
                    <a:lnTo>
                      <a:pt x="104" y="222"/>
                    </a:lnTo>
                    <a:lnTo>
                      <a:pt x="104" y="220"/>
                    </a:lnTo>
                    <a:lnTo>
                      <a:pt x="106" y="220"/>
                    </a:lnTo>
                    <a:lnTo>
                      <a:pt x="106" y="217"/>
                    </a:lnTo>
                    <a:lnTo>
                      <a:pt x="106" y="217"/>
                    </a:lnTo>
                    <a:lnTo>
                      <a:pt x="104" y="215"/>
                    </a:lnTo>
                    <a:lnTo>
                      <a:pt x="106" y="213"/>
                    </a:lnTo>
                    <a:lnTo>
                      <a:pt x="104" y="210"/>
                    </a:lnTo>
                    <a:lnTo>
                      <a:pt x="104" y="208"/>
                    </a:lnTo>
                    <a:lnTo>
                      <a:pt x="108" y="210"/>
                    </a:lnTo>
                    <a:lnTo>
                      <a:pt x="111" y="210"/>
                    </a:lnTo>
                    <a:lnTo>
                      <a:pt x="113" y="210"/>
                    </a:lnTo>
                    <a:lnTo>
                      <a:pt x="113" y="210"/>
                    </a:lnTo>
                    <a:lnTo>
                      <a:pt x="118" y="206"/>
                    </a:lnTo>
                    <a:lnTo>
                      <a:pt x="118" y="206"/>
                    </a:lnTo>
                    <a:lnTo>
                      <a:pt x="118" y="206"/>
                    </a:lnTo>
                    <a:lnTo>
                      <a:pt x="115" y="203"/>
                    </a:lnTo>
                    <a:lnTo>
                      <a:pt x="115" y="203"/>
                    </a:lnTo>
                    <a:lnTo>
                      <a:pt x="115" y="201"/>
                    </a:lnTo>
                    <a:lnTo>
                      <a:pt x="115" y="201"/>
                    </a:lnTo>
                    <a:lnTo>
                      <a:pt x="115" y="199"/>
                    </a:lnTo>
                    <a:lnTo>
                      <a:pt x="115" y="199"/>
                    </a:lnTo>
                    <a:lnTo>
                      <a:pt x="115" y="196"/>
                    </a:lnTo>
                    <a:lnTo>
                      <a:pt x="120" y="194"/>
                    </a:lnTo>
                    <a:lnTo>
                      <a:pt x="120" y="194"/>
                    </a:lnTo>
                    <a:lnTo>
                      <a:pt x="120" y="194"/>
                    </a:lnTo>
                    <a:lnTo>
                      <a:pt x="118" y="191"/>
                    </a:lnTo>
                    <a:lnTo>
                      <a:pt x="118" y="189"/>
                    </a:lnTo>
                    <a:lnTo>
                      <a:pt x="120" y="187"/>
                    </a:lnTo>
                    <a:lnTo>
                      <a:pt x="120" y="187"/>
                    </a:lnTo>
                    <a:lnTo>
                      <a:pt x="120" y="187"/>
                    </a:lnTo>
                    <a:lnTo>
                      <a:pt x="123" y="187"/>
                    </a:lnTo>
                    <a:lnTo>
                      <a:pt x="123" y="184"/>
                    </a:lnTo>
                    <a:lnTo>
                      <a:pt x="123" y="184"/>
                    </a:lnTo>
                    <a:lnTo>
                      <a:pt x="120" y="184"/>
                    </a:lnTo>
                    <a:lnTo>
                      <a:pt x="120" y="184"/>
                    </a:lnTo>
                    <a:lnTo>
                      <a:pt x="120" y="184"/>
                    </a:lnTo>
                    <a:lnTo>
                      <a:pt x="120" y="184"/>
                    </a:lnTo>
                    <a:lnTo>
                      <a:pt x="120" y="182"/>
                    </a:lnTo>
                    <a:lnTo>
                      <a:pt x="118" y="182"/>
                    </a:lnTo>
                    <a:lnTo>
                      <a:pt x="118" y="182"/>
                    </a:lnTo>
                    <a:lnTo>
                      <a:pt x="120" y="180"/>
                    </a:lnTo>
                    <a:lnTo>
                      <a:pt x="120" y="180"/>
                    </a:lnTo>
                    <a:lnTo>
                      <a:pt x="120" y="177"/>
                    </a:lnTo>
                    <a:lnTo>
                      <a:pt x="120" y="177"/>
                    </a:lnTo>
                    <a:lnTo>
                      <a:pt x="118" y="177"/>
                    </a:lnTo>
                    <a:lnTo>
                      <a:pt x="120" y="177"/>
                    </a:lnTo>
                    <a:lnTo>
                      <a:pt x="118" y="175"/>
                    </a:lnTo>
                    <a:lnTo>
                      <a:pt x="118" y="175"/>
                    </a:lnTo>
                    <a:lnTo>
                      <a:pt x="120" y="175"/>
                    </a:lnTo>
                    <a:lnTo>
                      <a:pt x="120" y="173"/>
                    </a:lnTo>
                    <a:lnTo>
                      <a:pt x="120" y="170"/>
                    </a:lnTo>
                    <a:lnTo>
                      <a:pt x="120" y="170"/>
                    </a:lnTo>
                    <a:lnTo>
                      <a:pt x="120" y="170"/>
                    </a:lnTo>
                    <a:lnTo>
                      <a:pt x="120" y="170"/>
                    </a:lnTo>
                    <a:lnTo>
                      <a:pt x="120" y="168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18" y="165"/>
                    </a:lnTo>
                    <a:lnTo>
                      <a:pt x="118" y="165"/>
                    </a:lnTo>
                    <a:lnTo>
                      <a:pt x="118" y="163"/>
                    </a:lnTo>
                    <a:lnTo>
                      <a:pt x="115" y="163"/>
                    </a:lnTo>
                    <a:lnTo>
                      <a:pt x="115" y="161"/>
                    </a:lnTo>
                    <a:lnTo>
                      <a:pt x="115" y="161"/>
                    </a:lnTo>
                    <a:lnTo>
                      <a:pt x="113" y="161"/>
                    </a:lnTo>
                    <a:lnTo>
                      <a:pt x="113" y="161"/>
                    </a:lnTo>
                    <a:lnTo>
                      <a:pt x="113" y="158"/>
                    </a:lnTo>
                    <a:lnTo>
                      <a:pt x="113" y="158"/>
                    </a:lnTo>
                    <a:lnTo>
                      <a:pt x="111" y="158"/>
                    </a:lnTo>
                    <a:lnTo>
                      <a:pt x="111" y="158"/>
                    </a:lnTo>
                    <a:lnTo>
                      <a:pt x="111" y="158"/>
                    </a:lnTo>
                    <a:lnTo>
                      <a:pt x="111" y="156"/>
                    </a:lnTo>
                    <a:lnTo>
                      <a:pt x="108" y="156"/>
                    </a:lnTo>
                    <a:lnTo>
                      <a:pt x="108" y="154"/>
                    </a:lnTo>
                    <a:lnTo>
                      <a:pt x="108" y="154"/>
                    </a:lnTo>
                    <a:lnTo>
                      <a:pt x="108" y="156"/>
                    </a:lnTo>
                    <a:lnTo>
                      <a:pt x="106" y="154"/>
                    </a:lnTo>
                    <a:lnTo>
                      <a:pt x="104" y="154"/>
                    </a:lnTo>
                    <a:lnTo>
                      <a:pt x="104" y="151"/>
                    </a:lnTo>
                    <a:lnTo>
                      <a:pt x="104" y="151"/>
                    </a:lnTo>
                    <a:lnTo>
                      <a:pt x="101" y="151"/>
                    </a:lnTo>
                    <a:lnTo>
                      <a:pt x="104" y="149"/>
                    </a:lnTo>
                    <a:lnTo>
                      <a:pt x="101" y="149"/>
                    </a:lnTo>
                    <a:lnTo>
                      <a:pt x="101" y="147"/>
                    </a:lnTo>
                    <a:lnTo>
                      <a:pt x="101" y="144"/>
                    </a:lnTo>
                    <a:lnTo>
                      <a:pt x="104" y="144"/>
                    </a:lnTo>
                    <a:lnTo>
                      <a:pt x="108" y="142"/>
                    </a:lnTo>
                    <a:lnTo>
                      <a:pt x="108" y="142"/>
                    </a:lnTo>
                    <a:lnTo>
                      <a:pt x="108" y="142"/>
                    </a:lnTo>
                    <a:lnTo>
                      <a:pt x="108" y="142"/>
                    </a:lnTo>
                    <a:lnTo>
                      <a:pt x="108" y="142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4" y="142"/>
                    </a:lnTo>
                    <a:lnTo>
                      <a:pt x="104" y="142"/>
                    </a:lnTo>
                    <a:lnTo>
                      <a:pt x="104" y="139"/>
                    </a:lnTo>
                    <a:lnTo>
                      <a:pt x="104" y="139"/>
                    </a:lnTo>
                    <a:lnTo>
                      <a:pt x="101" y="139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99" y="135"/>
                    </a:lnTo>
                    <a:lnTo>
                      <a:pt x="97" y="135"/>
                    </a:lnTo>
                    <a:lnTo>
                      <a:pt x="97" y="135"/>
                    </a:lnTo>
                    <a:lnTo>
                      <a:pt x="97" y="132"/>
                    </a:lnTo>
                    <a:lnTo>
                      <a:pt x="94" y="132"/>
                    </a:lnTo>
                    <a:lnTo>
                      <a:pt x="94" y="130"/>
                    </a:lnTo>
                    <a:lnTo>
                      <a:pt x="92" y="130"/>
                    </a:lnTo>
                    <a:lnTo>
                      <a:pt x="92" y="130"/>
                    </a:lnTo>
                    <a:lnTo>
                      <a:pt x="92" y="130"/>
                    </a:lnTo>
                    <a:lnTo>
                      <a:pt x="92" y="130"/>
                    </a:lnTo>
                    <a:lnTo>
                      <a:pt x="89" y="128"/>
                    </a:lnTo>
                    <a:lnTo>
                      <a:pt x="89" y="125"/>
                    </a:lnTo>
                    <a:lnTo>
                      <a:pt x="87" y="128"/>
                    </a:lnTo>
                    <a:lnTo>
                      <a:pt x="85" y="128"/>
                    </a:lnTo>
                    <a:lnTo>
                      <a:pt x="85" y="125"/>
                    </a:lnTo>
                    <a:lnTo>
                      <a:pt x="85" y="128"/>
                    </a:lnTo>
                    <a:lnTo>
                      <a:pt x="85" y="128"/>
                    </a:lnTo>
                    <a:lnTo>
                      <a:pt x="82" y="130"/>
                    </a:lnTo>
                    <a:lnTo>
                      <a:pt x="82" y="125"/>
                    </a:lnTo>
                    <a:lnTo>
                      <a:pt x="80" y="125"/>
                    </a:lnTo>
                    <a:lnTo>
                      <a:pt x="80" y="125"/>
                    </a:lnTo>
                    <a:lnTo>
                      <a:pt x="80" y="125"/>
                    </a:lnTo>
                    <a:lnTo>
                      <a:pt x="80" y="125"/>
                    </a:lnTo>
                    <a:lnTo>
                      <a:pt x="80" y="123"/>
                    </a:lnTo>
                    <a:lnTo>
                      <a:pt x="80" y="121"/>
                    </a:lnTo>
                    <a:lnTo>
                      <a:pt x="82" y="118"/>
                    </a:lnTo>
                    <a:lnTo>
                      <a:pt x="89" y="118"/>
                    </a:lnTo>
                    <a:lnTo>
                      <a:pt x="89" y="118"/>
                    </a:lnTo>
                    <a:lnTo>
                      <a:pt x="92" y="118"/>
                    </a:lnTo>
                    <a:lnTo>
                      <a:pt x="94" y="118"/>
                    </a:lnTo>
                    <a:lnTo>
                      <a:pt x="94" y="121"/>
                    </a:lnTo>
                    <a:lnTo>
                      <a:pt x="94" y="121"/>
                    </a:lnTo>
                    <a:lnTo>
                      <a:pt x="94" y="121"/>
                    </a:lnTo>
                    <a:lnTo>
                      <a:pt x="97" y="123"/>
                    </a:lnTo>
                    <a:lnTo>
                      <a:pt x="99" y="123"/>
                    </a:lnTo>
                    <a:lnTo>
                      <a:pt x="101" y="123"/>
                    </a:lnTo>
                    <a:lnTo>
                      <a:pt x="104" y="123"/>
                    </a:lnTo>
                    <a:lnTo>
                      <a:pt x="108" y="123"/>
                    </a:lnTo>
                    <a:lnTo>
                      <a:pt x="115" y="123"/>
                    </a:lnTo>
                    <a:lnTo>
                      <a:pt x="118" y="123"/>
                    </a:lnTo>
                    <a:lnTo>
                      <a:pt x="118" y="123"/>
                    </a:lnTo>
                    <a:lnTo>
                      <a:pt x="118" y="123"/>
                    </a:lnTo>
                    <a:lnTo>
                      <a:pt x="120" y="123"/>
                    </a:lnTo>
                    <a:lnTo>
                      <a:pt x="120" y="121"/>
                    </a:lnTo>
                    <a:lnTo>
                      <a:pt x="120" y="121"/>
                    </a:lnTo>
                    <a:lnTo>
                      <a:pt x="120" y="121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6"/>
                    </a:lnTo>
                    <a:lnTo>
                      <a:pt x="118" y="116"/>
                    </a:lnTo>
                    <a:lnTo>
                      <a:pt x="118" y="111"/>
                    </a:lnTo>
                    <a:lnTo>
                      <a:pt x="118" y="109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3" y="102"/>
                    </a:lnTo>
                    <a:lnTo>
                      <a:pt x="111" y="102"/>
                    </a:lnTo>
                    <a:lnTo>
                      <a:pt x="111" y="102"/>
                    </a:lnTo>
                    <a:lnTo>
                      <a:pt x="108" y="99"/>
                    </a:lnTo>
                    <a:lnTo>
                      <a:pt x="106" y="99"/>
                    </a:lnTo>
                    <a:lnTo>
                      <a:pt x="108" y="99"/>
                    </a:lnTo>
                    <a:lnTo>
                      <a:pt x="106" y="99"/>
                    </a:lnTo>
                    <a:lnTo>
                      <a:pt x="106" y="97"/>
                    </a:lnTo>
                    <a:lnTo>
                      <a:pt x="104" y="99"/>
                    </a:lnTo>
                    <a:lnTo>
                      <a:pt x="106" y="97"/>
                    </a:lnTo>
                    <a:lnTo>
                      <a:pt x="104" y="97"/>
                    </a:lnTo>
                    <a:lnTo>
                      <a:pt x="104" y="97"/>
                    </a:lnTo>
                    <a:lnTo>
                      <a:pt x="104" y="97"/>
                    </a:lnTo>
                    <a:lnTo>
                      <a:pt x="106" y="95"/>
                    </a:lnTo>
                    <a:lnTo>
                      <a:pt x="106" y="95"/>
                    </a:lnTo>
                    <a:lnTo>
                      <a:pt x="106" y="95"/>
                    </a:lnTo>
                    <a:lnTo>
                      <a:pt x="106" y="92"/>
                    </a:lnTo>
                    <a:lnTo>
                      <a:pt x="106" y="85"/>
                    </a:lnTo>
                    <a:lnTo>
                      <a:pt x="108" y="85"/>
                    </a:lnTo>
                    <a:lnTo>
                      <a:pt x="108" y="83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3"/>
                    </a:lnTo>
                    <a:lnTo>
                      <a:pt x="108" y="73"/>
                    </a:lnTo>
                    <a:lnTo>
                      <a:pt x="104" y="73"/>
                    </a:lnTo>
                    <a:lnTo>
                      <a:pt x="99" y="73"/>
                    </a:lnTo>
                    <a:lnTo>
                      <a:pt x="89" y="71"/>
                    </a:lnTo>
                    <a:lnTo>
                      <a:pt x="87" y="71"/>
                    </a:lnTo>
                    <a:lnTo>
                      <a:pt x="89" y="69"/>
                    </a:lnTo>
                    <a:lnTo>
                      <a:pt x="92" y="69"/>
                    </a:lnTo>
                    <a:lnTo>
                      <a:pt x="92" y="66"/>
                    </a:lnTo>
                    <a:lnTo>
                      <a:pt x="89" y="66"/>
                    </a:lnTo>
                    <a:lnTo>
                      <a:pt x="89" y="66"/>
                    </a:lnTo>
                    <a:lnTo>
                      <a:pt x="89" y="64"/>
                    </a:lnTo>
                    <a:lnTo>
                      <a:pt x="92" y="64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59"/>
                    </a:lnTo>
                    <a:lnTo>
                      <a:pt x="92" y="57"/>
                    </a:lnTo>
                    <a:lnTo>
                      <a:pt x="92" y="54"/>
                    </a:lnTo>
                    <a:lnTo>
                      <a:pt x="92" y="52"/>
                    </a:lnTo>
                    <a:lnTo>
                      <a:pt x="94" y="50"/>
                    </a:lnTo>
                    <a:lnTo>
                      <a:pt x="99" y="47"/>
                    </a:lnTo>
                    <a:lnTo>
                      <a:pt x="99" y="47"/>
                    </a:lnTo>
                    <a:lnTo>
                      <a:pt x="99" y="45"/>
                    </a:lnTo>
                    <a:lnTo>
                      <a:pt x="99" y="45"/>
                    </a:lnTo>
                    <a:lnTo>
                      <a:pt x="99" y="45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1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6"/>
                    </a:lnTo>
                    <a:lnTo>
                      <a:pt x="106" y="36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6"/>
                    </a:lnTo>
                    <a:lnTo>
                      <a:pt x="111" y="36"/>
                    </a:lnTo>
                    <a:lnTo>
                      <a:pt x="113" y="33"/>
                    </a:lnTo>
                    <a:lnTo>
                      <a:pt x="113" y="33"/>
                    </a:lnTo>
                    <a:lnTo>
                      <a:pt x="115" y="33"/>
                    </a:lnTo>
                    <a:lnTo>
                      <a:pt x="115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1"/>
                    </a:lnTo>
                    <a:lnTo>
                      <a:pt x="118" y="31"/>
                    </a:lnTo>
                    <a:lnTo>
                      <a:pt x="118" y="31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3" y="28"/>
                    </a:lnTo>
                    <a:lnTo>
                      <a:pt x="123" y="28"/>
                    </a:lnTo>
                    <a:lnTo>
                      <a:pt x="123" y="28"/>
                    </a:lnTo>
                    <a:lnTo>
                      <a:pt x="123" y="28"/>
                    </a:lnTo>
                    <a:lnTo>
                      <a:pt x="125" y="28"/>
                    </a:lnTo>
                    <a:lnTo>
                      <a:pt x="125" y="31"/>
                    </a:lnTo>
                    <a:lnTo>
                      <a:pt x="127" y="31"/>
                    </a:lnTo>
                    <a:lnTo>
                      <a:pt x="127" y="31"/>
                    </a:lnTo>
                    <a:lnTo>
                      <a:pt x="127" y="33"/>
                    </a:lnTo>
                    <a:lnTo>
                      <a:pt x="130" y="33"/>
                    </a:lnTo>
                    <a:lnTo>
                      <a:pt x="130" y="33"/>
                    </a:lnTo>
                    <a:lnTo>
                      <a:pt x="130" y="33"/>
                    </a:lnTo>
                    <a:lnTo>
                      <a:pt x="132" y="33"/>
                    </a:lnTo>
                    <a:lnTo>
                      <a:pt x="132" y="33"/>
                    </a:lnTo>
                    <a:lnTo>
                      <a:pt x="137" y="33"/>
                    </a:lnTo>
                    <a:lnTo>
                      <a:pt x="137" y="36"/>
                    </a:lnTo>
                    <a:lnTo>
                      <a:pt x="139" y="33"/>
                    </a:lnTo>
                    <a:lnTo>
                      <a:pt x="139" y="28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5" y="12"/>
                    </a:lnTo>
                    <a:lnTo>
                      <a:pt x="125" y="10"/>
                    </a:lnTo>
                    <a:lnTo>
                      <a:pt x="127" y="12"/>
                    </a:lnTo>
                    <a:lnTo>
                      <a:pt x="127" y="12"/>
                    </a:lnTo>
                    <a:lnTo>
                      <a:pt x="127" y="12"/>
                    </a:lnTo>
                    <a:lnTo>
                      <a:pt x="130" y="12"/>
                    </a:lnTo>
                    <a:lnTo>
                      <a:pt x="132" y="10"/>
                    </a:lnTo>
                    <a:lnTo>
                      <a:pt x="132" y="10"/>
                    </a:lnTo>
                    <a:lnTo>
                      <a:pt x="132" y="10"/>
                    </a:lnTo>
                    <a:lnTo>
                      <a:pt x="134" y="10"/>
                    </a:lnTo>
                    <a:lnTo>
                      <a:pt x="134" y="7"/>
                    </a:lnTo>
                    <a:lnTo>
                      <a:pt x="137" y="10"/>
                    </a:lnTo>
                    <a:lnTo>
                      <a:pt x="137" y="10"/>
                    </a:lnTo>
                    <a:lnTo>
                      <a:pt x="137" y="10"/>
                    </a:lnTo>
                    <a:lnTo>
                      <a:pt x="137" y="12"/>
                    </a:lnTo>
                    <a:lnTo>
                      <a:pt x="139" y="12"/>
                    </a:lnTo>
                    <a:lnTo>
                      <a:pt x="139" y="12"/>
                    </a:lnTo>
                    <a:lnTo>
                      <a:pt x="139" y="12"/>
                    </a:lnTo>
                    <a:lnTo>
                      <a:pt x="139" y="12"/>
                    </a:lnTo>
                    <a:lnTo>
                      <a:pt x="139" y="14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1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7"/>
                    </a:lnTo>
                    <a:lnTo>
                      <a:pt x="148" y="17"/>
                    </a:lnTo>
                    <a:lnTo>
                      <a:pt x="151" y="14"/>
                    </a:lnTo>
                    <a:lnTo>
                      <a:pt x="151" y="17"/>
                    </a:lnTo>
                    <a:lnTo>
                      <a:pt x="151" y="14"/>
                    </a:lnTo>
                    <a:lnTo>
                      <a:pt x="153" y="17"/>
                    </a:lnTo>
                    <a:lnTo>
                      <a:pt x="156" y="14"/>
                    </a:lnTo>
                    <a:lnTo>
                      <a:pt x="156" y="14"/>
                    </a:lnTo>
                    <a:lnTo>
                      <a:pt x="158" y="12"/>
                    </a:lnTo>
                    <a:lnTo>
                      <a:pt x="158" y="12"/>
                    </a:lnTo>
                    <a:lnTo>
                      <a:pt x="160" y="10"/>
                    </a:lnTo>
                    <a:lnTo>
                      <a:pt x="158" y="10"/>
                    </a:lnTo>
                    <a:lnTo>
                      <a:pt x="160" y="7"/>
                    </a:lnTo>
                    <a:lnTo>
                      <a:pt x="160" y="7"/>
                    </a:lnTo>
                    <a:lnTo>
                      <a:pt x="160" y="5"/>
                    </a:lnTo>
                    <a:lnTo>
                      <a:pt x="160" y="5"/>
                    </a:lnTo>
                    <a:lnTo>
                      <a:pt x="163" y="5"/>
                    </a:lnTo>
                    <a:lnTo>
                      <a:pt x="163" y="2"/>
                    </a:lnTo>
                    <a:lnTo>
                      <a:pt x="165" y="2"/>
                    </a:lnTo>
                    <a:lnTo>
                      <a:pt x="167" y="2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74" y="2"/>
                    </a:lnTo>
                    <a:lnTo>
                      <a:pt x="177" y="2"/>
                    </a:lnTo>
                    <a:lnTo>
                      <a:pt x="179" y="5"/>
                    </a:lnTo>
                    <a:lnTo>
                      <a:pt x="179" y="2"/>
                    </a:lnTo>
                    <a:lnTo>
                      <a:pt x="184" y="5"/>
                    </a:lnTo>
                    <a:lnTo>
                      <a:pt x="184" y="5"/>
                    </a:lnTo>
                    <a:lnTo>
                      <a:pt x="189" y="5"/>
                    </a:lnTo>
                    <a:lnTo>
                      <a:pt x="189" y="5"/>
                    </a:lnTo>
                    <a:lnTo>
                      <a:pt x="191" y="5"/>
                    </a:lnTo>
                    <a:lnTo>
                      <a:pt x="191" y="5"/>
                    </a:lnTo>
                    <a:lnTo>
                      <a:pt x="193" y="5"/>
                    </a:lnTo>
                    <a:lnTo>
                      <a:pt x="193" y="5"/>
                    </a:lnTo>
                    <a:lnTo>
                      <a:pt x="196" y="5"/>
                    </a:lnTo>
                    <a:lnTo>
                      <a:pt x="196" y="5"/>
                    </a:lnTo>
                    <a:lnTo>
                      <a:pt x="198" y="5"/>
                    </a:lnTo>
                    <a:lnTo>
                      <a:pt x="198" y="7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03" y="10"/>
                    </a:lnTo>
                    <a:lnTo>
                      <a:pt x="203" y="10"/>
                    </a:lnTo>
                    <a:lnTo>
                      <a:pt x="205" y="10"/>
                    </a:lnTo>
                    <a:lnTo>
                      <a:pt x="210" y="12"/>
                    </a:lnTo>
                    <a:lnTo>
                      <a:pt x="229" y="24"/>
                    </a:lnTo>
                    <a:lnTo>
                      <a:pt x="243" y="33"/>
                    </a:lnTo>
                    <a:lnTo>
                      <a:pt x="248" y="38"/>
                    </a:lnTo>
                    <a:lnTo>
                      <a:pt x="248" y="38"/>
                    </a:lnTo>
                    <a:lnTo>
                      <a:pt x="276" y="57"/>
                    </a:lnTo>
                    <a:lnTo>
                      <a:pt x="278" y="57"/>
                    </a:lnTo>
                    <a:lnTo>
                      <a:pt x="278" y="57"/>
                    </a:lnTo>
                    <a:lnTo>
                      <a:pt x="278" y="59"/>
                    </a:lnTo>
                    <a:lnTo>
                      <a:pt x="278" y="59"/>
                    </a:lnTo>
                    <a:lnTo>
                      <a:pt x="276" y="69"/>
                    </a:lnTo>
                    <a:lnTo>
                      <a:pt x="276" y="69"/>
                    </a:lnTo>
                    <a:lnTo>
                      <a:pt x="274" y="76"/>
                    </a:lnTo>
                    <a:lnTo>
                      <a:pt x="271" y="80"/>
                    </a:lnTo>
                    <a:lnTo>
                      <a:pt x="271" y="85"/>
                    </a:lnTo>
                    <a:lnTo>
                      <a:pt x="271" y="87"/>
                    </a:lnTo>
                    <a:lnTo>
                      <a:pt x="271" y="92"/>
                    </a:lnTo>
                    <a:lnTo>
                      <a:pt x="274" y="92"/>
                    </a:lnTo>
                    <a:lnTo>
                      <a:pt x="271" y="97"/>
                    </a:lnTo>
                    <a:lnTo>
                      <a:pt x="269" y="106"/>
                    </a:lnTo>
                    <a:lnTo>
                      <a:pt x="269" y="116"/>
                    </a:lnTo>
                    <a:lnTo>
                      <a:pt x="269" y="123"/>
                    </a:lnTo>
                    <a:lnTo>
                      <a:pt x="271" y="139"/>
                    </a:lnTo>
                    <a:lnTo>
                      <a:pt x="274" y="158"/>
                    </a:lnTo>
                    <a:lnTo>
                      <a:pt x="274" y="168"/>
                    </a:lnTo>
                    <a:lnTo>
                      <a:pt x="276" y="177"/>
                    </a:lnTo>
                    <a:lnTo>
                      <a:pt x="276" y="184"/>
                    </a:lnTo>
                    <a:lnTo>
                      <a:pt x="276" y="194"/>
                    </a:lnTo>
                    <a:lnTo>
                      <a:pt x="271" y="206"/>
                    </a:lnTo>
                    <a:lnTo>
                      <a:pt x="267" y="217"/>
                    </a:lnTo>
                    <a:lnTo>
                      <a:pt x="262" y="227"/>
                    </a:lnTo>
                    <a:lnTo>
                      <a:pt x="262" y="229"/>
                    </a:lnTo>
                    <a:lnTo>
                      <a:pt x="260" y="232"/>
                    </a:lnTo>
                    <a:lnTo>
                      <a:pt x="260" y="232"/>
                    </a:lnTo>
                    <a:lnTo>
                      <a:pt x="257" y="232"/>
                    </a:lnTo>
                    <a:lnTo>
                      <a:pt x="252" y="232"/>
                    </a:lnTo>
                    <a:lnTo>
                      <a:pt x="248" y="234"/>
                    </a:lnTo>
                    <a:lnTo>
                      <a:pt x="245" y="236"/>
                    </a:lnTo>
                    <a:lnTo>
                      <a:pt x="241" y="241"/>
                    </a:lnTo>
                    <a:lnTo>
                      <a:pt x="234" y="248"/>
                    </a:lnTo>
                    <a:lnTo>
                      <a:pt x="231" y="250"/>
                    </a:lnTo>
                    <a:lnTo>
                      <a:pt x="231" y="253"/>
                    </a:lnTo>
                    <a:lnTo>
                      <a:pt x="231" y="253"/>
                    </a:lnTo>
                    <a:lnTo>
                      <a:pt x="229" y="258"/>
                    </a:lnTo>
                    <a:lnTo>
                      <a:pt x="229" y="260"/>
                    </a:lnTo>
                    <a:lnTo>
                      <a:pt x="226" y="260"/>
                    </a:lnTo>
                    <a:lnTo>
                      <a:pt x="226" y="262"/>
                    </a:lnTo>
                    <a:lnTo>
                      <a:pt x="226" y="262"/>
                    </a:lnTo>
                    <a:lnTo>
                      <a:pt x="224" y="262"/>
                    </a:lnTo>
                    <a:lnTo>
                      <a:pt x="224" y="265"/>
                    </a:lnTo>
                    <a:lnTo>
                      <a:pt x="222" y="267"/>
                    </a:lnTo>
                    <a:lnTo>
                      <a:pt x="222" y="267"/>
                    </a:lnTo>
                    <a:lnTo>
                      <a:pt x="219" y="269"/>
                    </a:lnTo>
                    <a:lnTo>
                      <a:pt x="219" y="269"/>
                    </a:lnTo>
                    <a:lnTo>
                      <a:pt x="222" y="272"/>
                    </a:lnTo>
                    <a:lnTo>
                      <a:pt x="219" y="272"/>
                    </a:lnTo>
                    <a:lnTo>
                      <a:pt x="219" y="274"/>
                    </a:lnTo>
                    <a:lnTo>
                      <a:pt x="219" y="274"/>
                    </a:lnTo>
                    <a:lnTo>
                      <a:pt x="219" y="276"/>
                    </a:lnTo>
                    <a:lnTo>
                      <a:pt x="219" y="276"/>
                    </a:lnTo>
                    <a:lnTo>
                      <a:pt x="217" y="281"/>
                    </a:lnTo>
                    <a:lnTo>
                      <a:pt x="215" y="281"/>
                    </a:lnTo>
                    <a:lnTo>
                      <a:pt x="212" y="284"/>
                    </a:lnTo>
                    <a:lnTo>
                      <a:pt x="215" y="286"/>
                    </a:lnTo>
                    <a:lnTo>
                      <a:pt x="215" y="291"/>
                    </a:lnTo>
                    <a:lnTo>
                      <a:pt x="215" y="295"/>
                    </a:lnTo>
                    <a:lnTo>
                      <a:pt x="215" y="298"/>
                    </a:lnTo>
                    <a:lnTo>
                      <a:pt x="212" y="300"/>
                    </a:lnTo>
                    <a:lnTo>
                      <a:pt x="212" y="302"/>
                    </a:lnTo>
                    <a:lnTo>
                      <a:pt x="212" y="305"/>
                    </a:lnTo>
                    <a:lnTo>
                      <a:pt x="210" y="307"/>
                    </a:lnTo>
                    <a:lnTo>
                      <a:pt x="208" y="310"/>
                    </a:lnTo>
                    <a:lnTo>
                      <a:pt x="208" y="312"/>
                    </a:lnTo>
                    <a:lnTo>
                      <a:pt x="208" y="314"/>
                    </a:lnTo>
                    <a:lnTo>
                      <a:pt x="205" y="314"/>
                    </a:lnTo>
                    <a:lnTo>
                      <a:pt x="205" y="314"/>
                    </a:lnTo>
                    <a:lnTo>
                      <a:pt x="205" y="312"/>
                    </a:lnTo>
                    <a:lnTo>
                      <a:pt x="205" y="310"/>
                    </a:lnTo>
                    <a:lnTo>
                      <a:pt x="203" y="310"/>
                    </a:lnTo>
                    <a:lnTo>
                      <a:pt x="200" y="312"/>
                    </a:lnTo>
                    <a:lnTo>
                      <a:pt x="200" y="314"/>
                    </a:lnTo>
                    <a:lnTo>
                      <a:pt x="200" y="314"/>
                    </a:lnTo>
                    <a:lnTo>
                      <a:pt x="200" y="314"/>
                    </a:lnTo>
                    <a:lnTo>
                      <a:pt x="203" y="314"/>
                    </a:lnTo>
                    <a:lnTo>
                      <a:pt x="203" y="317"/>
                    </a:lnTo>
                    <a:lnTo>
                      <a:pt x="200" y="317"/>
                    </a:lnTo>
                    <a:lnTo>
                      <a:pt x="200" y="317"/>
                    </a:lnTo>
                    <a:lnTo>
                      <a:pt x="203" y="317"/>
                    </a:lnTo>
                    <a:lnTo>
                      <a:pt x="203" y="317"/>
                    </a:lnTo>
                    <a:lnTo>
                      <a:pt x="200" y="317"/>
                    </a:lnTo>
                    <a:lnTo>
                      <a:pt x="200" y="317"/>
                    </a:lnTo>
                    <a:lnTo>
                      <a:pt x="200" y="319"/>
                    </a:lnTo>
                    <a:lnTo>
                      <a:pt x="203" y="317"/>
                    </a:lnTo>
                    <a:lnTo>
                      <a:pt x="203" y="317"/>
                    </a:lnTo>
                    <a:lnTo>
                      <a:pt x="203" y="317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3" y="319"/>
                    </a:lnTo>
                    <a:lnTo>
                      <a:pt x="200" y="321"/>
                    </a:lnTo>
                    <a:lnTo>
                      <a:pt x="200" y="324"/>
                    </a:lnTo>
                    <a:lnTo>
                      <a:pt x="198" y="326"/>
                    </a:lnTo>
                    <a:lnTo>
                      <a:pt x="196" y="331"/>
                    </a:lnTo>
                    <a:lnTo>
                      <a:pt x="196" y="331"/>
                    </a:lnTo>
                    <a:lnTo>
                      <a:pt x="193" y="338"/>
                    </a:lnTo>
                    <a:lnTo>
                      <a:pt x="191" y="343"/>
                    </a:lnTo>
                    <a:lnTo>
                      <a:pt x="191" y="343"/>
                    </a:lnTo>
                    <a:lnTo>
                      <a:pt x="191" y="343"/>
                    </a:lnTo>
                    <a:lnTo>
                      <a:pt x="191" y="345"/>
                    </a:lnTo>
                    <a:lnTo>
                      <a:pt x="186" y="352"/>
                    </a:lnTo>
                    <a:lnTo>
                      <a:pt x="186" y="354"/>
                    </a:lnTo>
                    <a:lnTo>
                      <a:pt x="184" y="357"/>
                    </a:lnTo>
                    <a:lnTo>
                      <a:pt x="184" y="359"/>
                    </a:lnTo>
                    <a:lnTo>
                      <a:pt x="184" y="359"/>
                    </a:lnTo>
                    <a:lnTo>
                      <a:pt x="184" y="359"/>
                    </a:lnTo>
                    <a:lnTo>
                      <a:pt x="182" y="359"/>
                    </a:lnTo>
                    <a:lnTo>
                      <a:pt x="182" y="359"/>
                    </a:lnTo>
                    <a:lnTo>
                      <a:pt x="182" y="359"/>
                    </a:lnTo>
                    <a:lnTo>
                      <a:pt x="182" y="359"/>
                    </a:lnTo>
                    <a:lnTo>
                      <a:pt x="182" y="359"/>
                    </a:lnTo>
                    <a:lnTo>
                      <a:pt x="179" y="357"/>
                    </a:lnTo>
                    <a:lnTo>
                      <a:pt x="179" y="359"/>
                    </a:lnTo>
                    <a:lnTo>
                      <a:pt x="177" y="359"/>
                    </a:lnTo>
                    <a:lnTo>
                      <a:pt x="179" y="359"/>
                    </a:lnTo>
                    <a:lnTo>
                      <a:pt x="177" y="359"/>
                    </a:lnTo>
                    <a:lnTo>
                      <a:pt x="177" y="361"/>
                    </a:lnTo>
                    <a:lnTo>
                      <a:pt x="177" y="361"/>
                    </a:lnTo>
                    <a:lnTo>
                      <a:pt x="179" y="361"/>
                    </a:lnTo>
                    <a:lnTo>
                      <a:pt x="177" y="361"/>
                    </a:lnTo>
                    <a:lnTo>
                      <a:pt x="177" y="361"/>
                    </a:lnTo>
                    <a:lnTo>
                      <a:pt x="177" y="361"/>
                    </a:lnTo>
                    <a:lnTo>
                      <a:pt x="177" y="361"/>
                    </a:lnTo>
                    <a:lnTo>
                      <a:pt x="174" y="361"/>
                    </a:lnTo>
                    <a:lnTo>
                      <a:pt x="174" y="361"/>
                    </a:lnTo>
                    <a:lnTo>
                      <a:pt x="174" y="361"/>
                    </a:lnTo>
                    <a:lnTo>
                      <a:pt x="174" y="364"/>
                    </a:lnTo>
                    <a:lnTo>
                      <a:pt x="174" y="361"/>
                    </a:lnTo>
                    <a:lnTo>
                      <a:pt x="174" y="364"/>
                    </a:lnTo>
                    <a:lnTo>
                      <a:pt x="174" y="364"/>
                    </a:lnTo>
                    <a:lnTo>
                      <a:pt x="174" y="364"/>
                    </a:lnTo>
                    <a:lnTo>
                      <a:pt x="174" y="364"/>
                    </a:lnTo>
                    <a:lnTo>
                      <a:pt x="174" y="364"/>
                    </a:lnTo>
                    <a:lnTo>
                      <a:pt x="172" y="366"/>
                    </a:lnTo>
                    <a:lnTo>
                      <a:pt x="172" y="371"/>
                    </a:lnTo>
                    <a:lnTo>
                      <a:pt x="172" y="371"/>
                    </a:lnTo>
                    <a:lnTo>
                      <a:pt x="172" y="371"/>
                    </a:lnTo>
                    <a:lnTo>
                      <a:pt x="172" y="371"/>
                    </a:lnTo>
                    <a:lnTo>
                      <a:pt x="170" y="371"/>
                    </a:lnTo>
                    <a:lnTo>
                      <a:pt x="170" y="373"/>
                    </a:lnTo>
                    <a:lnTo>
                      <a:pt x="170" y="373"/>
                    </a:lnTo>
                    <a:lnTo>
                      <a:pt x="167" y="373"/>
                    </a:lnTo>
                    <a:lnTo>
                      <a:pt x="165" y="376"/>
                    </a:lnTo>
                    <a:lnTo>
                      <a:pt x="165" y="378"/>
                    </a:lnTo>
                    <a:lnTo>
                      <a:pt x="165" y="378"/>
                    </a:lnTo>
                    <a:lnTo>
                      <a:pt x="163" y="380"/>
                    </a:lnTo>
                    <a:lnTo>
                      <a:pt x="165" y="380"/>
                    </a:lnTo>
                    <a:lnTo>
                      <a:pt x="163" y="380"/>
                    </a:lnTo>
                    <a:lnTo>
                      <a:pt x="163" y="380"/>
                    </a:lnTo>
                    <a:lnTo>
                      <a:pt x="160" y="380"/>
                    </a:lnTo>
                    <a:lnTo>
                      <a:pt x="158" y="385"/>
                    </a:lnTo>
                    <a:lnTo>
                      <a:pt x="158" y="385"/>
                    </a:lnTo>
                    <a:lnTo>
                      <a:pt x="158" y="385"/>
                    </a:lnTo>
                    <a:lnTo>
                      <a:pt x="158" y="385"/>
                    </a:lnTo>
                    <a:lnTo>
                      <a:pt x="158" y="383"/>
                    </a:lnTo>
                    <a:lnTo>
                      <a:pt x="158" y="383"/>
                    </a:lnTo>
                    <a:lnTo>
                      <a:pt x="158" y="383"/>
                    </a:lnTo>
                    <a:lnTo>
                      <a:pt x="156" y="380"/>
                    </a:lnTo>
                    <a:lnTo>
                      <a:pt x="156" y="378"/>
                    </a:lnTo>
                    <a:lnTo>
                      <a:pt x="156" y="378"/>
                    </a:lnTo>
                    <a:lnTo>
                      <a:pt x="156" y="378"/>
                    </a:lnTo>
                    <a:lnTo>
                      <a:pt x="156" y="378"/>
                    </a:lnTo>
                    <a:lnTo>
                      <a:pt x="156" y="380"/>
                    </a:lnTo>
                    <a:lnTo>
                      <a:pt x="153" y="380"/>
                    </a:lnTo>
                    <a:lnTo>
                      <a:pt x="156" y="380"/>
                    </a:lnTo>
                    <a:lnTo>
                      <a:pt x="153" y="383"/>
                    </a:lnTo>
                    <a:lnTo>
                      <a:pt x="151" y="383"/>
                    </a:lnTo>
                    <a:lnTo>
                      <a:pt x="151" y="383"/>
                    </a:lnTo>
                    <a:lnTo>
                      <a:pt x="151" y="383"/>
                    </a:lnTo>
                    <a:lnTo>
                      <a:pt x="151" y="383"/>
                    </a:lnTo>
                    <a:lnTo>
                      <a:pt x="151" y="383"/>
                    </a:lnTo>
                    <a:lnTo>
                      <a:pt x="148" y="385"/>
                    </a:lnTo>
                    <a:lnTo>
                      <a:pt x="148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6" y="387"/>
                    </a:lnTo>
                    <a:lnTo>
                      <a:pt x="146" y="387"/>
                    </a:lnTo>
                    <a:lnTo>
                      <a:pt x="146" y="385"/>
                    </a:lnTo>
                    <a:lnTo>
                      <a:pt x="146" y="385"/>
                    </a:lnTo>
                    <a:lnTo>
                      <a:pt x="144" y="387"/>
                    </a:lnTo>
                    <a:lnTo>
                      <a:pt x="141" y="387"/>
                    </a:lnTo>
                    <a:lnTo>
                      <a:pt x="141" y="390"/>
                    </a:lnTo>
                    <a:lnTo>
                      <a:pt x="141" y="390"/>
                    </a:lnTo>
                    <a:lnTo>
                      <a:pt x="141" y="390"/>
                    </a:lnTo>
                    <a:lnTo>
                      <a:pt x="141" y="392"/>
                    </a:lnTo>
                    <a:lnTo>
                      <a:pt x="139" y="392"/>
                    </a:lnTo>
                    <a:lnTo>
                      <a:pt x="139" y="395"/>
                    </a:lnTo>
                    <a:lnTo>
                      <a:pt x="137" y="397"/>
                    </a:lnTo>
                    <a:lnTo>
                      <a:pt x="137" y="399"/>
                    </a:lnTo>
                    <a:lnTo>
                      <a:pt x="137" y="399"/>
                    </a:lnTo>
                    <a:lnTo>
                      <a:pt x="134" y="402"/>
                    </a:lnTo>
                    <a:lnTo>
                      <a:pt x="134" y="406"/>
                    </a:lnTo>
                    <a:lnTo>
                      <a:pt x="137" y="406"/>
                    </a:lnTo>
                    <a:lnTo>
                      <a:pt x="134" y="406"/>
                    </a:lnTo>
                    <a:lnTo>
                      <a:pt x="134" y="409"/>
                    </a:lnTo>
                    <a:lnTo>
                      <a:pt x="134" y="411"/>
                    </a:lnTo>
                    <a:lnTo>
                      <a:pt x="132" y="411"/>
                    </a:lnTo>
                    <a:lnTo>
                      <a:pt x="130" y="423"/>
                    </a:lnTo>
                    <a:lnTo>
                      <a:pt x="125" y="425"/>
                    </a:lnTo>
                    <a:lnTo>
                      <a:pt x="125" y="428"/>
                    </a:lnTo>
                    <a:lnTo>
                      <a:pt x="123" y="428"/>
                    </a:lnTo>
                    <a:lnTo>
                      <a:pt x="120" y="432"/>
                    </a:lnTo>
                    <a:lnTo>
                      <a:pt x="118" y="437"/>
                    </a:lnTo>
                    <a:lnTo>
                      <a:pt x="115" y="439"/>
                    </a:lnTo>
                    <a:lnTo>
                      <a:pt x="115" y="444"/>
                    </a:lnTo>
                    <a:lnTo>
                      <a:pt x="115" y="447"/>
                    </a:lnTo>
                    <a:lnTo>
                      <a:pt x="115" y="447"/>
                    </a:lnTo>
                    <a:lnTo>
                      <a:pt x="115" y="444"/>
                    </a:lnTo>
                    <a:lnTo>
                      <a:pt x="113" y="444"/>
                    </a:lnTo>
                    <a:lnTo>
                      <a:pt x="113" y="444"/>
                    </a:lnTo>
                    <a:lnTo>
                      <a:pt x="113" y="444"/>
                    </a:lnTo>
                    <a:lnTo>
                      <a:pt x="113" y="444"/>
                    </a:lnTo>
                    <a:lnTo>
                      <a:pt x="113" y="444"/>
                    </a:lnTo>
                    <a:lnTo>
                      <a:pt x="111" y="444"/>
                    </a:lnTo>
                    <a:lnTo>
                      <a:pt x="111" y="444"/>
                    </a:lnTo>
                    <a:lnTo>
                      <a:pt x="111" y="442"/>
                    </a:lnTo>
                    <a:lnTo>
                      <a:pt x="111" y="439"/>
                    </a:lnTo>
                    <a:lnTo>
                      <a:pt x="108" y="439"/>
                    </a:lnTo>
                    <a:lnTo>
                      <a:pt x="108" y="439"/>
                    </a:lnTo>
                    <a:lnTo>
                      <a:pt x="106" y="439"/>
                    </a:lnTo>
                    <a:lnTo>
                      <a:pt x="104" y="437"/>
                    </a:lnTo>
                    <a:lnTo>
                      <a:pt x="101" y="437"/>
                    </a:lnTo>
                    <a:lnTo>
                      <a:pt x="101" y="437"/>
                    </a:lnTo>
                    <a:lnTo>
                      <a:pt x="101" y="435"/>
                    </a:lnTo>
                    <a:lnTo>
                      <a:pt x="99" y="435"/>
                    </a:lnTo>
                    <a:lnTo>
                      <a:pt x="99" y="435"/>
                    </a:lnTo>
                    <a:lnTo>
                      <a:pt x="99" y="435"/>
                    </a:lnTo>
                    <a:lnTo>
                      <a:pt x="94" y="437"/>
                    </a:lnTo>
                    <a:lnTo>
                      <a:pt x="94" y="437"/>
                    </a:lnTo>
                    <a:lnTo>
                      <a:pt x="92" y="437"/>
                    </a:lnTo>
                    <a:lnTo>
                      <a:pt x="92" y="437"/>
                    </a:lnTo>
                    <a:lnTo>
                      <a:pt x="89" y="437"/>
                    </a:lnTo>
                    <a:lnTo>
                      <a:pt x="89" y="437"/>
                    </a:lnTo>
                    <a:lnTo>
                      <a:pt x="87" y="437"/>
                    </a:lnTo>
                    <a:lnTo>
                      <a:pt x="89" y="437"/>
                    </a:lnTo>
                    <a:lnTo>
                      <a:pt x="87" y="437"/>
                    </a:lnTo>
                    <a:lnTo>
                      <a:pt x="87" y="437"/>
                    </a:lnTo>
                    <a:lnTo>
                      <a:pt x="87" y="437"/>
                    </a:lnTo>
                    <a:lnTo>
                      <a:pt x="87" y="437"/>
                    </a:lnTo>
                    <a:lnTo>
                      <a:pt x="87" y="439"/>
                    </a:lnTo>
                    <a:lnTo>
                      <a:pt x="87" y="437"/>
                    </a:lnTo>
                    <a:lnTo>
                      <a:pt x="85" y="437"/>
                    </a:lnTo>
                    <a:lnTo>
                      <a:pt x="85" y="437"/>
                    </a:lnTo>
                    <a:lnTo>
                      <a:pt x="85" y="437"/>
                    </a:lnTo>
                    <a:lnTo>
                      <a:pt x="82" y="437"/>
                    </a:lnTo>
                    <a:lnTo>
                      <a:pt x="82" y="437"/>
                    </a:lnTo>
                    <a:lnTo>
                      <a:pt x="82" y="437"/>
                    </a:lnTo>
                    <a:lnTo>
                      <a:pt x="82" y="435"/>
                    </a:lnTo>
                    <a:lnTo>
                      <a:pt x="80" y="435"/>
                    </a:lnTo>
                    <a:lnTo>
                      <a:pt x="80" y="435"/>
                    </a:lnTo>
                    <a:lnTo>
                      <a:pt x="78" y="435"/>
                    </a:lnTo>
                    <a:lnTo>
                      <a:pt x="78" y="437"/>
                    </a:lnTo>
                    <a:lnTo>
                      <a:pt x="75" y="437"/>
                    </a:lnTo>
                    <a:lnTo>
                      <a:pt x="75" y="437"/>
                    </a:lnTo>
                    <a:lnTo>
                      <a:pt x="75" y="437"/>
                    </a:lnTo>
                    <a:lnTo>
                      <a:pt x="75" y="437"/>
                    </a:lnTo>
                    <a:lnTo>
                      <a:pt x="73" y="437"/>
                    </a:lnTo>
                    <a:lnTo>
                      <a:pt x="73" y="437"/>
                    </a:lnTo>
                    <a:lnTo>
                      <a:pt x="71" y="435"/>
                    </a:lnTo>
                    <a:lnTo>
                      <a:pt x="71" y="435"/>
                    </a:lnTo>
                    <a:lnTo>
                      <a:pt x="71" y="435"/>
                    </a:lnTo>
                    <a:lnTo>
                      <a:pt x="68" y="435"/>
                    </a:lnTo>
                    <a:lnTo>
                      <a:pt x="68" y="435"/>
                    </a:lnTo>
                    <a:lnTo>
                      <a:pt x="68" y="435"/>
                    </a:lnTo>
                    <a:lnTo>
                      <a:pt x="63" y="432"/>
                    </a:lnTo>
                    <a:lnTo>
                      <a:pt x="63" y="432"/>
                    </a:lnTo>
                    <a:lnTo>
                      <a:pt x="63" y="432"/>
                    </a:lnTo>
                    <a:lnTo>
                      <a:pt x="63" y="432"/>
                    </a:lnTo>
                    <a:lnTo>
                      <a:pt x="61" y="432"/>
                    </a:lnTo>
                    <a:lnTo>
                      <a:pt x="61" y="432"/>
                    </a:lnTo>
                    <a:lnTo>
                      <a:pt x="59" y="432"/>
                    </a:lnTo>
                    <a:lnTo>
                      <a:pt x="59" y="432"/>
                    </a:lnTo>
                    <a:lnTo>
                      <a:pt x="59" y="432"/>
                    </a:lnTo>
                    <a:lnTo>
                      <a:pt x="59" y="432"/>
                    </a:lnTo>
                    <a:lnTo>
                      <a:pt x="56" y="432"/>
                    </a:lnTo>
                    <a:lnTo>
                      <a:pt x="56" y="435"/>
                    </a:lnTo>
                    <a:lnTo>
                      <a:pt x="54" y="435"/>
                    </a:lnTo>
                    <a:lnTo>
                      <a:pt x="54" y="435"/>
                    </a:lnTo>
                    <a:lnTo>
                      <a:pt x="52" y="432"/>
                    </a:lnTo>
                    <a:lnTo>
                      <a:pt x="49" y="432"/>
                    </a:lnTo>
                    <a:lnTo>
                      <a:pt x="49" y="430"/>
                    </a:lnTo>
                    <a:lnTo>
                      <a:pt x="49" y="430"/>
                    </a:lnTo>
                    <a:lnTo>
                      <a:pt x="47" y="430"/>
                    </a:lnTo>
                    <a:lnTo>
                      <a:pt x="47" y="430"/>
                    </a:lnTo>
                    <a:lnTo>
                      <a:pt x="45" y="430"/>
                    </a:lnTo>
                    <a:lnTo>
                      <a:pt x="45" y="432"/>
                    </a:lnTo>
                    <a:lnTo>
                      <a:pt x="45" y="430"/>
                    </a:lnTo>
                    <a:lnTo>
                      <a:pt x="40" y="430"/>
                    </a:lnTo>
                    <a:lnTo>
                      <a:pt x="40" y="428"/>
                    </a:lnTo>
                    <a:lnTo>
                      <a:pt x="40" y="430"/>
                    </a:lnTo>
                    <a:lnTo>
                      <a:pt x="37" y="430"/>
                    </a:lnTo>
                    <a:lnTo>
                      <a:pt x="37" y="428"/>
                    </a:lnTo>
                    <a:lnTo>
                      <a:pt x="37" y="428"/>
                    </a:lnTo>
                    <a:lnTo>
                      <a:pt x="35" y="425"/>
                    </a:lnTo>
                    <a:lnTo>
                      <a:pt x="33" y="428"/>
                    </a:lnTo>
                    <a:lnTo>
                      <a:pt x="30" y="425"/>
                    </a:lnTo>
                    <a:lnTo>
                      <a:pt x="30" y="425"/>
                    </a:lnTo>
                    <a:lnTo>
                      <a:pt x="28" y="425"/>
                    </a:lnTo>
                    <a:lnTo>
                      <a:pt x="28" y="425"/>
                    </a:lnTo>
                    <a:lnTo>
                      <a:pt x="28" y="425"/>
                    </a:lnTo>
                    <a:lnTo>
                      <a:pt x="26" y="423"/>
                    </a:lnTo>
                    <a:lnTo>
                      <a:pt x="26" y="423"/>
                    </a:lnTo>
                    <a:lnTo>
                      <a:pt x="26" y="423"/>
                    </a:lnTo>
                    <a:lnTo>
                      <a:pt x="26" y="423"/>
                    </a:lnTo>
                    <a:lnTo>
                      <a:pt x="26" y="423"/>
                    </a:lnTo>
                    <a:lnTo>
                      <a:pt x="23" y="423"/>
                    </a:lnTo>
                    <a:lnTo>
                      <a:pt x="23" y="423"/>
                    </a:lnTo>
                    <a:lnTo>
                      <a:pt x="21" y="423"/>
                    </a:lnTo>
                    <a:lnTo>
                      <a:pt x="21" y="423"/>
                    </a:lnTo>
                    <a:lnTo>
                      <a:pt x="19" y="423"/>
                    </a:lnTo>
                    <a:lnTo>
                      <a:pt x="19" y="423"/>
                    </a:lnTo>
                    <a:lnTo>
                      <a:pt x="21" y="421"/>
                    </a:lnTo>
                    <a:lnTo>
                      <a:pt x="21" y="421"/>
                    </a:lnTo>
                    <a:lnTo>
                      <a:pt x="19" y="421"/>
                    </a:lnTo>
                    <a:lnTo>
                      <a:pt x="19" y="421"/>
                    </a:lnTo>
                    <a:lnTo>
                      <a:pt x="19" y="421"/>
                    </a:lnTo>
                    <a:lnTo>
                      <a:pt x="19" y="418"/>
                    </a:lnTo>
                    <a:lnTo>
                      <a:pt x="19" y="416"/>
                    </a:lnTo>
                    <a:lnTo>
                      <a:pt x="19" y="416"/>
                    </a:lnTo>
                    <a:lnTo>
                      <a:pt x="19" y="416"/>
                    </a:lnTo>
                    <a:lnTo>
                      <a:pt x="19" y="416"/>
                    </a:lnTo>
                    <a:lnTo>
                      <a:pt x="19" y="413"/>
                    </a:lnTo>
                    <a:lnTo>
                      <a:pt x="19" y="413"/>
                    </a:lnTo>
                    <a:lnTo>
                      <a:pt x="19" y="413"/>
                    </a:lnTo>
                    <a:lnTo>
                      <a:pt x="19" y="413"/>
                    </a:lnTo>
                    <a:lnTo>
                      <a:pt x="19" y="411"/>
                    </a:lnTo>
                    <a:lnTo>
                      <a:pt x="19" y="411"/>
                    </a:lnTo>
                    <a:lnTo>
                      <a:pt x="19" y="409"/>
                    </a:lnTo>
                    <a:lnTo>
                      <a:pt x="19" y="409"/>
                    </a:lnTo>
                    <a:lnTo>
                      <a:pt x="21" y="409"/>
                    </a:lnTo>
                    <a:lnTo>
                      <a:pt x="19" y="409"/>
                    </a:lnTo>
                    <a:lnTo>
                      <a:pt x="19" y="406"/>
                    </a:lnTo>
                    <a:lnTo>
                      <a:pt x="19" y="406"/>
                    </a:lnTo>
                    <a:lnTo>
                      <a:pt x="21" y="406"/>
                    </a:lnTo>
                    <a:lnTo>
                      <a:pt x="21" y="404"/>
                    </a:lnTo>
                    <a:lnTo>
                      <a:pt x="19" y="404"/>
                    </a:lnTo>
                    <a:lnTo>
                      <a:pt x="19" y="399"/>
                    </a:lnTo>
                    <a:lnTo>
                      <a:pt x="19" y="399"/>
                    </a:lnTo>
                    <a:lnTo>
                      <a:pt x="16" y="397"/>
                    </a:lnTo>
                    <a:lnTo>
                      <a:pt x="19" y="397"/>
                    </a:lnTo>
                    <a:lnTo>
                      <a:pt x="19" y="397"/>
                    </a:lnTo>
                    <a:lnTo>
                      <a:pt x="19" y="392"/>
                    </a:lnTo>
                    <a:lnTo>
                      <a:pt x="19" y="392"/>
                    </a:lnTo>
                    <a:lnTo>
                      <a:pt x="19" y="392"/>
                    </a:lnTo>
                    <a:lnTo>
                      <a:pt x="19" y="390"/>
                    </a:lnTo>
                    <a:lnTo>
                      <a:pt x="21" y="390"/>
                    </a:lnTo>
                    <a:lnTo>
                      <a:pt x="19" y="390"/>
                    </a:lnTo>
                    <a:lnTo>
                      <a:pt x="16" y="390"/>
                    </a:lnTo>
                    <a:lnTo>
                      <a:pt x="16" y="390"/>
                    </a:lnTo>
                    <a:lnTo>
                      <a:pt x="16" y="387"/>
                    </a:lnTo>
                    <a:lnTo>
                      <a:pt x="16" y="385"/>
                    </a:lnTo>
                    <a:lnTo>
                      <a:pt x="16" y="383"/>
                    </a:lnTo>
                    <a:lnTo>
                      <a:pt x="16" y="383"/>
                    </a:lnTo>
                    <a:lnTo>
                      <a:pt x="16" y="383"/>
                    </a:lnTo>
                    <a:lnTo>
                      <a:pt x="16" y="383"/>
                    </a:lnTo>
                    <a:lnTo>
                      <a:pt x="16" y="380"/>
                    </a:lnTo>
                    <a:lnTo>
                      <a:pt x="14" y="380"/>
                    </a:lnTo>
                    <a:lnTo>
                      <a:pt x="14" y="380"/>
                    </a:lnTo>
                    <a:lnTo>
                      <a:pt x="11" y="380"/>
                    </a:lnTo>
                    <a:lnTo>
                      <a:pt x="9" y="380"/>
                    </a:lnTo>
                    <a:lnTo>
                      <a:pt x="9" y="380"/>
                    </a:lnTo>
                    <a:lnTo>
                      <a:pt x="7" y="380"/>
                    </a:lnTo>
                    <a:lnTo>
                      <a:pt x="9" y="380"/>
                    </a:lnTo>
                    <a:lnTo>
                      <a:pt x="7" y="380"/>
                    </a:lnTo>
                    <a:lnTo>
                      <a:pt x="7" y="380"/>
                    </a:lnTo>
                    <a:lnTo>
                      <a:pt x="7" y="378"/>
                    </a:lnTo>
                    <a:lnTo>
                      <a:pt x="4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0" y="376"/>
                    </a:lnTo>
                    <a:lnTo>
                      <a:pt x="0" y="376"/>
                    </a:lnTo>
                    <a:close/>
                    <a:moveTo>
                      <a:pt x="191" y="345"/>
                    </a:moveTo>
                    <a:lnTo>
                      <a:pt x="193" y="345"/>
                    </a:lnTo>
                    <a:lnTo>
                      <a:pt x="191" y="345"/>
                    </a:lnTo>
                    <a:close/>
                    <a:moveTo>
                      <a:pt x="191" y="357"/>
                    </a:moveTo>
                    <a:lnTo>
                      <a:pt x="191" y="354"/>
                    </a:lnTo>
                    <a:lnTo>
                      <a:pt x="191" y="357"/>
                    </a:lnTo>
                    <a:close/>
                    <a:moveTo>
                      <a:pt x="189" y="354"/>
                    </a:moveTo>
                    <a:lnTo>
                      <a:pt x="186" y="354"/>
                    </a:lnTo>
                    <a:lnTo>
                      <a:pt x="189" y="354"/>
                    </a:lnTo>
                    <a:close/>
                    <a:moveTo>
                      <a:pt x="174" y="361"/>
                    </a:moveTo>
                    <a:lnTo>
                      <a:pt x="172" y="361"/>
                    </a:lnTo>
                    <a:lnTo>
                      <a:pt x="172" y="361"/>
                    </a:lnTo>
                    <a:lnTo>
                      <a:pt x="172" y="361"/>
                    </a:lnTo>
                    <a:lnTo>
                      <a:pt x="170" y="364"/>
                    </a:lnTo>
                    <a:lnTo>
                      <a:pt x="170" y="364"/>
                    </a:lnTo>
                    <a:lnTo>
                      <a:pt x="167" y="364"/>
                    </a:lnTo>
                    <a:lnTo>
                      <a:pt x="167" y="364"/>
                    </a:lnTo>
                    <a:lnTo>
                      <a:pt x="170" y="364"/>
                    </a:lnTo>
                    <a:lnTo>
                      <a:pt x="170" y="364"/>
                    </a:lnTo>
                    <a:lnTo>
                      <a:pt x="170" y="364"/>
                    </a:lnTo>
                    <a:lnTo>
                      <a:pt x="172" y="366"/>
                    </a:lnTo>
                    <a:lnTo>
                      <a:pt x="172" y="364"/>
                    </a:lnTo>
                    <a:lnTo>
                      <a:pt x="170" y="364"/>
                    </a:lnTo>
                    <a:lnTo>
                      <a:pt x="172" y="364"/>
                    </a:lnTo>
                    <a:lnTo>
                      <a:pt x="172" y="361"/>
                    </a:lnTo>
                    <a:lnTo>
                      <a:pt x="174" y="364"/>
                    </a:lnTo>
                    <a:lnTo>
                      <a:pt x="174" y="361"/>
                    </a:lnTo>
                    <a:close/>
                    <a:moveTo>
                      <a:pt x="189" y="357"/>
                    </a:moveTo>
                    <a:lnTo>
                      <a:pt x="189" y="354"/>
                    </a:lnTo>
                    <a:lnTo>
                      <a:pt x="189" y="357"/>
                    </a:lnTo>
                    <a:close/>
                    <a:moveTo>
                      <a:pt x="200" y="326"/>
                    </a:moveTo>
                    <a:lnTo>
                      <a:pt x="200" y="326"/>
                    </a:lnTo>
                    <a:lnTo>
                      <a:pt x="200" y="326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Freeform 23"/>
              <p:cNvSpPr>
                <a:spLocks/>
              </p:cNvSpPr>
              <p:nvPr/>
            </p:nvSpPr>
            <p:spPr bwMode="auto">
              <a:xfrm>
                <a:off x="4815644" y="3812380"/>
                <a:ext cx="1508868" cy="1207095"/>
              </a:xfrm>
              <a:custGeom>
                <a:avLst/>
                <a:gdLst/>
                <a:ahLst/>
                <a:cxnLst>
                  <a:cxn ang="0">
                    <a:pos x="71" y="623"/>
                  </a:cxn>
                  <a:cxn ang="0">
                    <a:pos x="189" y="564"/>
                  </a:cxn>
                  <a:cxn ang="0">
                    <a:pos x="262" y="541"/>
                  </a:cxn>
                  <a:cxn ang="0">
                    <a:pos x="354" y="536"/>
                  </a:cxn>
                  <a:cxn ang="0">
                    <a:pos x="413" y="548"/>
                  </a:cxn>
                  <a:cxn ang="0">
                    <a:pos x="451" y="517"/>
                  </a:cxn>
                  <a:cxn ang="0">
                    <a:pos x="470" y="479"/>
                  </a:cxn>
                  <a:cxn ang="0">
                    <a:pos x="451" y="429"/>
                  </a:cxn>
                  <a:cxn ang="0">
                    <a:pos x="465" y="394"/>
                  </a:cxn>
                  <a:cxn ang="0">
                    <a:pos x="491" y="370"/>
                  </a:cxn>
                  <a:cxn ang="0">
                    <a:pos x="489" y="337"/>
                  </a:cxn>
                  <a:cxn ang="0">
                    <a:pos x="465" y="309"/>
                  </a:cxn>
                  <a:cxn ang="0">
                    <a:pos x="470" y="248"/>
                  </a:cxn>
                  <a:cxn ang="0">
                    <a:pos x="494" y="224"/>
                  </a:cxn>
                  <a:cxn ang="0">
                    <a:pos x="522" y="129"/>
                  </a:cxn>
                  <a:cxn ang="0">
                    <a:pos x="576" y="66"/>
                  </a:cxn>
                  <a:cxn ang="0">
                    <a:pos x="645" y="96"/>
                  </a:cxn>
                  <a:cxn ang="0">
                    <a:pos x="669" y="115"/>
                  </a:cxn>
                  <a:cxn ang="0">
                    <a:pos x="721" y="87"/>
                  </a:cxn>
                  <a:cxn ang="0">
                    <a:pos x="780" y="52"/>
                  </a:cxn>
                  <a:cxn ang="0">
                    <a:pos x="810" y="23"/>
                  </a:cxn>
                  <a:cxn ang="0">
                    <a:pos x="865" y="4"/>
                  </a:cxn>
                  <a:cxn ang="0">
                    <a:pos x="905" y="9"/>
                  </a:cxn>
                  <a:cxn ang="0">
                    <a:pos x="924" y="61"/>
                  </a:cxn>
                  <a:cxn ang="0">
                    <a:pos x="992" y="56"/>
                  </a:cxn>
                  <a:cxn ang="0">
                    <a:pos x="1058" y="87"/>
                  </a:cxn>
                  <a:cxn ang="0">
                    <a:pos x="1148" y="122"/>
                  </a:cxn>
                  <a:cxn ang="0">
                    <a:pos x="1297" y="189"/>
                  </a:cxn>
                  <a:cxn ang="0">
                    <a:pos x="1358" y="207"/>
                  </a:cxn>
                  <a:cxn ang="0">
                    <a:pos x="1396" y="226"/>
                  </a:cxn>
                  <a:cxn ang="0">
                    <a:pos x="1403" y="271"/>
                  </a:cxn>
                  <a:cxn ang="0">
                    <a:pos x="1365" y="335"/>
                  </a:cxn>
                  <a:cxn ang="0">
                    <a:pos x="1330" y="401"/>
                  </a:cxn>
                  <a:cxn ang="0">
                    <a:pos x="1375" y="460"/>
                  </a:cxn>
                  <a:cxn ang="0">
                    <a:pos x="1311" y="493"/>
                  </a:cxn>
                  <a:cxn ang="0">
                    <a:pos x="1271" y="517"/>
                  </a:cxn>
                  <a:cxn ang="0">
                    <a:pos x="1283" y="595"/>
                  </a:cxn>
                  <a:cxn ang="0">
                    <a:pos x="1273" y="621"/>
                  </a:cxn>
                  <a:cxn ang="0">
                    <a:pos x="1283" y="670"/>
                  </a:cxn>
                  <a:cxn ang="0">
                    <a:pos x="1252" y="741"/>
                  </a:cxn>
                  <a:cxn ang="0">
                    <a:pos x="1169" y="807"/>
                  </a:cxn>
                  <a:cxn ang="0">
                    <a:pos x="1155" y="869"/>
                  </a:cxn>
                  <a:cxn ang="0">
                    <a:pos x="1125" y="916"/>
                  </a:cxn>
                  <a:cxn ang="0">
                    <a:pos x="1113" y="973"/>
                  </a:cxn>
                  <a:cxn ang="0">
                    <a:pos x="1002" y="1020"/>
                  </a:cxn>
                  <a:cxn ang="0">
                    <a:pos x="933" y="1025"/>
                  </a:cxn>
                  <a:cxn ang="0">
                    <a:pos x="872" y="1048"/>
                  </a:cxn>
                  <a:cxn ang="0">
                    <a:pos x="803" y="1063"/>
                  </a:cxn>
                  <a:cxn ang="0">
                    <a:pos x="716" y="1100"/>
                  </a:cxn>
                  <a:cxn ang="0">
                    <a:pos x="671" y="1105"/>
                  </a:cxn>
                  <a:cxn ang="0">
                    <a:pos x="652" y="1124"/>
                  </a:cxn>
                  <a:cxn ang="0">
                    <a:pos x="593" y="1115"/>
                  </a:cxn>
                  <a:cxn ang="0">
                    <a:pos x="562" y="1072"/>
                  </a:cxn>
                  <a:cxn ang="0">
                    <a:pos x="555" y="1025"/>
                  </a:cxn>
                  <a:cxn ang="0">
                    <a:pos x="574" y="966"/>
                  </a:cxn>
                  <a:cxn ang="0">
                    <a:pos x="536" y="933"/>
                  </a:cxn>
                  <a:cxn ang="0">
                    <a:pos x="501" y="904"/>
                  </a:cxn>
                  <a:cxn ang="0">
                    <a:pos x="491" y="822"/>
                  </a:cxn>
                  <a:cxn ang="0">
                    <a:pos x="456" y="748"/>
                  </a:cxn>
                  <a:cxn ang="0">
                    <a:pos x="366" y="767"/>
                  </a:cxn>
                  <a:cxn ang="0">
                    <a:pos x="276" y="812"/>
                  </a:cxn>
                  <a:cxn ang="0">
                    <a:pos x="154" y="748"/>
                  </a:cxn>
                  <a:cxn ang="0">
                    <a:pos x="12" y="760"/>
                  </a:cxn>
                </a:cxnLst>
                <a:rect l="0" t="0" r="r" b="b"/>
                <a:pathLst>
                  <a:path w="1420" h="1136">
                    <a:moveTo>
                      <a:pt x="2" y="727"/>
                    </a:moveTo>
                    <a:lnTo>
                      <a:pt x="2" y="725"/>
                    </a:lnTo>
                    <a:lnTo>
                      <a:pt x="5" y="722"/>
                    </a:lnTo>
                    <a:lnTo>
                      <a:pt x="0" y="720"/>
                    </a:lnTo>
                    <a:lnTo>
                      <a:pt x="0" y="720"/>
                    </a:lnTo>
                    <a:lnTo>
                      <a:pt x="2" y="718"/>
                    </a:lnTo>
                    <a:lnTo>
                      <a:pt x="2" y="713"/>
                    </a:lnTo>
                    <a:lnTo>
                      <a:pt x="5" y="711"/>
                    </a:lnTo>
                    <a:lnTo>
                      <a:pt x="5" y="711"/>
                    </a:lnTo>
                    <a:lnTo>
                      <a:pt x="7" y="703"/>
                    </a:lnTo>
                    <a:lnTo>
                      <a:pt x="10" y="701"/>
                    </a:lnTo>
                    <a:lnTo>
                      <a:pt x="10" y="701"/>
                    </a:lnTo>
                    <a:lnTo>
                      <a:pt x="12" y="701"/>
                    </a:lnTo>
                    <a:lnTo>
                      <a:pt x="14" y="701"/>
                    </a:lnTo>
                    <a:lnTo>
                      <a:pt x="14" y="701"/>
                    </a:lnTo>
                    <a:lnTo>
                      <a:pt x="17" y="701"/>
                    </a:lnTo>
                    <a:lnTo>
                      <a:pt x="17" y="699"/>
                    </a:lnTo>
                    <a:lnTo>
                      <a:pt x="17" y="696"/>
                    </a:lnTo>
                    <a:lnTo>
                      <a:pt x="17" y="694"/>
                    </a:lnTo>
                    <a:lnTo>
                      <a:pt x="12" y="689"/>
                    </a:lnTo>
                    <a:lnTo>
                      <a:pt x="12" y="687"/>
                    </a:lnTo>
                    <a:lnTo>
                      <a:pt x="14" y="685"/>
                    </a:lnTo>
                    <a:lnTo>
                      <a:pt x="14" y="685"/>
                    </a:lnTo>
                    <a:lnTo>
                      <a:pt x="19" y="687"/>
                    </a:lnTo>
                    <a:lnTo>
                      <a:pt x="26" y="689"/>
                    </a:lnTo>
                    <a:lnTo>
                      <a:pt x="28" y="689"/>
                    </a:lnTo>
                    <a:lnTo>
                      <a:pt x="28" y="687"/>
                    </a:lnTo>
                    <a:lnTo>
                      <a:pt x="28" y="687"/>
                    </a:lnTo>
                    <a:lnTo>
                      <a:pt x="28" y="685"/>
                    </a:lnTo>
                    <a:lnTo>
                      <a:pt x="24" y="680"/>
                    </a:lnTo>
                    <a:lnTo>
                      <a:pt x="24" y="680"/>
                    </a:lnTo>
                    <a:lnTo>
                      <a:pt x="24" y="678"/>
                    </a:lnTo>
                    <a:lnTo>
                      <a:pt x="24" y="678"/>
                    </a:lnTo>
                    <a:lnTo>
                      <a:pt x="26" y="675"/>
                    </a:lnTo>
                    <a:lnTo>
                      <a:pt x="26" y="673"/>
                    </a:lnTo>
                    <a:lnTo>
                      <a:pt x="28" y="668"/>
                    </a:lnTo>
                    <a:lnTo>
                      <a:pt x="28" y="666"/>
                    </a:lnTo>
                    <a:lnTo>
                      <a:pt x="28" y="666"/>
                    </a:lnTo>
                    <a:lnTo>
                      <a:pt x="28" y="663"/>
                    </a:lnTo>
                    <a:lnTo>
                      <a:pt x="31" y="661"/>
                    </a:lnTo>
                    <a:lnTo>
                      <a:pt x="33" y="659"/>
                    </a:lnTo>
                    <a:lnTo>
                      <a:pt x="36" y="659"/>
                    </a:lnTo>
                    <a:lnTo>
                      <a:pt x="38" y="654"/>
                    </a:lnTo>
                    <a:lnTo>
                      <a:pt x="40" y="654"/>
                    </a:lnTo>
                    <a:lnTo>
                      <a:pt x="40" y="652"/>
                    </a:lnTo>
                    <a:lnTo>
                      <a:pt x="40" y="649"/>
                    </a:lnTo>
                    <a:lnTo>
                      <a:pt x="40" y="649"/>
                    </a:lnTo>
                    <a:lnTo>
                      <a:pt x="47" y="647"/>
                    </a:lnTo>
                    <a:lnTo>
                      <a:pt x="47" y="644"/>
                    </a:lnTo>
                    <a:lnTo>
                      <a:pt x="47" y="642"/>
                    </a:lnTo>
                    <a:lnTo>
                      <a:pt x="47" y="642"/>
                    </a:lnTo>
                    <a:lnTo>
                      <a:pt x="50" y="642"/>
                    </a:lnTo>
                    <a:lnTo>
                      <a:pt x="52" y="642"/>
                    </a:lnTo>
                    <a:lnTo>
                      <a:pt x="59" y="642"/>
                    </a:lnTo>
                    <a:lnTo>
                      <a:pt x="61" y="640"/>
                    </a:lnTo>
                    <a:lnTo>
                      <a:pt x="64" y="637"/>
                    </a:lnTo>
                    <a:lnTo>
                      <a:pt x="64" y="637"/>
                    </a:lnTo>
                    <a:lnTo>
                      <a:pt x="66" y="637"/>
                    </a:lnTo>
                    <a:lnTo>
                      <a:pt x="69" y="633"/>
                    </a:lnTo>
                    <a:lnTo>
                      <a:pt x="71" y="628"/>
                    </a:lnTo>
                    <a:lnTo>
                      <a:pt x="71" y="626"/>
                    </a:lnTo>
                    <a:lnTo>
                      <a:pt x="71" y="623"/>
                    </a:lnTo>
                    <a:lnTo>
                      <a:pt x="71" y="621"/>
                    </a:lnTo>
                    <a:lnTo>
                      <a:pt x="69" y="618"/>
                    </a:lnTo>
                    <a:lnTo>
                      <a:pt x="69" y="616"/>
                    </a:lnTo>
                    <a:lnTo>
                      <a:pt x="71" y="614"/>
                    </a:lnTo>
                    <a:lnTo>
                      <a:pt x="73" y="614"/>
                    </a:lnTo>
                    <a:lnTo>
                      <a:pt x="76" y="614"/>
                    </a:lnTo>
                    <a:lnTo>
                      <a:pt x="78" y="609"/>
                    </a:lnTo>
                    <a:lnTo>
                      <a:pt x="80" y="602"/>
                    </a:lnTo>
                    <a:lnTo>
                      <a:pt x="80" y="602"/>
                    </a:lnTo>
                    <a:lnTo>
                      <a:pt x="80" y="602"/>
                    </a:lnTo>
                    <a:lnTo>
                      <a:pt x="83" y="600"/>
                    </a:lnTo>
                    <a:lnTo>
                      <a:pt x="85" y="600"/>
                    </a:lnTo>
                    <a:lnTo>
                      <a:pt x="87" y="600"/>
                    </a:lnTo>
                    <a:lnTo>
                      <a:pt x="90" y="592"/>
                    </a:lnTo>
                    <a:lnTo>
                      <a:pt x="92" y="585"/>
                    </a:lnTo>
                    <a:lnTo>
                      <a:pt x="95" y="585"/>
                    </a:lnTo>
                    <a:lnTo>
                      <a:pt x="97" y="583"/>
                    </a:lnTo>
                    <a:lnTo>
                      <a:pt x="97" y="583"/>
                    </a:lnTo>
                    <a:lnTo>
                      <a:pt x="99" y="583"/>
                    </a:lnTo>
                    <a:lnTo>
                      <a:pt x="102" y="581"/>
                    </a:lnTo>
                    <a:lnTo>
                      <a:pt x="106" y="583"/>
                    </a:lnTo>
                    <a:lnTo>
                      <a:pt x="109" y="583"/>
                    </a:lnTo>
                    <a:lnTo>
                      <a:pt x="113" y="581"/>
                    </a:lnTo>
                    <a:lnTo>
                      <a:pt x="123" y="581"/>
                    </a:lnTo>
                    <a:lnTo>
                      <a:pt x="125" y="578"/>
                    </a:lnTo>
                    <a:lnTo>
                      <a:pt x="128" y="576"/>
                    </a:lnTo>
                    <a:lnTo>
                      <a:pt x="130" y="574"/>
                    </a:lnTo>
                    <a:lnTo>
                      <a:pt x="130" y="571"/>
                    </a:lnTo>
                    <a:lnTo>
                      <a:pt x="132" y="571"/>
                    </a:lnTo>
                    <a:lnTo>
                      <a:pt x="137" y="571"/>
                    </a:lnTo>
                    <a:lnTo>
                      <a:pt x="137" y="574"/>
                    </a:lnTo>
                    <a:lnTo>
                      <a:pt x="142" y="574"/>
                    </a:lnTo>
                    <a:lnTo>
                      <a:pt x="147" y="574"/>
                    </a:lnTo>
                    <a:lnTo>
                      <a:pt x="149" y="574"/>
                    </a:lnTo>
                    <a:lnTo>
                      <a:pt x="149" y="574"/>
                    </a:lnTo>
                    <a:lnTo>
                      <a:pt x="151" y="574"/>
                    </a:lnTo>
                    <a:lnTo>
                      <a:pt x="151" y="574"/>
                    </a:lnTo>
                    <a:lnTo>
                      <a:pt x="154" y="574"/>
                    </a:lnTo>
                    <a:lnTo>
                      <a:pt x="154" y="576"/>
                    </a:lnTo>
                    <a:lnTo>
                      <a:pt x="156" y="576"/>
                    </a:lnTo>
                    <a:lnTo>
                      <a:pt x="161" y="576"/>
                    </a:lnTo>
                    <a:lnTo>
                      <a:pt x="161" y="576"/>
                    </a:lnTo>
                    <a:lnTo>
                      <a:pt x="161" y="576"/>
                    </a:lnTo>
                    <a:lnTo>
                      <a:pt x="163" y="576"/>
                    </a:lnTo>
                    <a:lnTo>
                      <a:pt x="163" y="574"/>
                    </a:lnTo>
                    <a:lnTo>
                      <a:pt x="165" y="574"/>
                    </a:lnTo>
                    <a:lnTo>
                      <a:pt x="165" y="574"/>
                    </a:lnTo>
                    <a:lnTo>
                      <a:pt x="168" y="574"/>
                    </a:lnTo>
                    <a:lnTo>
                      <a:pt x="170" y="574"/>
                    </a:lnTo>
                    <a:lnTo>
                      <a:pt x="173" y="571"/>
                    </a:lnTo>
                    <a:lnTo>
                      <a:pt x="173" y="571"/>
                    </a:lnTo>
                    <a:lnTo>
                      <a:pt x="175" y="571"/>
                    </a:lnTo>
                    <a:lnTo>
                      <a:pt x="175" y="571"/>
                    </a:lnTo>
                    <a:lnTo>
                      <a:pt x="180" y="571"/>
                    </a:lnTo>
                    <a:lnTo>
                      <a:pt x="180" y="571"/>
                    </a:lnTo>
                    <a:lnTo>
                      <a:pt x="180" y="571"/>
                    </a:lnTo>
                    <a:lnTo>
                      <a:pt x="177" y="566"/>
                    </a:lnTo>
                    <a:lnTo>
                      <a:pt x="180" y="566"/>
                    </a:lnTo>
                    <a:lnTo>
                      <a:pt x="180" y="566"/>
                    </a:lnTo>
                    <a:lnTo>
                      <a:pt x="182" y="564"/>
                    </a:lnTo>
                    <a:lnTo>
                      <a:pt x="189" y="564"/>
                    </a:lnTo>
                    <a:lnTo>
                      <a:pt x="189" y="564"/>
                    </a:lnTo>
                    <a:lnTo>
                      <a:pt x="191" y="564"/>
                    </a:lnTo>
                    <a:lnTo>
                      <a:pt x="191" y="564"/>
                    </a:lnTo>
                    <a:lnTo>
                      <a:pt x="191" y="564"/>
                    </a:lnTo>
                    <a:lnTo>
                      <a:pt x="191" y="562"/>
                    </a:lnTo>
                    <a:lnTo>
                      <a:pt x="191" y="559"/>
                    </a:lnTo>
                    <a:lnTo>
                      <a:pt x="191" y="557"/>
                    </a:lnTo>
                    <a:lnTo>
                      <a:pt x="194" y="557"/>
                    </a:lnTo>
                    <a:lnTo>
                      <a:pt x="194" y="557"/>
                    </a:lnTo>
                    <a:lnTo>
                      <a:pt x="199" y="557"/>
                    </a:lnTo>
                    <a:lnTo>
                      <a:pt x="199" y="557"/>
                    </a:lnTo>
                    <a:lnTo>
                      <a:pt x="199" y="559"/>
                    </a:lnTo>
                    <a:lnTo>
                      <a:pt x="199" y="559"/>
                    </a:lnTo>
                    <a:lnTo>
                      <a:pt x="199" y="562"/>
                    </a:lnTo>
                    <a:lnTo>
                      <a:pt x="199" y="564"/>
                    </a:lnTo>
                    <a:lnTo>
                      <a:pt x="201" y="566"/>
                    </a:lnTo>
                    <a:lnTo>
                      <a:pt x="206" y="574"/>
                    </a:lnTo>
                    <a:lnTo>
                      <a:pt x="208" y="576"/>
                    </a:lnTo>
                    <a:lnTo>
                      <a:pt x="208" y="576"/>
                    </a:lnTo>
                    <a:lnTo>
                      <a:pt x="210" y="578"/>
                    </a:lnTo>
                    <a:lnTo>
                      <a:pt x="213" y="576"/>
                    </a:lnTo>
                    <a:lnTo>
                      <a:pt x="213" y="576"/>
                    </a:lnTo>
                    <a:lnTo>
                      <a:pt x="215" y="574"/>
                    </a:lnTo>
                    <a:lnTo>
                      <a:pt x="217" y="571"/>
                    </a:lnTo>
                    <a:lnTo>
                      <a:pt x="220" y="566"/>
                    </a:lnTo>
                    <a:lnTo>
                      <a:pt x="220" y="566"/>
                    </a:lnTo>
                    <a:lnTo>
                      <a:pt x="222" y="566"/>
                    </a:lnTo>
                    <a:lnTo>
                      <a:pt x="224" y="566"/>
                    </a:lnTo>
                    <a:lnTo>
                      <a:pt x="224" y="564"/>
                    </a:lnTo>
                    <a:lnTo>
                      <a:pt x="224" y="564"/>
                    </a:lnTo>
                    <a:lnTo>
                      <a:pt x="227" y="562"/>
                    </a:lnTo>
                    <a:lnTo>
                      <a:pt x="227" y="562"/>
                    </a:lnTo>
                    <a:lnTo>
                      <a:pt x="229" y="562"/>
                    </a:lnTo>
                    <a:lnTo>
                      <a:pt x="229" y="559"/>
                    </a:lnTo>
                    <a:lnTo>
                      <a:pt x="232" y="555"/>
                    </a:lnTo>
                    <a:lnTo>
                      <a:pt x="234" y="555"/>
                    </a:lnTo>
                    <a:lnTo>
                      <a:pt x="236" y="552"/>
                    </a:lnTo>
                    <a:lnTo>
                      <a:pt x="236" y="552"/>
                    </a:lnTo>
                    <a:lnTo>
                      <a:pt x="236" y="550"/>
                    </a:lnTo>
                    <a:lnTo>
                      <a:pt x="236" y="550"/>
                    </a:lnTo>
                    <a:lnTo>
                      <a:pt x="234" y="548"/>
                    </a:lnTo>
                    <a:lnTo>
                      <a:pt x="234" y="548"/>
                    </a:lnTo>
                    <a:lnTo>
                      <a:pt x="234" y="548"/>
                    </a:lnTo>
                    <a:lnTo>
                      <a:pt x="236" y="548"/>
                    </a:lnTo>
                    <a:lnTo>
                      <a:pt x="241" y="548"/>
                    </a:lnTo>
                    <a:lnTo>
                      <a:pt x="241" y="545"/>
                    </a:lnTo>
                    <a:lnTo>
                      <a:pt x="246" y="543"/>
                    </a:lnTo>
                    <a:lnTo>
                      <a:pt x="248" y="543"/>
                    </a:lnTo>
                    <a:lnTo>
                      <a:pt x="248" y="545"/>
                    </a:lnTo>
                    <a:lnTo>
                      <a:pt x="246" y="545"/>
                    </a:lnTo>
                    <a:lnTo>
                      <a:pt x="246" y="545"/>
                    </a:lnTo>
                    <a:lnTo>
                      <a:pt x="248" y="545"/>
                    </a:lnTo>
                    <a:lnTo>
                      <a:pt x="248" y="548"/>
                    </a:lnTo>
                    <a:lnTo>
                      <a:pt x="250" y="548"/>
                    </a:lnTo>
                    <a:lnTo>
                      <a:pt x="250" y="548"/>
                    </a:lnTo>
                    <a:lnTo>
                      <a:pt x="255" y="545"/>
                    </a:lnTo>
                    <a:lnTo>
                      <a:pt x="255" y="545"/>
                    </a:lnTo>
                    <a:lnTo>
                      <a:pt x="255" y="543"/>
                    </a:lnTo>
                    <a:lnTo>
                      <a:pt x="258" y="541"/>
                    </a:lnTo>
                    <a:lnTo>
                      <a:pt x="260" y="541"/>
                    </a:lnTo>
                    <a:lnTo>
                      <a:pt x="262" y="541"/>
                    </a:lnTo>
                    <a:lnTo>
                      <a:pt x="262" y="541"/>
                    </a:lnTo>
                    <a:lnTo>
                      <a:pt x="262" y="541"/>
                    </a:lnTo>
                    <a:lnTo>
                      <a:pt x="262" y="538"/>
                    </a:lnTo>
                    <a:lnTo>
                      <a:pt x="265" y="538"/>
                    </a:lnTo>
                    <a:lnTo>
                      <a:pt x="265" y="536"/>
                    </a:lnTo>
                    <a:lnTo>
                      <a:pt x="267" y="536"/>
                    </a:lnTo>
                    <a:lnTo>
                      <a:pt x="269" y="533"/>
                    </a:lnTo>
                    <a:lnTo>
                      <a:pt x="272" y="533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76" y="536"/>
                    </a:lnTo>
                    <a:lnTo>
                      <a:pt x="281" y="538"/>
                    </a:lnTo>
                    <a:lnTo>
                      <a:pt x="281" y="538"/>
                    </a:lnTo>
                    <a:lnTo>
                      <a:pt x="284" y="543"/>
                    </a:lnTo>
                    <a:lnTo>
                      <a:pt x="284" y="543"/>
                    </a:lnTo>
                    <a:lnTo>
                      <a:pt x="286" y="541"/>
                    </a:lnTo>
                    <a:lnTo>
                      <a:pt x="288" y="538"/>
                    </a:lnTo>
                    <a:lnTo>
                      <a:pt x="291" y="541"/>
                    </a:lnTo>
                    <a:lnTo>
                      <a:pt x="293" y="538"/>
                    </a:lnTo>
                    <a:lnTo>
                      <a:pt x="295" y="538"/>
                    </a:lnTo>
                    <a:lnTo>
                      <a:pt x="298" y="538"/>
                    </a:lnTo>
                    <a:lnTo>
                      <a:pt x="300" y="538"/>
                    </a:lnTo>
                    <a:lnTo>
                      <a:pt x="300" y="538"/>
                    </a:lnTo>
                    <a:lnTo>
                      <a:pt x="302" y="538"/>
                    </a:lnTo>
                    <a:lnTo>
                      <a:pt x="305" y="538"/>
                    </a:lnTo>
                    <a:lnTo>
                      <a:pt x="305" y="538"/>
                    </a:lnTo>
                    <a:lnTo>
                      <a:pt x="305" y="538"/>
                    </a:lnTo>
                    <a:lnTo>
                      <a:pt x="305" y="536"/>
                    </a:lnTo>
                    <a:lnTo>
                      <a:pt x="307" y="536"/>
                    </a:lnTo>
                    <a:lnTo>
                      <a:pt x="312" y="536"/>
                    </a:lnTo>
                    <a:lnTo>
                      <a:pt x="312" y="536"/>
                    </a:lnTo>
                    <a:lnTo>
                      <a:pt x="314" y="536"/>
                    </a:lnTo>
                    <a:lnTo>
                      <a:pt x="317" y="536"/>
                    </a:lnTo>
                    <a:lnTo>
                      <a:pt x="317" y="536"/>
                    </a:lnTo>
                    <a:lnTo>
                      <a:pt x="317" y="538"/>
                    </a:lnTo>
                    <a:lnTo>
                      <a:pt x="319" y="538"/>
                    </a:lnTo>
                    <a:lnTo>
                      <a:pt x="321" y="538"/>
                    </a:lnTo>
                    <a:lnTo>
                      <a:pt x="321" y="541"/>
                    </a:lnTo>
                    <a:lnTo>
                      <a:pt x="326" y="538"/>
                    </a:lnTo>
                    <a:lnTo>
                      <a:pt x="326" y="538"/>
                    </a:lnTo>
                    <a:lnTo>
                      <a:pt x="326" y="541"/>
                    </a:lnTo>
                    <a:lnTo>
                      <a:pt x="326" y="541"/>
                    </a:lnTo>
                    <a:lnTo>
                      <a:pt x="326" y="543"/>
                    </a:lnTo>
                    <a:lnTo>
                      <a:pt x="331" y="541"/>
                    </a:lnTo>
                    <a:lnTo>
                      <a:pt x="333" y="541"/>
                    </a:lnTo>
                    <a:lnTo>
                      <a:pt x="336" y="541"/>
                    </a:lnTo>
                    <a:lnTo>
                      <a:pt x="336" y="541"/>
                    </a:lnTo>
                    <a:lnTo>
                      <a:pt x="336" y="541"/>
                    </a:lnTo>
                    <a:lnTo>
                      <a:pt x="336" y="541"/>
                    </a:lnTo>
                    <a:lnTo>
                      <a:pt x="338" y="541"/>
                    </a:lnTo>
                    <a:lnTo>
                      <a:pt x="340" y="541"/>
                    </a:lnTo>
                    <a:lnTo>
                      <a:pt x="343" y="541"/>
                    </a:lnTo>
                    <a:lnTo>
                      <a:pt x="345" y="541"/>
                    </a:lnTo>
                    <a:lnTo>
                      <a:pt x="345" y="541"/>
                    </a:lnTo>
                    <a:lnTo>
                      <a:pt x="345" y="541"/>
                    </a:lnTo>
                    <a:lnTo>
                      <a:pt x="347" y="543"/>
                    </a:lnTo>
                    <a:lnTo>
                      <a:pt x="347" y="543"/>
                    </a:lnTo>
                    <a:lnTo>
                      <a:pt x="350" y="543"/>
                    </a:lnTo>
                    <a:lnTo>
                      <a:pt x="350" y="543"/>
                    </a:lnTo>
                    <a:lnTo>
                      <a:pt x="347" y="541"/>
                    </a:lnTo>
                    <a:lnTo>
                      <a:pt x="347" y="541"/>
                    </a:lnTo>
                    <a:lnTo>
                      <a:pt x="350" y="538"/>
                    </a:lnTo>
                    <a:lnTo>
                      <a:pt x="352" y="536"/>
                    </a:lnTo>
                    <a:lnTo>
                      <a:pt x="354" y="536"/>
                    </a:lnTo>
                    <a:lnTo>
                      <a:pt x="354" y="536"/>
                    </a:lnTo>
                    <a:lnTo>
                      <a:pt x="354" y="538"/>
                    </a:lnTo>
                    <a:lnTo>
                      <a:pt x="359" y="538"/>
                    </a:lnTo>
                    <a:lnTo>
                      <a:pt x="359" y="541"/>
                    </a:lnTo>
                    <a:lnTo>
                      <a:pt x="359" y="541"/>
                    </a:lnTo>
                    <a:lnTo>
                      <a:pt x="364" y="541"/>
                    </a:lnTo>
                    <a:lnTo>
                      <a:pt x="366" y="541"/>
                    </a:lnTo>
                    <a:lnTo>
                      <a:pt x="366" y="541"/>
                    </a:lnTo>
                    <a:lnTo>
                      <a:pt x="366" y="543"/>
                    </a:lnTo>
                    <a:lnTo>
                      <a:pt x="369" y="545"/>
                    </a:lnTo>
                    <a:lnTo>
                      <a:pt x="369" y="548"/>
                    </a:lnTo>
                    <a:lnTo>
                      <a:pt x="371" y="548"/>
                    </a:lnTo>
                    <a:lnTo>
                      <a:pt x="373" y="548"/>
                    </a:lnTo>
                    <a:lnTo>
                      <a:pt x="376" y="550"/>
                    </a:lnTo>
                    <a:lnTo>
                      <a:pt x="376" y="550"/>
                    </a:lnTo>
                    <a:lnTo>
                      <a:pt x="378" y="550"/>
                    </a:lnTo>
                    <a:lnTo>
                      <a:pt x="378" y="548"/>
                    </a:lnTo>
                    <a:lnTo>
                      <a:pt x="380" y="548"/>
                    </a:lnTo>
                    <a:lnTo>
                      <a:pt x="380" y="548"/>
                    </a:lnTo>
                    <a:lnTo>
                      <a:pt x="383" y="548"/>
                    </a:lnTo>
                    <a:lnTo>
                      <a:pt x="383" y="550"/>
                    </a:lnTo>
                    <a:lnTo>
                      <a:pt x="385" y="550"/>
                    </a:lnTo>
                    <a:lnTo>
                      <a:pt x="385" y="550"/>
                    </a:lnTo>
                    <a:lnTo>
                      <a:pt x="385" y="552"/>
                    </a:lnTo>
                    <a:lnTo>
                      <a:pt x="387" y="552"/>
                    </a:lnTo>
                    <a:lnTo>
                      <a:pt x="387" y="552"/>
                    </a:lnTo>
                    <a:lnTo>
                      <a:pt x="390" y="550"/>
                    </a:lnTo>
                    <a:lnTo>
                      <a:pt x="390" y="552"/>
                    </a:lnTo>
                    <a:lnTo>
                      <a:pt x="390" y="555"/>
                    </a:lnTo>
                    <a:lnTo>
                      <a:pt x="390" y="555"/>
                    </a:lnTo>
                    <a:lnTo>
                      <a:pt x="392" y="555"/>
                    </a:lnTo>
                    <a:lnTo>
                      <a:pt x="392" y="555"/>
                    </a:lnTo>
                    <a:lnTo>
                      <a:pt x="392" y="557"/>
                    </a:lnTo>
                    <a:lnTo>
                      <a:pt x="392" y="559"/>
                    </a:lnTo>
                    <a:lnTo>
                      <a:pt x="395" y="557"/>
                    </a:lnTo>
                    <a:lnTo>
                      <a:pt x="395" y="557"/>
                    </a:lnTo>
                    <a:lnTo>
                      <a:pt x="397" y="557"/>
                    </a:lnTo>
                    <a:lnTo>
                      <a:pt x="397" y="555"/>
                    </a:lnTo>
                    <a:lnTo>
                      <a:pt x="399" y="555"/>
                    </a:lnTo>
                    <a:lnTo>
                      <a:pt x="402" y="555"/>
                    </a:lnTo>
                    <a:lnTo>
                      <a:pt x="402" y="555"/>
                    </a:lnTo>
                    <a:lnTo>
                      <a:pt x="404" y="555"/>
                    </a:lnTo>
                    <a:lnTo>
                      <a:pt x="404" y="555"/>
                    </a:lnTo>
                    <a:lnTo>
                      <a:pt x="404" y="555"/>
                    </a:lnTo>
                    <a:lnTo>
                      <a:pt x="404" y="555"/>
                    </a:lnTo>
                    <a:lnTo>
                      <a:pt x="404" y="552"/>
                    </a:lnTo>
                    <a:lnTo>
                      <a:pt x="404" y="552"/>
                    </a:lnTo>
                    <a:lnTo>
                      <a:pt x="404" y="550"/>
                    </a:lnTo>
                    <a:lnTo>
                      <a:pt x="406" y="550"/>
                    </a:lnTo>
                    <a:lnTo>
                      <a:pt x="406" y="550"/>
                    </a:lnTo>
                    <a:lnTo>
                      <a:pt x="409" y="552"/>
                    </a:lnTo>
                    <a:lnTo>
                      <a:pt x="409" y="552"/>
                    </a:lnTo>
                    <a:lnTo>
                      <a:pt x="409" y="550"/>
                    </a:lnTo>
                    <a:lnTo>
                      <a:pt x="409" y="550"/>
                    </a:lnTo>
                    <a:lnTo>
                      <a:pt x="409" y="548"/>
                    </a:lnTo>
                    <a:lnTo>
                      <a:pt x="409" y="548"/>
                    </a:lnTo>
                    <a:lnTo>
                      <a:pt x="411" y="545"/>
                    </a:lnTo>
                    <a:lnTo>
                      <a:pt x="411" y="545"/>
                    </a:lnTo>
                    <a:lnTo>
                      <a:pt x="413" y="545"/>
                    </a:lnTo>
                    <a:lnTo>
                      <a:pt x="413" y="545"/>
                    </a:lnTo>
                    <a:lnTo>
                      <a:pt x="413" y="548"/>
                    </a:lnTo>
                    <a:lnTo>
                      <a:pt x="413" y="548"/>
                    </a:lnTo>
                    <a:lnTo>
                      <a:pt x="413" y="548"/>
                    </a:lnTo>
                    <a:lnTo>
                      <a:pt x="416" y="548"/>
                    </a:lnTo>
                    <a:lnTo>
                      <a:pt x="418" y="548"/>
                    </a:lnTo>
                    <a:lnTo>
                      <a:pt x="418" y="548"/>
                    </a:lnTo>
                    <a:lnTo>
                      <a:pt x="421" y="548"/>
                    </a:lnTo>
                    <a:lnTo>
                      <a:pt x="421" y="545"/>
                    </a:lnTo>
                    <a:lnTo>
                      <a:pt x="418" y="545"/>
                    </a:lnTo>
                    <a:lnTo>
                      <a:pt x="421" y="543"/>
                    </a:lnTo>
                    <a:lnTo>
                      <a:pt x="421" y="543"/>
                    </a:lnTo>
                    <a:lnTo>
                      <a:pt x="421" y="543"/>
                    </a:lnTo>
                    <a:lnTo>
                      <a:pt x="421" y="541"/>
                    </a:lnTo>
                    <a:lnTo>
                      <a:pt x="423" y="541"/>
                    </a:lnTo>
                    <a:lnTo>
                      <a:pt x="423" y="543"/>
                    </a:lnTo>
                    <a:lnTo>
                      <a:pt x="425" y="543"/>
                    </a:lnTo>
                    <a:lnTo>
                      <a:pt x="425" y="543"/>
                    </a:lnTo>
                    <a:lnTo>
                      <a:pt x="428" y="541"/>
                    </a:lnTo>
                    <a:lnTo>
                      <a:pt x="428" y="541"/>
                    </a:lnTo>
                    <a:lnTo>
                      <a:pt x="428" y="541"/>
                    </a:lnTo>
                    <a:lnTo>
                      <a:pt x="430" y="541"/>
                    </a:lnTo>
                    <a:lnTo>
                      <a:pt x="430" y="536"/>
                    </a:lnTo>
                    <a:lnTo>
                      <a:pt x="432" y="536"/>
                    </a:lnTo>
                    <a:lnTo>
                      <a:pt x="432" y="536"/>
                    </a:lnTo>
                    <a:lnTo>
                      <a:pt x="432" y="538"/>
                    </a:lnTo>
                    <a:lnTo>
                      <a:pt x="435" y="536"/>
                    </a:lnTo>
                    <a:lnTo>
                      <a:pt x="435" y="536"/>
                    </a:lnTo>
                    <a:lnTo>
                      <a:pt x="435" y="536"/>
                    </a:lnTo>
                    <a:lnTo>
                      <a:pt x="437" y="533"/>
                    </a:lnTo>
                    <a:lnTo>
                      <a:pt x="435" y="533"/>
                    </a:lnTo>
                    <a:lnTo>
                      <a:pt x="435" y="531"/>
                    </a:lnTo>
                    <a:lnTo>
                      <a:pt x="432" y="531"/>
                    </a:lnTo>
                    <a:lnTo>
                      <a:pt x="435" y="529"/>
                    </a:lnTo>
                    <a:lnTo>
                      <a:pt x="437" y="529"/>
                    </a:lnTo>
                    <a:lnTo>
                      <a:pt x="435" y="526"/>
                    </a:lnTo>
                    <a:lnTo>
                      <a:pt x="437" y="526"/>
                    </a:lnTo>
                    <a:lnTo>
                      <a:pt x="437" y="526"/>
                    </a:lnTo>
                    <a:lnTo>
                      <a:pt x="437" y="529"/>
                    </a:lnTo>
                    <a:lnTo>
                      <a:pt x="437" y="526"/>
                    </a:lnTo>
                    <a:lnTo>
                      <a:pt x="437" y="526"/>
                    </a:lnTo>
                    <a:lnTo>
                      <a:pt x="437" y="526"/>
                    </a:lnTo>
                    <a:lnTo>
                      <a:pt x="439" y="524"/>
                    </a:lnTo>
                    <a:lnTo>
                      <a:pt x="439" y="524"/>
                    </a:lnTo>
                    <a:lnTo>
                      <a:pt x="442" y="524"/>
                    </a:lnTo>
                    <a:lnTo>
                      <a:pt x="439" y="522"/>
                    </a:lnTo>
                    <a:lnTo>
                      <a:pt x="442" y="522"/>
                    </a:lnTo>
                    <a:lnTo>
                      <a:pt x="442" y="522"/>
                    </a:lnTo>
                    <a:lnTo>
                      <a:pt x="442" y="519"/>
                    </a:lnTo>
                    <a:lnTo>
                      <a:pt x="444" y="519"/>
                    </a:lnTo>
                    <a:lnTo>
                      <a:pt x="447" y="519"/>
                    </a:lnTo>
                    <a:lnTo>
                      <a:pt x="447" y="519"/>
                    </a:lnTo>
                    <a:lnTo>
                      <a:pt x="447" y="519"/>
                    </a:lnTo>
                    <a:lnTo>
                      <a:pt x="447" y="522"/>
                    </a:lnTo>
                    <a:lnTo>
                      <a:pt x="447" y="522"/>
                    </a:lnTo>
                    <a:lnTo>
                      <a:pt x="447" y="524"/>
                    </a:lnTo>
                    <a:lnTo>
                      <a:pt x="447" y="522"/>
                    </a:lnTo>
                    <a:lnTo>
                      <a:pt x="447" y="522"/>
                    </a:lnTo>
                    <a:lnTo>
                      <a:pt x="449" y="522"/>
                    </a:lnTo>
                    <a:lnTo>
                      <a:pt x="449" y="519"/>
                    </a:lnTo>
                    <a:lnTo>
                      <a:pt x="451" y="519"/>
                    </a:lnTo>
                    <a:lnTo>
                      <a:pt x="451" y="519"/>
                    </a:lnTo>
                    <a:lnTo>
                      <a:pt x="451" y="519"/>
                    </a:lnTo>
                    <a:lnTo>
                      <a:pt x="454" y="519"/>
                    </a:lnTo>
                    <a:lnTo>
                      <a:pt x="451" y="517"/>
                    </a:lnTo>
                    <a:lnTo>
                      <a:pt x="454" y="517"/>
                    </a:lnTo>
                    <a:lnTo>
                      <a:pt x="454" y="517"/>
                    </a:lnTo>
                    <a:lnTo>
                      <a:pt x="456" y="517"/>
                    </a:lnTo>
                    <a:lnTo>
                      <a:pt x="456" y="517"/>
                    </a:lnTo>
                    <a:lnTo>
                      <a:pt x="456" y="517"/>
                    </a:lnTo>
                    <a:lnTo>
                      <a:pt x="458" y="515"/>
                    </a:lnTo>
                    <a:lnTo>
                      <a:pt x="458" y="515"/>
                    </a:lnTo>
                    <a:lnTo>
                      <a:pt x="458" y="515"/>
                    </a:lnTo>
                    <a:lnTo>
                      <a:pt x="461" y="515"/>
                    </a:lnTo>
                    <a:lnTo>
                      <a:pt x="461" y="515"/>
                    </a:lnTo>
                    <a:lnTo>
                      <a:pt x="458" y="512"/>
                    </a:lnTo>
                    <a:lnTo>
                      <a:pt x="461" y="512"/>
                    </a:lnTo>
                    <a:lnTo>
                      <a:pt x="461" y="512"/>
                    </a:lnTo>
                    <a:lnTo>
                      <a:pt x="461" y="512"/>
                    </a:lnTo>
                    <a:lnTo>
                      <a:pt x="463" y="512"/>
                    </a:lnTo>
                    <a:lnTo>
                      <a:pt x="465" y="512"/>
                    </a:lnTo>
                    <a:lnTo>
                      <a:pt x="465" y="510"/>
                    </a:lnTo>
                    <a:lnTo>
                      <a:pt x="463" y="510"/>
                    </a:lnTo>
                    <a:lnTo>
                      <a:pt x="465" y="510"/>
                    </a:lnTo>
                    <a:lnTo>
                      <a:pt x="465" y="507"/>
                    </a:lnTo>
                    <a:lnTo>
                      <a:pt x="465" y="510"/>
                    </a:lnTo>
                    <a:lnTo>
                      <a:pt x="465" y="507"/>
                    </a:lnTo>
                    <a:lnTo>
                      <a:pt x="468" y="507"/>
                    </a:lnTo>
                    <a:lnTo>
                      <a:pt x="468" y="507"/>
                    </a:lnTo>
                    <a:lnTo>
                      <a:pt x="470" y="507"/>
                    </a:lnTo>
                    <a:lnTo>
                      <a:pt x="470" y="505"/>
                    </a:lnTo>
                    <a:lnTo>
                      <a:pt x="468" y="505"/>
                    </a:lnTo>
                    <a:lnTo>
                      <a:pt x="468" y="503"/>
                    </a:lnTo>
                    <a:lnTo>
                      <a:pt x="470" y="505"/>
                    </a:lnTo>
                    <a:lnTo>
                      <a:pt x="470" y="503"/>
                    </a:lnTo>
                    <a:lnTo>
                      <a:pt x="475" y="503"/>
                    </a:lnTo>
                    <a:lnTo>
                      <a:pt x="475" y="503"/>
                    </a:lnTo>
                    <a:lnTo>
                      <a:pt x="477" y="503"/>
                    </a:lnTo>
                    <a:lnTo>
                      <a:pt x="475" y="500"/>
                    </a:lnTo>
                    <a:lnTo>
                      <a:pt x="477" y="500"/>
                    </a:lnTo>
                    <a:lnTo>
                      <a:pt x="477" y="500"/>
                    </a:lnTo>
                    <a:lnTo>
                      <a:pt x="477" y="500"/>
                    </a:lnTo>
                    <a:lnTo>
                      <a:pt x="477" y="498"/>
                    </a:lnTo>
                    <a:lnTo>
                      <a:pt x="477" y="498"/>
                    </a:lnTo>
                    <a:lnTo>
                      <a:pt x="477" y="498"/>
                    </a:lnTo>
                    <a:lnTo>
                      <a:pt x="477" y="498"/>
                    </a:lnTo>
                    <a:lnTo>
                      <a:pt x="477" y="496"/>
                    </a:lnTo>
                    <a:lnTo>
                      <a:pt x="477" y="496"/>
                    </a:lnTo>
                    <a:lnTo>
                      <a:pt x="477" y="493"/>
                    </a:lnTo>
                    <a:lnTo>
                      <a:pt x="475" y="493"/>
                    </a:lnTo>
                    <a:lnTo>
                      <a:pt x="475" y="493"/>
                    </a:lnTo>
                    <a:lnTo>
                      <a:pt x="475" y="493"/>
                    </a:lnTo>
                    <a:lnTo>
                      <a:pt x="475" y="491"/>
                    </a:lnTo>
                    <a:lnTo>
                      <a:pt x="475" y="491"/>
                    </a:lnTo>
                    <a:lnTo>
                      <a:pt x="475" y="491"/>
                    </a:lnTo>
                    <a:lnTo>
                      <a:pt x="475" y="489"/>
                    </a:lnTo>
                    <a:lnTo>
                      <a:pt x="473" y="486"/>
                    </a:lnTo>
                    <a:lnTo>
                      <a:pt x="473" y="484"/>
                    </a:lnTo>
                    <a:lnTo>
                      <a:pt x="470" y="484"/>
                    </a:lnTo>
                    <a:lnTo>
                      <a:pt x="470" y="484"/>
                    </a:lnTo>
                    <a:lnTo>
                      <a:pt x="470" y="484"/>
                    </a:lnTo>
                    <a:lnTo>
                      <a:pt x="470" y="484"/>
                    </a:lnTo>
                    <a:lnTo>
                      <a:pt x="470" y="481"/>
                    </a:lnTo>
                    <a:lnTo>
                      <a:pt x="470" y="481"/>
                    </a:lnTo>
                    <a:lnTo>
                      <a:pt x="470" y="481"/>
                    </a:lnTo>
                    <a:lnTo>
                      <a:pt x="470" y="481"/>
                    </a:lnTo>
                    <a:lnTo>
                      <a:pt x="470" y="479"/>
                    </a:lnTo>
                    <a:lnTo>
                      <a:pt x="470" y="479"/>
                    </a:lnTo>
                    <a:lnTo>
                      <a:pt x="468" y="479"/>
                    </a:lnTo>
                    <a:lnTo>
                      <a:pt x="470" y="479"/>
                    </a:lnTo>
                    <a:lnTo>
                      <a:pt x="468" y="479"/>
                    </a:lnTo>
                    <a:lnTo>
                      <a:pt x="470" y="477"/>
                    </a:lnTo>
                    <a:lnTo>
                      <a:pt x="468" y="474"/>
                    </a:lnTo>
                    <a:lnTo>
                      <a:pt x="468" y="474"/>
                    </a:lnTo>
                    <a:lnTo>
                      <a:pt x="468" y="474"/>
                    </a:lnTo>
                    <a:lnTo>
                      <a:pt x="468" y="472"/>
                    </a:lnTo>
                    <a:lnTo>
                      <a:pt x="468" y="472"/>
                    </a:lnTo>
                    <a:lnTo>
                      <a:pt x="468" y="470"/>
                    </a:lnTo>
                    <a:lnTo>
                      <a:pt x="468" y="470"/>
                    </a:lnTo>
                    <a:lnTo>
                      <a:pt x="470" y="467"/>
                    </a:lnTo>
                    <a:lnTo>
                      <a:pt x="470" y="467"/>
                    </a:lnTo>
                    <a:lnTo>
                      <a:pt x="468" y="467"/>
                    </a:lnTo>
                    <a:lnTo>
                      <a:pt x="470" y="467"/>
                    </a:lnTo>
                    <a:lnTo>
                      <a:pt x="470" y="467"/>
                    </a:lnTo>
                    <a:lnTo>
                      <a:pt x="470" y="465"/>
                    </a:lnTo>
                    <a:lnTo>
                      <a:pt x="470" y="465"/>
                    </a:lnTo>
                    <a:lnTo>
                      <a:pt x="470" y="465"/>
                    </a:lnTo>
                    <a:lnTo>
                      <a:pt x="470" y="463"/>
                    </a:lnTo>
                    <a:lnTo>
                      <a:pt x="473" y="463"/>
                    </a:lnTo>
                    <a:lnTo>
                      <a:pt x="473" y="463"/>
                    </a:lnTo>
                    <a:lnTo>
                      <a:pt x="470" y="460"/>
                    </a:lnTo>
                    <a:lnTo>
                      <a:pt x="470" y="460"/>
                    </a:lnTo>
                    <a:lnTo>
                      <a:pt x="473" y="458"/>
                    </a:lnTo>
                    <a:lnTo>
                      <a:pt x="475" y="458"/>
                    </a:lnTo>
                    <a:lnTo>
                      <a:pt x="475" y="455"/>
                    </a:lnTo>
                    <a:lnTo>
                      <a:pt x="475" y="453"/>
                    </a:lnTo>
                    <a:lnTo>
                      <a:pt x="475" y="453"/>
                    </a:lnTo>
                    <a:lnTo>
                      <a:pt x="477" y="453"/>
                    </a:lnTo>
                    <a:lnTo>
                      <a:pt x="477" y="453"/>
                    </a:lnTo>
                    <a:lnTo>
                      <a:pt x="477" y="453"/>
                    </a:lnTo>
                    <a:lnTo>
                      <a:pt x="480" y="451"/>
                    </a:lnTo>
                    <a:lnTo>
                      <a:pt x="480" y="448"/>
                    </a:lnTo>
                    <a:lnTo>
                      <a:pt x="480" y="448"/>
                    </a:lnTo>
                    <a:lnTo>
                      <a:pt x="480" y="448"/>
                    </a:lnTo>
                    <a:lnTo>
                      <a:pt x="480" y="448"/>
                    </a:lnTo>
                    <a:lnTo>
                      <a:pt x="480" y="446"/>
                    </a:lnTo>
                    <a:lnTo>
                      <a:pt x="480" y="446"/>
                    </a:lnTo>
                    <a:lnTo>
                      <a:pt x="480" y="444"/>
                    </a:lnTo>
                    <a:lnTo>
                      <a:pt x="480" y="441"/>
                    </a:lnTo>
                    <a:lnTo>
                      <a:pt x="480" y="439"/>
                    </a:lnTo>
                    <a:lnTo>
                      <a:pt x="477" y="437"/>
                    </a:lnTo>
                    <a:lnTo>
                      <a:pt x="475" y="434"/>
                    </a:lnTo>
                    <a:lnTo>
                      <a:pt x="475" y="434"/>
                    </a:lnTo>
                    <a:lnTo>
                      <a:pt x="475" y="432"/>
                    </a:lnTo>
                    <a:lnTo>
                      <a:pt x="473" y="429"/>
                    </a:lnTo>
                    <a:lnTo>
                      <a:pt x="470" y="432"/>
                    </a:lnTo>
                    <a:lnTo>
                      <a:pt x="468" y="429"/>
                    </a:lnTo>
                    <a:lnTo>
                      <a:pt x="465" y="429"/>
                    </a:lnTo>
                    <a:lnTo>
                      <a:pt x="463" y="429"/>
                    </a:lnTo>
                    <a:lnTo>
                      <a:pt x="461" y="429"/>
                    </a:lnTo>
                    <a:lnTo>
                      <a:pt x="458" y="432"/>
                    </a:lnTo>
                    <a:lnTo>
                      <a:pt x="456" y="432"/>
                    </a:lnTo>
                    <a:lnTo>
                      <a:pt x="456" y="432"/>
                    </a:lnTo>
                    <a:lnTo>
                      <a:pt x="456" y="432"/>
                    </a:lnTo>
                    <a:lnTo>
                      <a:pt x="454" y="429"/>
                    </a:lnTo>
                    <a:lnTo>
                      <a:pt x="451" y="432"/>
                    </a:lnTo>
                    <a:lnTo>
                      <a:pt x="451" y="429"/>
                    </a:lnTo>
                    <a:lnTo>
                      <a:pt x="451" y="429"/>
                    </a:lnTo>
                    <a:lnTo>
                      <a:pt x="451" y="429"/>
                    </a:lnTo>
                    <a:lnTo>
                      <a:pt x="451" y="427"/>
                    </a:lnTo>
                    <a:lnTo>
                      <a:pt x="451" y="425"/>
                    </a:lnTo>
                    <a:lnTo>
                      <a:pt x="449" y="425"/>
                    </a:lnTo>
                    <a:lnTo>
                      <a:pt x="449" y="422"/>
                    </a:lnTo>
                    <a:lnTo>
                      <a:pt x="447" y="422"/>
                    </a:lnTo>
                    <a:lnTo>
                      <a:pt x="447" y="422"/>
                    </a:lnTo>
                    <a:lnTo>
                      <a:pt x="447" y="420"/>
                    </a:lnTo>
                    <a:lnTo>
                      <a:pt x="449" y="420"/>
                    </a:lnTo>
                    <a:lnTo>
                      <a:pt x="449" y="418"/>
                    </a:lnTo>
                    <a:lnTo>
                      <a:pt x="449" y="418"/>
                    </a:lnTo>
                    <a:lnTo>
                      <a:pt x="447" y="418"/>
                    </a:lnTo>
                    <a:lnTo>
                      <a:pt x="447" y="418"/>
                    </a:lnTo>
                    <a:lnTo>
                      <a:pt x="447" y="415"/>
                    </a:lnTo>
                    <a:lnTo>
                      <a:pt x="449" y="415"/>
                    </a:lnTo>
                    <a:lnTo>
                      <a:pt x="449" y="415"/>
                    </a:lnTo>
                    <a:lnTo>
                      <a:pt x="447" y="415"/>
                    </a:lnTo>
                    <a:lnTo>
                      <a:pt x="447" y="415"/>
                    </a:lnTo>
                    <a:lnTo>
                      <a:pt x="447" y="413"/>
                    </a:lnTo>
                    <a:lnTo>
                      <a:pt x="447" y="413"/>
                    </a:lnTo>
                    <a:lnTo>
                      <a:pt x="447" y="413"/>
                    </a:lnTo>
                    <a:lnTo>
                      <a:pt x="447" y="411"/>
                    </a:lnTo>
                    <a:lnTo>
                      <a:pt x="449" y="413"/>
                    </a:lnTo>
                    <a:lnTo>
                      <a:pt x="449" y="411"/>
                    </a:lnTo>
                    <a:lnTo>
                      <a:pt x="449" y="408"/>
                    </a:lnTo>
                    <a:lnTo>
                      <a:pt x="449" y="408"/>
                    </a:lnTo>
                    <a:lnTo>
                      <a:pt x="451" y="406"/>
                    </a:lnTo>
                    <a:lnTo>
                      <a:pt x="449" y="406"/>
                    </a:lnTo>
                    <a:lnTo>
                      <a:pt x="449" y="406"/>
                    </a:lnTo>
                    <a:lnTo>
                      <a:pt x="449" y="406"/>
                    </a:lnTo>
                    <a:lnTo>
                      <a:pt x="451" y="406"/>
                    </a:lnTo>
                    <a:lnTo>
                      <a:pt x="451" y="408"/>
                    </a:lnTo>
                    <a:lnTo>
                      <a:pt x="451" y="408"/>
                    </a:lnTo>
                    <a:lnTo>
                      <a:pt x="451" y="408"/>
                    </a:lnTo>
                    <a:lnTo>
                      <a:pt x="456" y="408"/>
                    </a:lnTo>
                    <a:lnTo>
                      <a:pt x="456" y="408"/>
                    </a:lnTo>
                    <a:lnTo>
                      <a:pt x="456" y="408"/>
                    </a:lnTo>
                    <a:lnTo>
                      <a:pt x="456" y="408"/>
                    </a:lnTo>
                    <a:lnTo>
                      <a:pt x="458" y="408"/>
                    </a:lnTo>
                    <a:lnTo>
                      <a:pt x="458" y="408"/>
                    </a:lnTo>
                    <a:lnTo>
                      <a:pt x="458" y="408"/>
                    </a:lnTo>
                    <a:lnTo>
                      <a:pt x="456" y="406"/>
                    </a:lnTo>
                    <a:lnTo>
                      <a:pt x="458" y="406"/>
                    </a:lnTo>
                    <a:lnTo>
                      <a:pt x="458" y="406"/>
                    </a:lnTo>
                    <a:lnTo>
                      <a:pt x="458" y="406"/>
                    </a:lnTo>
                    <a:lnTo>
                      <a:pt x="458" y="403"/>
                    </a:lnTo>
                    <a:lnTo>
                      <a:pt x="461" y="406"/>
                    </a:lnTo>
                    <a:lnTo>
                      <a:pt x="461" y="403"/>
                    </a:lnTo>
                    <a:lnTo>
                      <a:pt x="461" y="401"/>
                    </a:lnTo>
                    <a:lnTo>
                      <a:pt x="461" y="401"/>
                    </a:lnTo>
                    <a:lnTo>
                      <a:pt x="461" y="401"/>
                    </a:lnTo>
                    <a:lnTo>
                      <a:pt x="461" y="399"/>
                    </a:lnTo>
                    <a:lnTo>
                      <a:pt x="458" y="399"/>
                    </a:lnTo>
                    <a:lnTo>
                      <a:pt x="458" y="399"/>
                    </a:lnTo>
                    <a:lnTo>
                      <a:pt x="461" y="399"/>
                    </a:lnTo>
                    <a:lnTo>
                      <a:pt x="461" y="396"/>
                    </a:lnTo>
                    <a:lnTo>
                      <a:pt x="461" y="396"/>
                    </a:lnTo>
                    <a:lnTo>
                      <a:pt x="463" y="396"/>
                    </a:lnTo>
                    <a:lnTo>
                      <a:pt x="463" y="396"/>
                    </a:lnTo>
                    <a:lnTo>
                      <a:pt x="463" y="394"/>
                    </a:lnTo>
                    <a:lnTo>
                      <a:pt x="465" y="394"/>
                    </a:lnTo>
                    <a:lnTo>
                      <a:pt x="465" y="396"/>
                    </a:lnTo>
                    <a:lnTo>
                      <a:pt x="465" y="394"/>
                    </a:lnTo>
                    <a:lnTo>
                      <a:pt x="465" y="394"/>
                    </a:lnTo>
                    <a:lnTo>
                      <a:pt x="465" y="394"/>
                    </a:lnTo>
                    <a:lnTo>
                      <a:pt x="465" y="392"/>
                    </a:lnTo>
                    <a:lnTo>
                      <a:pt x="465" y="392"/>
                    </a:lnTo>
                    <a:lnTo>
                      <a:pt x="468" y="392"/>
                    </a:lnTo>
                    <a:lnTo>
                      <a:pt x="468" y="392"/>
                    </a:lnTo>
                    <a:lnTo>
                      <a:pt x="468" y="389"/>
                    </a:lnTo>
                    <a:lnTo>
                      <a:pt x="468" y="389"/>
                    </a:lnTo>
                    <a:lnTo>
                      <a:pt x="470" y="389"/>
                    </a:lnTo>
                    <a:lnTo>
                      <a:pt x="470" y="389"/>
                    </a:lnTo>
                    <a:lnTo>
                      <a:pt x="470" y="389"/>
                    </a:lnTo>
                    <a:lnTo>
                      <a:pt x="470" y="389"/>
                    </a:lnTo>
                    <a:lnTo>
                      <a:pt x="470" y="387"/>
                    </a:lnTo>
                    <a:lnTo>
                      <a:pt x="468" y="387"/>
                    </a:lnTo>
                    <a:lnTo>
                      <a:pt x="470" y="387"/>
                    </a:lnTo>
                    <a:lnTo>
                      <a:pt x="470" y="387"/>
                    </a:lnTo>
                    <a:lnTo>
                      <a:pt x="470" y="387"/>
                    </a:lnTo>
                    <a:lnTo>
                      <a:pt x="470" y="385"/>
                    </a:lnTo>
                    <a:lnTo>
                      <a:pt x="470" y="385"/>
                    </a:lnTo>
                    <a:lnTo>
                      <a:pt x="470" y="385"/>
                    </a:lnTo>
                    <a:lnTo>
                      <a:pt x="473" y="385"/>
                    </a:lnTo>
                    <a:lnTo>
                      <a:pt x="473" y="382"/>
                    </a:lnTo>
                    <a:lnTo>
                      <a:pt x="473" y="382"/>
                    </a:lnTo>
                    <a:lnTo>
                      <a:pt x="473" y="382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5" y="382"/>
                    </a:lnTo>
                    <a:lnTo>
                      <a:pt x="477" y="382"/>
                    </a:lnTo>
                    <a:lnTo>
                      <a:pt x="475" y="382"/>
                    </a:lnTo>
                    <a:lnTo>
                      <a:pt x="477" y="380"/>
                    </a:lnTo>
                    <a:lnTo>
                      <a:pt x="480" y="382"/>
                    </a:lnTo>
                    <a:lnTo>
                      <a:pt x="477" y="380"/>
                    </a:lnTo>
                    <a:lnTo>
                      <a:pt x="480" y="380"/>
                    </a:lnTo>
                    <a:lnTo>
                      <a:pt x="480" y="378"/>
                    </a:lnTo>
                    <a:lnTo>
                      <a:pt x="480" y="378"/>
                    </a:lnTo>
                    <a:lnTo>
                      <a:pt x="480" y="378"/>
                    </a:lnTo>
                    <a:lnTo>
                      <a:pt x="480" y="375"/>
                    </a:lnTo>
                    <a:lnTo>
                      <a:pt x="480" y="378"/>
                    </a:lnTo>
                    <a:lnTo>
                      <a:pt x="480" y="375"/>
                    </a:lnTo>
                    <a:lnTo>
                      <a:pt x="482" y="375"/>
                    </a:lnTo>
                    <a:lnTo>
                      <a:pt x="482" y="375"/>
                    </a:lnTo>
                    <a:lnTo>
                      <a:pt x="482" y="375"/>
                    </a:lnTo>
                    <a:lnTo>
                      <a:pt x="484" y="375"/>
                    </a:lnTo>
                    <a:lnTo>
                      <a:pt x="484" y="373"/>
                    </a:lnTo>
                    <a:lnTo>
                      <a:pt x="484" y="373"/>
                    </a:lnTo>
                    <a:lnTo>
                      <a:pt x="484" y="373"/>
                    </a:lnTo>
                    <a:lnTo>
                      <a:pt x="484" y="373"/>
                    </a:lnTo>
                    <a:lnTo>
                      <a:pt x="487" y="373"/>
                    </a:lnTo>
                    <a:lnTo>
                      <a:pt x="484" y="373"/>
                    </a:lnTo>
                    <a:lnTo>
                      <a:pt x="484" y="373"/>
                    </a:lnTo>
                    <a:lnTo>
                      <a:pt x="487" y="373"/>
                    </a:lnTo>
                    <a:lnTo>
                      <a:pt x="487" y="373"/>
                    </a:lnTo>
                    <a:lnTo>
                      <a:pt x="489" y="373"/>
                    </a:lnTo>
                    <a:lnTo>
                      <a:pt x="487" y="373"/>
                    </a:lnTo>
                    <a:lnTo>
                      <a:pt x="489" y="370"/>
                    </a:lnTo>
                    <a:lnTo>
                      <a:pt x="489" y="373"/>
                    </a:lnTo>
                    <a:lnTo>
                      <a:pt x="491" y="370"/>
                    </a:lnTo>
                    <a:lnTo>
                      <a:pt x="489" y="370"/>
                    </a:lnTo>
                    <a:lnTo>
                      <a:pt x="489" y="370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70"/>
                    </a:lnTo>
                    <a:lnTo>
                      <a:pt x="491" y="366"/>
                    </a:lnTo>
                    <a:lnTo>
                      <a:pt x="491" y="366"/>
                    </a:lnTo>
                    <a:lnTo>
                      <a:pt x="491" y="368"/>
                    </a:lnTo>
                    <a:lnTo>
                      <a:pt x="494" y="368"/>
                    </a:lnTo>
                    <a:lnTo>
                      <a:pt x="494" y="368"/>
                    </a:lnTo>
                    <a:lnTo>
                      <a:pt x="494" y="368"/>
                    </a:lnTo>
                    <a:lnTo>
                      <a:pt x="494" y="366"/>
                    </a:lnTo>
                    <a:lnTo>
                      <a:pt x="494" y="366"/>
                    </a:lnTo>
                    <a:lnTo>
                      <a:pt x="494" y="366"/>
                    </a:lnTo>
                    <a:lnTo>
                      <a:pt x="494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3"/>
                    </a:lnTo>
                    <a:lnTo>
                      <a:pt x="499" y="363"/>
                    </a:lnTo>
                    <a:lnTo>
                      <a:pt x="499" y="363"/>
                    </a:lnTo>
                    <a:lnTo>
                      <a:pt x="496" y="363"/>
                    </a:lnTo>
                    <a:lnTo>
                      <a:pt x="496" y="363"/>
                    </a:lnTo>
                    <a:lnTo>
                      <a:pt x="496" y="363"/>
                    </a:lnTo>
                    <a:lnTo>
                      <a:pt x="496" y="361"/>
                    </a:lnTo>
                    <a:lnTo>
                      <a:pt x="496" y="361"/>
                    </a:lnTo>
                    <a:lnTo>
                      <a:pt x="499" y="361"/>
                    </a:lnTo>
                    <a:lnTo>
                      <a:pt x="499" y="361"/>
                    </a:lnTo>
                    <a:lnTo>
                      <a:pt x="499" y="359"/>
                    </a:lnTo>
                    <a:lnTo>
                      <a:pt x="496" y="359"/>
                    </a:lnTo>
                    <a:lnTo>
                      <a:pt x="496" y="356"/>
                    </a:lnTo>
                    <a:lnTo>
                      <a:pt x="496" y="359"/>
                    </a:lnTo>
                    <a:lnTo>
                      <a:pt x="494" y="356"/>
                    </a:lnTo>
                    <a:lnTo>
                      <a:pt x="496" y="356"/>
                    </a:lnTo>
                    <a:lnTo>
                      <a:pt x="494" y="356"/>
                    </a:lnTo>
                    <a:lnTo>
                      <a:pt x="494" y="354"/>
                    </a:lnTo>
                    <a:lnTo>
                      <a:pt x="494" y="354"/>
                    </a:lnTo>
                    <a:lnTo>
                      <a:pt x="494" y="354"/>
                    </a:lnTo>
                    <a:lnTo>
                      <a:pt x="494" y="354"/>
                    </a:lnTo>
                    <a:lnTo>
                      <a:pt x="491" y="354"/>
                    </a:lnTo>
                    <a:lnTo>
                      <a:pt x="494" y="352"/>
                    </a:lnTo>
                    <a:lnTo>
                      <a:pt x="494" y="352"/>
                    </a:lnTo>
                    <a:lnTo>
                      <a:pt x="494" y="352"/>
                    </a:lnTo>
                    <a:lnTo>
                      <a:pt x="491" y="349"/>
                    </a:lnTo>
                    <a:lnTo>
                      <a:pt x="491" y="349"/>
                    </a:lnTo>
                    <a:lnTo>
                      <a:pt x="489" y="352"/>
                    </a:lnTo>
                    <a:lnTo>
                      <a:pt x="491" y="349"/>
                    </a:lnTo>
                    <a:lnTo>
                      <a:pt x="489" y="349"/>
                    </a:lnTo>
                    <a:lnTo>
                      <a:pt x="489" y="347"/>
                    </a:lnTo>
                    <a:lnTo>
                      <a:pt x="489" y="347"/>
                    </a:lnTo>
                    <a:lnTo>
                      <a:pt x="491" y="347"/>
                    </a:lnTo>
                    <a:lnTo>
                      <a:pt x="489" y="347"/>
                    </a:lnTo>
                    <a:lnTo>
                      <a:pt x="489" y="347"/>
                    </a:lnTo>
                    <a:lnTo>
                      <a:pt x="489" y="347"/>
                    </a:lnTo>
                    <a:lnTo>
                      <a:pt x="487" y="344"/>
                    </a:lnTo>
                    <a:lnTo>
                      <a:pt x="489" y="344"/>
                    </a:lnTo>
                    <a:lnTo>
                      <a:pt x="489" y="344"/>
                    </a:lnTo>
                    <a:lnTo>
                      <a:pt x="489" y="342"/>
                    </a:lnTo>
                    <a:lnTo>
                      <a:pt x="491" y="340"/>
                    </a:lnTo>
                    <a:lnTo>
                      <a:pt x="487" y="340"/>
                    </a:lnTo>
                    <a:lnTo>
                      <a:pt x="487" y="340"/>
                    </a:lnTo>
                    <a:lnTo>
                      <a:pt x="489" y="337"/>
                    </a:lnTo>
                    <a:lnTo>
                      <a:pt x="487" y="337"/>
                    </a:lnTo>
                    <a:lnTo>
                      <a:pt x="487" y="337"/>
                    </a:lnTo>
                    <a:lnTo>
                      <a:pt x="487" y="335"/>
                    </a:lnTo>
                    <a:lnTo>
                      <a:pt x="487" y="335"/>
                    </a:lnTo>
                    <a:lnTo>
                      <a:pt x="487" y="335"/>
                    </a:lnTo>
                    <a:lnTo>
                      <a:pt x="487" y="333"/>
                    </a:lnTo>
                    <a:lnTo>
                      <a:pt x="484" y="333"/>
                    </a:lnTo>
                    <a:lnTo>
                      <a:pt x="484" y="333"/>
                    </a:lnTo>
                    <a:lnTo>
                      <a:pt x="487" y="333"/>
                    </a:lnTo>
                    <a:lnTo>
                      <a:pt x="484" y="333"/>
                    </a:lnTo>
                    <a:lnTo>
                      <a:pt x="484" y="330"/>
                    </a:lnTo>
                    <a:lnTo>
                      <a:pt x="484" y="328"/>
                    </a:lnTo>
                    <a:lnTo>
                      <a:pt x="487" y="328"/>
                    </a:lnTo>
                    <a:lnTo>
                      <a:pt x="484" y="328"/>
                    </a:lnTo>
                    <a:lnTo>
                      <a:pt x="487" y="328"/>
                    </a:lnTo>
                    <a:lnTo>
                      <a:pt x="487" y="326"/>
                    </a:lnTo>
                    <a:lnTo>
                      <a:pt x="487" y="326"/>
                    </a:lnTo>
                    <a:lnTo>
                      <a:pt x="484" y="323"/>
                    </a:lnTo>
                    <a:lnTo>
                      <a:pt x="484" y="323"/>
                    </a:lnTo>
                    <a:lnTo>
                      <a:pt x="482" y="323"/>
                    </a:lnTo>
                    <a:lnTo>
                      <a:pt x="484" y="323"/>
                    </a:lnTo>
                    <a:lnTo>
                      <a:pt x="484" y="321"/>
                    </a:lnTo>
                    <a:lnTo>
                      <a:pt x="482" y="321"/>
                    </a:lnTo>
                    <a:lnTo>
                      <a:pt x="482" y="321"/>
                    </a:lnTo>
                    <a:lnTo>
                      <a:pt x="484" y="318"/>
                    </a:lnTo>
                    <a:lnTo>
                      <a:pt x="482" y="318"/>
                    </a:lnTo>
                    <a:lnTo>
                      <a:pt x="482" y="318"/>
                    </a:lnTo>
                    <a:lnTo>
                      <a:pt x="482" y="318"/>
                    </a:lnTo>
                    <a:lnTo>
                      <a:pt x="482" y="316"/>
                    </a:lnTo>
                    <a:lnTo>
                      <a:pt x="480" y="318"/>
                    </a:lnTo>
                    <a:lnTo>
                      <a:pt x="480" y="318"/>
                    </a:lnTo>
                    <a:lnTo>
                      <a:pt x="480" y="318"/>
                    </a:lnTo>
                    <a:lnTo>
                      <a:pt x="480" y="316"/>
                    </a:lnTo>
                    <a:lnTo>
                      <a:pt x="477" y="316"/>
                    </a:lnTo>
                    <a:lnTo>
                      <a:pt x="477" y="316"/>
                    </a:lnTo>
                    <a:lnTo>
                      <a:pt x="477" y="314"/>
                    </a:lnTo>
                    <a:lnTo>
                      <a:pt x="477" y="316"/>
                    </a:lnTo>
                    <a:lnTo>
                      <a:pt x="477" y="314"/>
                    </a:lnTo>
                    <a:lnTo>
                      <a:pt x="477" y="314"/>
                    </a:lnTo>
                    <a:lnTo>
                      <a:pt x="475" y="314"/>
                    </a:lnTo>
                    <a:lnTo>
                      <a:pt x="475" y="314"/>
                    </a:lnTo>
                    <a:lnTo>
                      <a:pt x="475" y="311"/>
                    </a:lnTo>
                    <a:lnTo>
                      <a:pt x="475" y="314"/>
                    </a:lnTo>
                    <a:lnTo>
                      <a:pt x="475" y="311"/>
                    </a:lnTo>
                    <a:lnTo>
                      <a:pt x="475" y="309"/>
                    </a:lnTo>
                    <a:lnTo>
                      <a:pt x="475" y="311"/>
                    </a:lnTo>
                    <a:lnTo>
                      <a:pt x="473" y="314"/>
                    </a:lnTo>
                    <a:lnTo>
                      <a:pt x="470" y="311"/>
                    </a:lnTo>
                    <a:lnTo>
                      <a:pt x="473" y="311"/>
                    </a:lnTo>
                    <a:lnTo>
                      <a:pt x="470" y="309"/>
                    </a:lnTo>
                    <a:lnTo>
                      <a:pt x="473" y="309"/>
                    </a:lnTo>
                    <a:lnTo>
                      <a:pt x="470" y="309"/>
                    </a:lnTo>
                    <a:lnTo>
                      <a:pt x="470" y="309"/>
                    </a:lnTo>
                    <a:lnTo>
                      <a:pt x="470" y="309"/>
                    </a:lnTo>
                    <a:lnTo>
                      <a:pt x="470" y="309"/>
                    </a:lnTo>
                    <a:lnTo>
                      <a:pt x="468" y="309"/>
                    </a:lnTo>
                    <a:lnTo>
                      <a:pt x="468" y="309"/>
                    </a:lnTo>
                    <a:lnTo>
                      <a:pt x="468" y="309"/>
                    </a:lnTo>
                    <a:lnTo>
                      <a:pt x="468" y="309"/>
                    </a:lnTo>
                    <a:lnTo>
                      <a:pt x="468" y="307"/>
                    </a:lnTo>
                    <a:lnTo>
                      <a:pt x="465" y="307"/>
                    </a:lnTo>
                    <a:lnTo>
                      <a:pt x="465" y="309"/>
                    </a:lnTo>
                    <a:lnTo>
                      <a:pt x="465" y="307"/>
                    </a:lnTo>
                    <a:lnTo>
                      <a:pt x="465" y="307"/>
                    </a:lnTo>
                    <a:lnTo>
                      <a:pt x="463" y="307"/>
                    </a:lnTo>
                    <a:lnTo>
                      <a:pt x="461" y="307"/>
                    </a:lnTo>
                    <a:lnTo>
                      <a:pt x="463" y="307"/>
                    </a:lnTo>
                    <a:lnTo>
                      <a:pt x="461" y="307"/>
                    </a:lnTo>
                    <a:lnTo>
                      <a:pt x="463" y="304"/>
                    </a:lnTo>
                    <a:lnTo>
                      <a:pt x="461" y="304"/>
                    </a:lnTo>
                    <a:lnTo>
                      <a:pt x="463" y="304"/>
                    </a:lnTo>
                    <a:lnTo>
                      <a:pt x="461" y="302"/>
                    </a:lnTo>
                    <a:lnTo>
                      <a:pt x="461" y="304"/>
                    </a:lnTo>
                    <a:lnTo>
                      <a:pt x="461" y="302"/>
                    </a:lnTo>
                    <a:lnTo>
                      <a:pt x="461" y="304"/>
                    </a:lnTo>
                    <a:lnTo>
                      <a:pt x="458" y="302"/>
                    </a:lnTo>
                    <a:lnTo>
                      <a:pt x="461" y="302"/>
                    </a:lnTo>
                    <a:lnTo>
                      <a:pt x="458" y="302"/>
                    </a:lnTo>
                    <a:lnTo>
                      <a:pt x="458" y="300"/>
                    </a:lnTo>
                    <a:lnTo>
                      <a:pt x="458" y="300"/>
                    </a:lnTo>
                    <a:lnTo>
                      <a:pt x="456" y="297"/>
                    </a:lnTo>
                    <a:lnTo>
                      <a:pt x="456" y="297"/>
                    </a:lnTo>
                    <a:lnTo>
                      <a:pt x="456" y="295"/>
                    </a:lnTo>
                    <a:lnTo>
                      <a:pt x="456" y="292"/>
                    </a:lnTo>
                    <a:lnTo>
                      <a:pt x="458" y="292"/>
                    </a:lnTo>
                    <a:lnTo>
                      <a:pt x="458" y="290"/>
                    </a:lnTo>
                    <a:lnTo>
                      <a:pt x="461" y="290"/>
                    </a:lnTo>
                    <a:lnTo>
                      <a:pt x="461" y="288"/>
                    </a:lnTo>
                    <a:lnTo>
                      <a:pt x="461" y="283"/>
                    </a:lnTo>
                    <a:lnTo>
                      <a:pt x="461" y="283"/>
                    </a:lnTo>
                    <a:lnTo>
                      <a:pt x="461" y="281"/>
                    </a:lnTo>
                    <a:lnTo>
                      <a:pt x="463" y="281"/>
                    </a:lnTo>
                    <a:lnTo>
                      <a:pt x="465" y="276"/>
                    </a:lnTo>
                    <a:lnTo>
                      <a:pt x="468" y="274"/>
                    </a:lnTo>
                    <a:lnTo>
                      <a:pt x="468" y="274"/>
                    </a:lnTo>
                    <a:lnTo>
                      <a:pt x="468" y="271"/>
                    </a:lnTo>
                    <a:lnTo>
                      <a:pt x="470" y="271"/>
                    </a:lnTo>
                    <a:lnTo>
                      <a:pt x="470" y="269"/>
                    </a:lnTo>
                    <a:lnTo>
                      <a:pt x="470" y="269"/>
                    </a:lnTo>
                    <a:lnTo>
                      <a:pt x="470" y="269"/>
                    </a:lnTo>
                    <a:lnTo>
                      <a:pt x="470" y="266"/>
                    </a:lnTo>
                    <a:lnTo>
                      <a:pt x="473" y="264"/>
                    </a:lnTo>
                    <a:lnTo>
                      <a:pt x="473" y="264"/>
                    </a:lnTo>
                    <a:lnTo>
                      <a:pt x="473" y="264"/>
                    </a:lnTo>
                    <a:lnTo>
                      <a:pt x="475" y="262"/>
                    </a:lnTo>
                    <a:lnTo>
                      <a:pt x="473" y="259"/>
                    </a:lnTo>
                    <a:lnTo>
                      <a:pt x="475" y="259"/>
                    </a:lnTo>
                    <a:lnTo>
                      <a:pt x="473" y="259"/>
                    </a:lnTo>
                    <a:lnTo>
                      <a:pt x="473" y="257"/>
                    </a:lnTo>
                    <a:lnTo>
                      <a:pt x="473" y="257"/>
                    </a:lnTo>
                    <a:lnTo>
                      <a:pt x="473" y="255"/>
                    </a:lnTo>
                    <a:lnTo>
                      <a:pt x="470" y="255"/>
                    </a:lnTo>
                    <a:lnTo>
                      <a:pt x="473" y="255"/>
                    </a:lnTo>
                    <a:lnTo>
                      <a:pt x="473" y="255"/>
                    </a:lnTo>
                    <a:lnTo>
                      <a:pt x="470" y="252"/>
                    </a:lnTo>
                    <a:lnTo>
                      <a:pt x="470" y="252"/>
                    </a:lnTo>
                    <a:lnTo>
                      <a:pt x="470" y="252"/>
                    </a:lnTo>
                    <a:lnTo>
                      <a:pt x="470" y="252"/>
                    </a:lnTo>
                    <a:lnTo>
                      <a:pt x="470" y="250"/>
                    </a:lnTo>
                    <a:lnTo>
                      <a:pt x="470" y="250"/>
                    </a:lnTo>
                    <a:lnTo>
                      <a:pt x="470" y="250"/>
                    </a:lnTo>
                    <a:lnTo>
                      <a:pt x="470" y="250"/>
                    </a:lnTo>
                    <a:lnTo>
                      <a:pt x="470" y="248"/>
                    </a:lnTo>
                    <a:lnTo>
                      <a:pt x="470" y="248"/>
                    </a:lnTo>
                    <a:lnTo>
                      <a:pt x="473" y="248"/>
                    </a:lnTo>
                    <a:lnTo>
                      <a:pt x="470" y="245"/>
                    </a:lnTo>
                    <a:lnTo>
                      <a:pt x="473" y="245"/>
                    </a:lnTo>
                    <a:lnTo>
                      <a:pt x="473" y="245"/>
                    </a:lnTo>
                    <a:lnTo>
                      <a:pt x="473" y="243"/>
                    </a:lnTo>
                    <a:lnTo>
                      <a:pt x="473" y="243"/>
                    </a:lnTo>
                    <a:lnTo>
                      <a:pt x="473" y="243"/>
                    </a:lnTo>
                    <a:lnTo>
                      <a:pt x="473" y="243"/>
                    </a:lnTo>
                    <a:lnTo>
                      <a:pt x="475" y="243"/>
                    </a:lnTo>
                    <a:lnTo>
                      <a:pt x="475" y="243"/>
                    </a:lnTo>
                    <a:lnTo>
                      <a:pt x="475" y="243"/>
                    </a:lnTo>
                    <a:lnTo>
                      <a:pt x="475" y="243"/>
                    </a:lnTo>
                    <a:lnTo>
                      <a:pt x="475" y="243"/>
                    </a:lnTo>
                    <a:lnTo>
                      <a:pt x="475" y="241"/>
                    </a:lnTo>
                    <a:lnTo>
                      <a:pt x="475" y="241"/>
                    </a:lnTo>
                    <a:lnTo>
                      <a:pt x="475" y="241"/>
                    </a:lnTo>
                    <a:lnTo>
                      <a:pt x="475" y="238"/>
                    </a:lnTo>
                    <a:lnTo>
                      <a:pt x="475" y="238"/>
                    </a:lnTo>
                    <a:lnTo>
                      <a:pt x="475" y="236"/>
                    </a:lnTo>
                    <a:lnTo>
                      <a:pt x="475" y="236"/>
                    </a:lnTo>
                    <a:lnTo>
                      <a:pt x="475" y="236"/>
                    </a:lnTo>
                    <a:lnTo>
                      <a:pt x="475" y="236"/>
                    </a:lnTo>
                    <a:lnTo>
                      <a:pt x="477" y="236"/>
                    </a:lnTo>
                    <a:lnTo>
                      <a:pt x="477" y="233"/>
                    </a:lnTo>
                    <a:lnTo>
                      <a:pt x="477" y="233"/>
                    </a:lnTo>
                    <a:lnTo>
                      <a:pt x="477" y="233"/>
                    </a:lnTo>
                    <a:lnTo>
                      <a:pt x="477" y="233"/>
                    </a:lnTo>
                    <a:lnTo>
                      <a:pt x="477" y="233"/>
                    </a:lnTo>
                    <a:lnTo>
                      <a:pt x="477" y="233"/>
                    </a:lnTo>
                    <a:lnTo>
                      <a:pt x="480" y="233"/>
                    </a:lnTo>
                    <a:lnTo>
                      <a:pt x="480" y="233"/>
                    </a:lnTo>
                    <a:lnTo>
                      <a:pt x="480" y="233"/>
                    </a:lnTo>
                    <a:lnTo>
                      <a:pt x="482" y="233"/>
                    </a:lnTo>
                    <a:lnTo>
                      <a:pt x="482" y="233"/>
                    </a:lnTo>
                    <a:lnTo>
                      <a:pt x="484" y="233"/>
                    </a:lnTo>
                    <a:lnTo>
                      <a:pt x="484" y="233"/>
                    </a:lnTo>
                    <a:lnTo>
                      <a:pt x="487" y="233"/>
                    </a:lnTo>
                    <a:lnTo>
                      <a:pt x="487" y="233"/>
                    </a:lnTo>
                    <a:lnTo>
                      <a:pt x="487" y="233"/>
                    </a:lnTo>
                    <a:lnTo>
                      <a:pt x="487" y="231"/>
                    </a:lnTo>
                    <a:lnTo>
                      <a:pt x="489" y="231"/>
                    </a:lnTo>
                    <a:lnTo>
                      <a:pt x="489" y="231"/>
                    </a:lnTo>
                    <a:lnTo>
                      <a:pt x="489" y="231"/>
                    </a:lnTo>
                    <a:lnTo>
                      <a:pt x="489" y="229"/>
                    </a:lnTo>
                    <a:lnTo>
                      <a:pt x="491" y="229"/>
                    </a:lnTo>
                    <a:lnTo>
                      <a:pt x="491" y="229"/>
                    </a:lnTo>
                    <a:lnTo>
                      <a:pt x="491" y="229"/>
                    </a:lnTo>
                    <a:lnTo>
                      <a:pt x="491" y="226"/>
                    </a:lnTo>
                    <a:lnTo>
                      <a:pt x="491" y="229"/>
                    </a:lnTo>
                    <a:lnTo>
                      <a:pt x="494" y="229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6"/>
                    </a:lnTo>
                    <a:lnTo>
                      <a:pt x="494" y="224"/>
                    </a:lnTo>
                    <a:lnTo>
                      <a:pt x="494" y="224"/>
                    </a:lnTo>
                    <a:lnTo>
                      <a:pt x="494" y="224"/>
                    </a:lnTo>
                    <a:lnTo>
                      <a:pt x="496" y="224"/>
                    </a:lnTo>
                    <a:lnTo>
                      <a:pt x="496" y="224"/>
                    </a:lnTo>
                    <a:lnTo>
                      <a:pt x="496" y="224"/>
                    </a:lnTo>
                    <a:lnTo>
                      <a:pt x="496" y="222"/>
                    </a:lnTo>
                    <a:lnTo>
                      <a:pt x="496" y="222"/>
                    </a:lnTo>
                    <a:lnTo>
                      <a:pt x="496" y="222"/>
                    </a:lnTo>
                    <a:lnTo>
                      <a:pt x="499" y="224"/>
                    </a:lnTo>
                    <a:lnTo>
                      <a:pt x="496" y="224"/>
                    </a:lnTo>
                    <a:lnTo>
                      <a:pt x="499" y="224"/>
                    </a:lnTo>
                    <a:lnTo>
                      <a:pt x="501" y="226"/>
                    </a:lnTo>
                    <a:lnTo>
                      <a:pt x="501" y="226"/>
                    </a:lnTo>
                    <a:lnTo>
                      <a:pt x="503" y="226"/>
                    </a:lnTo>
                    <a:lnTo>
                      <a:pt x="503" y="226"/>
                    </a:lnTo>
                    <a:lnTo>
                      <a:pt x="503" y="226"/>
                    </a:lnTo>
                    <a:lnTo>
                      <a:pt x="508" y="224"/>
                    </a:lnTo>
                    <a:lnTo>
                      <a:pt x="520" y="222"/>
                    </a:lnTo>
                    <a:lnTo>
                      <a:pt x="536" y="217"/>
                    </a:lnTo>
                    <a:lnTo>
                      <a:pt x="539" y="217"/>
                    </a:lnTo>
                    <a:lnTo>
                      <a:pt x="539" y="215"/>
                    </a:lnTo>
                    <a:lnTo>
                      <a:pt x="539" y="215"/>
                    </a:lnTo>
                    <a:lnTo>
                      <a:pt x="539" y="212"/>
                    </a:lnTo>
                    <a:lnTo>
                      <a:pt x="536" y="207"/>
                    </a:lnTo>
                    <a:lnTo>
                      <a:pt x="539" y="207"/>
                    </a:lnTo>
                    <a:lnTo>
                      <a:pt x="536" y="207"/>
                    </a:lnTo>
                    <a:lnTo>
                      <a:pt x="539" y="203"/>
                    </a:lnTo>
                    <a:lnTo>
                      <a:pt x="536" y="198"/>
                    </a:lnTo>
                    <a:lnTo>
                      <a:pt x="536" y="196"/>
                    </a:lnTo>
                    <a:lnTo>
                      <a:pt x="534" y="193"/>
                    </a:lnTo>
                    <a:lnTo>
                      <a:pt x="532" y="191"/>
                    </a:lnTo>
                    <a:lnTo>
                      <a:pt x="534" y="186"/>
                    </a:lnTo>
                    <a:lnTo>
                      <a:pt x="532" y="184"/>
                    </a:lnTo>
                    <a:lnTo>
                      <a:pt x="534" y="181"/>
                    </a:lnTo>
                    <a:lnTo>
                      <a:pt x="534" y="181"/>
                    </a:lnTo>
                    <a:lnTo>
                      <a:pt x="529" y="181"/>
                    </a:lnTo>
                    <a:lnTo>
                      <a:pt x="529" y="179"/>
                    </a:lnTo>
                    <a:lnTo>
                      <a:pt x="529" y="179"/>
                    </a:lnTo>
                    <a:lnTo>
                      <a:pt x="527" y="179"/>
                    </a:lnTo>
                    <a:lnTo>
                      <a:pt x="524" y="177"/>
                    </a:lnTo>
                    <a:lnTo>
                      <a:pt x="522" y="174"/>
                    </a:lnTo>
                    <a:lnTo>
                      <a:pt x="522" y="172"/>
                    </a:lnTo>
                    <a:lnTo>
                      <a:pt x="522" y="170"/>
                    </a:lnTo>
                    <a:lnTo>
                      <a:pt x="522" y="163"/>
                    </a:lnTo>
                    <a:lnTo>
                      <a:pt x="522" y="158"/>
                    </a:lnTo>
                    <a:lnTo>
                      <a:pt x="524" y="155"/>
                    </a:lnTo>
                    <a:lnTo>
                      <a:pt x="527" y="153"/>
                    </a:lnTo>
                    <a:lnTo>
                      <a:pt x="529" y="153"/>
                    </a:lnTo>
                    <a:lnTo>
                      <a:pt x="532" y="151"/>
                    </a:lnTo>
                    <a:lnTo>
                      <a:pt x="534" y="151"/>
                    </a:lnTo>
                    <a:lnTo>
                      <a:pt x="534" y="148"/>
                    </a:lnTo>
                    <a:lnTo>
                      <a:pt x="532" y="148"/>
                    </a:lnTo>
                    <a:lnTo>
                      <a:pt x="532" y="146"/>
                    </a:lnTo>
                    <a:lnTo>
                      <a:pt x="534" y="146"/>
                    </a:lnTo>
                    <a:lnTo>
                      <a:pt x="534" y="144"/>
                    </a:lnTo>
                    <a:lnTo>
                      <a:pt x="532" y="139"/>
                    </a:lnTo>
                    <a:lnTo>
                      <a:pt x="529" y="139"/>
                    </a:lnTo>
                    <a:lnTo>
                      <a:pt x="529" y="132"/>
                    </a:lnTo>
                    <a:lnTo>
                      <a:pt x="527" y="132"/>
                    </a:lnTo>
                    <a:lnTo>
                      <a:pt x="527" y="132"/>
                    </a:lnTo>
                    <a:lnTo>
                      <a:pt x="524" y="132"/>
                    </a:lnTo>
                    <a:lnTo>
                      <a:pt x="524" y="134"/>
                    </a:lnTo>
                    <a:lnTo>
                      <a:pt x="522" y="132"/>
                    </a:lnTo>
                    <a:lnTo>
                      <a:pt x="522" y="129"/>
                    </a:lnTo>
                    <a:lnTo>
                      <a:pt x="522" y="127"/>
                    </a:lnTo>
                    <a:lnTo>
                      <a:pt x="524" y="125"/>
                    </a:lnTo>
                    <a:lnTo>
                      <a:pt x="524" y="122"/>
                    </a:lnTo>
                    <a:lnTo>
                      <a:pt x="527" y="118"/>
                    </a:lnTo>
                    <a:lnTo>
                      <a:pt x="529" y="115"/>
                    </a:lnTo>
                    <a:lnTo>
                      <a:pt x="529" y="115"/>
                    </a:lnTo>
                    <a:lnTo>
                      <a:pt x="527" y="115"/>
                    </a:lnTo>
                    <a:lnTo>
                      <a:pt x="527" y="113"/>
                    </a:lnTo>
                    <a:lnTo>
                      <a:pt x="524" y="113"/>
                    </a:lnTo>
                    <a:lnTo>
                      <a:pt x="524" y="111"/>
                    </a:lnTo>
                    <a:lnTo>
                      <a:pt x="524" y="108"/>
                    </a:lnTo>
                    <a:lnTo>
                      <a:pt x="524" y="108"/>
                    </a:lnTo>
                    <a:lnTo>
                      <a:pt x="532" y="104"/>
                    </a:lnTo>
                    <a:lnTo>
                      <a:pt x="532" y="101"/>
                    </a:lnTo>
                    <a:lnTo>
                      <a:pt x="536" y="104"/>
                    </a:lnTo>
                    <a:lnTo>
                      <a:pt x="541" y="104"/>
                    </a:lnTo>
                    <a:lnTo>
                      <a:pt x="546" y="106"/>
                    </a:lnTo>
                    <a:lnTo>
                      <a:pt x="548" y="106"/>
                    </a:lnTo>
                    <a:lnTo>
                      <a:pt x="553" y="108"/>
                    </a:lnTo>
                    <a:lnTo>
                      <a:pt x="555" y="108"/>
                    </a:lnTo>
                    <a:lnTo>
                      <a:pt x="558" y="111"/>
                    </a:lnTo>
                    <a:lnTo>
                      <a:pt x="560" y="113"/>
                    </a:lnTo>
                    <a:lnTo>
                      <a:pt x="562" y="113"/>
                    </a:lnTo>
                    <a:lnTo>
                      <a:pt x="565" y="113"/>
                    </a:lnTo>
                    <a:lnTo>
                      <a:pt x="565" y="113"/>
                    </a:lnTo>
                    <a:lnTo>
                      <a:pt x="567" y="111"/>
                    </a:lnTo>
                    <a:lnTo>
                      <a:pt x="569" y="113"/>
                    </a:lnTo>
                    <a:lnTo>
                      <a:pt x="569" y="111"/>
                    </a:lnTo>
                    <a:lnTo>
                      <a:pt x="572" y="108"/>
                    </a:lnTo>
                    <a:lnTo>
                      <a:pt x="572" y="108"/>
                    </a:lnTo>
                    <a:lnTo>
                      <a:pt x="574" y="108"/>
                    </a:lnTo>
                    <a:lnTo>
                      <a:pt x="574" y="108"/>
                    </a:lnTo>
                    <a:lnTo>
                      <a:pt x="576" y="108"/>
                    </a:lnTo>
                    <a:lnTo>
                      <a:pt x="576" y="108"/>
                    </a:lnTo>
                    <a:lnTo>
                      <a:pt x="576" y="104"/>
                    </a:lnTo>
                    <a:lnTo>
                      <a:pt x="576" y="104"/>
                    </a:lnTo>
                    <a:lnTo>
                      <a:pt x="576" y="104"/>
                    </a:lnTo>
                    <a:lnTo>
                      <a:pt x="574" y="101"/>
                    </a:lnTo>
                    <a:lnTo>
                      <a:pt x="574" y="99"/>
                    </a:lnTo>
                    <a:lnTo>
                      <a:pt x="576" y="99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6"/>
                    </a:lnTo>
                    <a:lnTo>
                      <a:pt x="574" y="94"/>
                    </a:lnTo>
                    <a:lnTo>
                      <a:pt x="574" y="94"/>
                    </a:lnTo>
                    <a:lnTo>
                      <a:pt x="572" y="92"/>
                    </a:lnTo>
                    <a:lnTo>
                      <a:pt x="574" y="87"/>
                    </a:lnTo>
                    <a:lnTo>
                      <a:pt x="574" y="85"/>
                    </a:lnTo>
                    <a:lnTo>
                      <a:pt x="576" y="80"/>
                    </a:lnTo>
                    <a:lnTo>
                      <a:pt x="574" y="78"/>
                    </a:lnTo>
                    <a:lnTo>
                      <a:pt x="574" y="78"/>
                    </a:lnTo>
                    <a:lnTo>
                      <a:pt x="569" y="78"/>
                    </a:lnTo>
                    <a:lnTo>
                      <a:pt x="569" y="78"/>
                    </a:lnTo>
                    <a:lnTo>
                      <a:pt x="569" y="75"/>
                    </a:lnTo>
                    <a:lnTo>
                      <a:pt x="569" y="75"/>
                    </a:lnTo>
                    <a:lnTo>
                      <a:pt x="569" y="73"/>
                    </a:lnTo>
                    <a:lnTo>
                      <a:pt x="572" y="70"/>
                    </a:lnTo>
                    <a:lnTo>
                      <a:pt x="572" y="68"/>
                    </a:lnTo>
                    <a:lnTo>
                      <a:pt x="574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3"/>
                    </a:lnTo>
                    <a:lnTo>
                      <a:pt x="576" y="61"/>
                    </a:lnTo>
                    <a:lnTo>
                      <a:pt x="579" y="63"/>
                    </a:lnTo>
                    <a:lnTo>
                      <a:pt x="581" y="61"/>
                    </a:lnTo>
                    <a:lnTo>
                      <a:pt x="581" y="63"/>
                    </a:lnTo>
                    <a:lnTo>
                      <a:pt x="584" y="66"/>
                    </a:lnTo>
                    <a:lnTo>
                      <a:pt x="586" y="66"/>
                    </a:lnTo>
                    <a:lnTo>
                      <a:pt x="586" y="68"/>
                    </a:lnTo>
                    <a:lnTo>
                      <a:pt x="591" y="70"/>
                    </a:lnTo>
                    <a:lnTo>
                      <a:pt x="593" y="73"/>
                    </a:lnTo>
                    <a:lnTo>
                      <a:pt x="595" y="73"/>
                    </a:lnTo>
                    <a:lnTo>
                      <a:pt x="595" y="75"/>
                    </a:lnTo>
                    <a:lnTo>
                      <a:pt x="595" y="75"/>
                    </a:lnTo>
                    <a:lnTo>
                      <a:pt x="598" y="75"/>
                    </a:lnTo>
                    <a:lnTo>
                      <a:pt x="598" y="78"/>
                    </a:lnTo>
                    <a:lnTo>
                      <a:pt x="600" y="78"/>
                    </a:lnTo>
                    <a:lnTo>
                      <a:pt x="600" y="80"/>
                    </a:lnTo>
                    <a:lnTo>
                      <a:pt x="600" y="80"/>
                    </a:lnTo>
                    <a:lnTo>
                      <a:pt x="602" y="82"/>
                    </a:lnTo>
                    <a:lnTo>
                      <a:pt x="602" y="82"/>
                    </a:lnTo>
                    <a:lnTo>
                      <a:pt x="602" y="85"/>
                    </a:lnTo>
                    <a:lnTo>
                      <a:pt x="602" y="85"/>
                    </a:lnTo>
                    <a:lnTo>
                      <a:pt x="602" y="87"/>
                    </a:lnTo>
                    <a:lnTo>
                      <a:pt x="600" y="87"/>
                    </a:lnTo>
                    <a:lnTo>
                      <a:pt x="602" y="87"/>
                    </a:lnTo>
                    <a:lnTo>
                      <a:pt x="602" y="89"/>
                    </a:lnTo>
                    <a:lnTo>
                      <a:pt x="605" y="89"/>
                    </a:lnTo>
                    <a:lnTo>
                      <a:pt x="605" y="89"/>
                    </a:lnTo>
                    <a:lnTo>
                      <a:pt x="605" y="92"/>
                    </a:lnTo>
                    <a:lnTo>
                      <a:pt x="607" y="92"/>
                    </a:lnTo>
                    <a:lnTo>
                      <a:pt x="610" y="89"/>
                    </a:lnTo>
                    <a:lnTo>
                      <a:pt x="612" y="89"/>
                    </a:lnTo>
                    <a:lnTo>
                      <a:pt x="612" y="94"/>
                    </a:lnTo>
                    <a:lnTo>
                      <a:pt x="614" y="94"/>
                    </a:lnTo>
                    <a:lnTo>
                      <a:pt x="614" y="92"/>
                    </a:lnTo>
                    <a:lnTo>
                      <a:pt x="614" y="92"/>
                    </a:lnTo>
                    <a:lnTo>
                      <a:pt x="619" y="94"/>
                    </a:lnTo>
                    <a:lnTo>
                      <a:pt x="621" y="92"/>
                    </a:lnTo>
                    <a:lnTo>
                      <a:pt x="621" y="89"/>
                    </a:lnTo>
                    <a:lnTo>
                      <a:pt x="621" y="89"/>
                    </a:lnTo>
                    <a:lnTo>
                      <a:pt x="621" y="89"/>
                    </a:lnTo>
                    <a:lnTo>
                      <a:pt x="624" y="92"/>
                    </a:lnTo>
                    <a:lnTo>
                      <a:pt x="624" y="92"/>
                    </a:lnTo>
                    <a:lnTo>
                      <a:pt x="624" y="89"/>
                    </a:lnTo>
                    <a:lnTo>
                      <a:pt x="626" y="89"/>
                    </a:lnTo>
                    <a:lnTo>
                      <a:pt x="626" y="92"/>
                    </a:lnTo>
                    <a:lnTo>
                      <a:pt x="628" y="92"/>
                    </a:lnTo>
                    <a:lnTo>
                      <a:pt x="631" y="92"/>
                    </a:lnTo>
                    <a:lnTo>
                      <a:pt x="631" y="92"/>
                    </a:lnTo>
                    <a:lnTo>
                      <a:pt x="631" y="87"/>
                    </a:lnTo>
                    <a:lnTo>
                      <a:pt x="633" y="89"/>
                    </a:lnTo>
                    <a:lnTo>
                      <a:pt x="636" y="87"/>
                    </a:lnTo>
                    <a:lnTo>
                      <a:pt x="636" y="85"/>
                    </a:lnTo>
                    <a:lnTo>
                      <a:pt x="636" y="85"/>
                    </a:lnTo>
                    <a:lnTo>
                      <a:pt x="636" y="85"/>
                    </a:lnTo>
                    <a:lnTo>
                      <a:pt x="638" y="85"/>
                    </a:lnTo>
                    <a:lnTo>
                      <a:pt x="640" y="87"/>
                    </a:lnTo>
                    <a:lnTo>
                      <a:pt x="640" y="92"/>
                    </a:lnTo>
                    <a:lnTo>
                      <a:pt x="643" y="92"/>
                    </a:lnTo>
                    <a:lnTo>
                      <a:pt x="643" y="94"/>
                    </a:lnTo>
                    <a:lnTo>
                      <a:pt x="645" y="94"/>
                    </a:lnTo>
                    <a:lnTo>
                      <a:pt x="645" y="96"/>
                    </a:lnTo>
                    <a:lnTo>
                      <a:pt x="645" y="99"/>
                    </a:lnTo>
                    <a:lnTo>
                      <a:pt x="645" y="101"/>
                    </a:lnTo>
                    <a:lnTo>
                      <a:pt x="645" y="101"/>
                    </a:lnTo>
                    <a:lnTo>
                      <a:pt x="645" y="106"/>
                    </a:lnTo>
                    <a:lnTo>
                      <a:pt x="640" y="111"/>
                    </a:lnTo>
                    <a:lnTo>
                      <a:pt x="640" y="111"/>
                    </a:lnTo>
                    <a:lnTo>
                      <a:pt x="640" y="113"/>
                    </a:lnTo>
                    <a:lnTo>
                      <a:pt x="638" y="113"/>
                    </a:lnTo>
                    <a:lnTo>
                      <a:pt x="638" y="115"/>
                    </a:lnTo>
                    <a:lnTo>
                      <a:pt x="636" y="115"/>
                    </a:lnTo>
                    <a:lnTo>
                      <a:pt x="636" y="118"/>
                    </a:lnTo>
                    <a:lnTo>
                      <a:pt x="636" y="118"/>
                    </a:lnTo>
                    <a:lnTo>
                      <a:pt x="636" y="120"/>
                    </a:lnTo>
                    <a:lnTo>
                      <a:pt x="636" y="122"/>
                    </a:lnTo>
                    <a:lnTo>
                      <a:pt x="636" y="122"/>
                    </a:lnTo>
                    <a:lnTo>
                      <a:pt x="636" y="122"/>
                    </a:lnTo>
                    <a:lnTo>
                      <a:pt x="633" y="125"/>
                    </a:lnTo>
                    <a:lnTo>
                      <a:pt x="631" y="125"/>
                    </a:lnTo>
                    <a:lnTo>
                      <a:pt x="631" y="125"/>
                    </a:lnTo>
                    <a:lnTo>
                      <a:pt x="631" y="125"/>
                    </a:lnTo>
                    <a:lnTo>
                      <a:pt x="628" y="125"/>
                    </a:lnTo>
                    <a:lnTo>
                      <a:pt x="626" y="125"/>
                    </a:lnTo>
                    <a:lnTo>
                      <a:pt x="626" y="127"/>
                    </a:lnTo>
                    <a:lnTo>
                      <a:pt x="628" y="129"/>
                    </a:lnTo>
                    <a:lnTo>
                      <a:pt x="628" y="132"/>
                    </a:lnTo>
                    <a:lnTo>
                      <a:pt x="631" y="134"/>
                    </a:lnTo>
                    <a:lnTo>
                      <a:pt x="631" y="132"/>
                    </a:lnTo>
                    <a:lnTo>
                      <a:pt x="631" y="134"/>
                    </a:lnTo>
                    <a:lnTo>
                      <a:pt x="631" y="134"/>
                    </a:lnTo>
                    <a:lnTo>
                      <a:pt x="636" y="134"/>
                    </a:lnTo>
                    <a:lnTo>
                      <a:pt x="633" y="134"/>
                    </a:lnTo>
                    <a:lnTo>
                      <a:pt x="636" y="132"/>
                    </a:lnTo>
                    <a:lnTo>
                      <a:pt x="636" y="132"/>
                    </a:lnTo>
                    <a:lnTo>
                      <a:pt x="636" y="132"/>
                    </a:lnTo>
                    <a:lnTo>
                      <a:pt x="636" y="129"/>
                    </a:lnTo>
                    <a:lnTo>
                      <a:pt x="638" y="127"/>
                    </a:lnTo>
                    <a:lnTo>
                      <a:pt x="638" y="127"/>
                    </a:lnTo>
                    <a:lnTo>
                      <a:pt x="638" y="127"/>
                    </a:lnTo>
                    <a:lnTo>
                      <a:pt x="640" y="127"/>
                    </a:lnTo>
                    <a:lnTo>
                      <a:pt x="640" y="127"/>
                    </a:lnTo>
                    <a:lnTo>
                      <a:pt x="643" y="127"/>
                    </a:lnTo>
                    <a:lnTo>
                      <a:pt x="643" y="127"/>
                    </a:lnTo>
                    <a:lnTo>
                      <a:pt x="645" y="125"/>
                    </a:lnTo>
                    <a:lnTo>
                      <a:pt x="643" y="122"/>
                    </a:lnTo>
                    <a:lnTo>
                      <a:pt x="645" y="122"/>
                    </a:lnTo>
                    <a:lnTo>
                      <a:pt x="645" y="120"/>
                    </a:lnTo>
                    <a:lnTo>
                      <a:pt x="647" y="118"/>
                    </a:lnTo>
                    <a:lnTo>
                      <a:pt x="652" y="118"/>
                    </a:lnTo>
                    <a:lnTo>
                      <a:pt x="657" y="122"/>
                    </a:lnTo>
                    <a:lnTo>
                      <a:pt x="659" y="120"/>
                    </a:lnTo>
                    <a:lnTo>
                      <a:pt x="659" y="120"/>
                    </a:lnTo>
                    <a:lnTo>
                      <a:pt x="659" y="120"/>
                    </a:lnTo>
                    <a:lnTo>
                      <a:pt x="662" y="120"/>
                    </a:lnTo>
                    <a:lnTo>
                      <a:pt x="662" y="118"/>
                    </a:lnTo>
                    <a:lnTo>
                      <a:pt x="662" y="118"/>
                    </a:lnTo>
                    <a:lnTo>
                      <a:pt x="662" y="118"/>
                    </a:lnTo>
                    <a:lnTo>
                      <a:pt x="664" y="118"/>
                    </a:lnTo>
                    <a:lnTo>
                      <a:pt x="664" y="115"/>
                    </a:lnTo>
                    <a:lnTo>
                      <a:pt x="664" y="115"/>
                    </a:lnTo>
                    <a:lnTo>
                      <a:pt x="666" y="115"/>
                    </a:lnTo>
                    <a:lnTo>
                      <a:pt x="666" y="115"/>
                    </a:lnTo>
                    <a:lnTo>
                      <a:pt x="669" y="115"/>
                    </a:lnTo>
                    <a:lnTo>
                      <a:pt x="671" y="115"/>
                    </a:lnTo>
                    <a:lnTo>
                      <a:pt x="671" y="115"/>
                    </a:lnTo>
                    <a:lnTo>
                      <a:pt x="673" y="115"/>
                    </a:lnTo>
                    <a:lnTo>
                      <a:pt x="676" y="115"/>
                    </a:lnTo>
                    <a:lnTo>
                      <a:pt x="676" y="115"/>
                    </a:lnTo>
                    <a:lnTo>
                      <a:pt x="676" y="115"/>
                    </a:lnTo>
                    <a:lnTo>
                      <a:pt x="676" y="115"/>
                    </a:lnTo>
                    <a:lnTo>
                      <a:pt x="676" y="115"/>
                    </a:lnTo>
                    <a:lnTo>
                      <a:pt x="676" y="115"/>
                    </a:lnTo>
                    <a:lnTo>
                      <a:pt x="678" y="115"/>
                    </a:lnTo>
                    <a:lnTo>
                      <a:pt x="678" y="113"/>
                    </a:lnTo>
                    <a:lnTo>
                      <a:pt x="678" y="113"/>
                    </a:lnTo>
                    <a:lnTo>
                      <a:pt x="678" y="113"/>
                    </a:lnTo>
                    <a:lnTo>
                      <a:pt x="678" y="113"/>
                    </a:lnTo>
                    <a:lnTo>
                      <a:pt x="680" y="113"/>
                    </a:lnTo>
                    <a:lnTo>
                      <a:pt x="680" y="113"/>
                    </a:lnTo>
                    <a:lnTo>
                      <a:pt x="680" y="113"/>
                    </a:lnTo>
                    <a:lnTo>
                      <a:pt x="680" y="113"/>
                    </a:lnTo>
                    <a:lnTo>
                      <a:pt x="683" y="113"/>
                    </a:lnTo>
                    <a:lnTo>
                      <a:pt x="683" y="111"/>
                    </a:lnTo>
                    <a:lnTo>
                      <a:pt x="685" y="108"/>
                    </a:lnTo>
                    <a:lnTo>
                      <a:pt x="685" y="106"/>
                    </a:lnTo>
                    <a:lnTo>
                      <a:pt x="685" y="106"/>
                    </a:lnTo>
                    <a:lnTo>
                      <a:pt x="685" y="104"/>
                    </a:lnTo>
                    <a:lnTo>
                      <a:pt x="685" y="104"/>
                    </a:lnTo>
                    <a:lnTo>
                      <a:pt x="685" y="106"/>
                    </a:lnTo>
                    <a:lnTo>
                      <a:pt x="687" y="104"/>
                    </a:lnTo>
                    <a:lnTo>
                      <a:pt x="687" y="104"/>
                    </a:lnTo>
                    <a:lnTo>
                      <a:pt x="687" y="104"/>
                    </a:lnTo>
                    <a:lnTo>
                      <a:pt x="690" y="104"/>
                    </a:lnTo>
                    <a:lnTo>
                      <a:pt x="690" y="104"/>
                    </a:lnTo>
                    <a:lnTo>
                      <a:pt x="690" y="99"/>
                    </a:lnTo>
                    <a:lnTo>
                      <a:pt x="692" y="99"/>
                    </a:lnTo>
                    <a:lnTo>
                      <a:pt x="692" y="99"/>
                    </a:lnTo>
                    <a:lnTo>
                      <a:pt x="692" y="99"/>
                    </a:lnTo>
                    <a:lnTo>
                      <a:pt x="692" y="96"/>
                    </a:lnTo>
                    <a:lnTo>
                      <a:pt x="695" y="99"/>
                    </a:lnTo>
                    <a:lnTo>
                      <a:pt x="695" y="96"/>
                    </a:lnTo>
                    <a:lnTo>
                      <a:pt x="697" y="94"/>
                    </a:lnTo>
                    <a:lnTo>
                      <a:pt x="697" y="94"/>
                    </a:lnTo>
                    <a:lnTo>
                      <a:pt x="697" y="94"/>
                    </a:lnTo>
                    <a:lnTo>
                      <a:pt x="699" y="94"/>
                    </a:lnTo>
                    <a:lnTo>
                      <a:pt x="699" y="94"/>
                    </a:lnTo>
                    <a:lnTo>
                      <a:pt x="699" y="94"/>
                    </a:lnTo>
                    <a:lnTo>
                      <a:pt x="702" y="94"/>
                    </a:lnTo>
                    <a:lnTo>
                      <a:pt x="704" y="94"/>
                    </a:lnTo>
                    <a:lnTo>
                      <a:pt x="704" y="94"/>
                    </a:lnTo>
                    <a:lnTo>
                      <a:pt x="706" y="96"/>
                    </a:lnTo>
                    <a:lnTo>
                      <a:pt x="709" y="94"/>
                    </a:lnTo>
                    <a:lnTo>
                      <a:pt x="709" y="94"/>
                    </a:lnTo>
                    <a:lnTo>
                      <a:pt x="709" y="94"/>
                    </a:lnTo>
                    <a:lnTo>
                      <a:pt x="711" y="94"/>
                    </a:lnTo>
                    <a:lnTo>
                      <a:pt x="711" y="94"/>
                    </a:lnTo>
                    <a:lnTo>
                      <a:pt x="711" y="94"/>
                    </a:lnTo>
                    <a:lnTo>
                      <a:pt x="711" y="94"/>
                    </a:lnTo>
                    <a:lnTo>
                      <a:pt x="713" y="92"/>
                    </a:lnTo>
                    <a:lnTo>
                      <a:pt x="713" y="89"/>
                    </a:lnTo>
                    <a:lnTo>
                      <a:pt x="713" y="89"/>
                    </a:lnTo>
                    <a:lnTo>
                      <a:pt x="713" y="92"/>
                    </a:lnTo>
                    <a:lnTo>
                      <a:pt x="716" y="92"/>
                    </a:lnTo>
                    <a:lnTo>
                      <a:pt x="718" y="89"/>
                    </a:lnTo>
                    <a:lnTo>
                      <a:pt x="721" y="87"/>
                    </a:lnTo>
                    <a:lnTo>
                      <a:pt x="721" y="87"/>
                    </a:lnTo>
                    <a:lnTo>
                      <a:pt x="721" y="87"/>
                    </a:lnTo>
                    <a:lnTo>
                      <a:pt x="721" y="85"/>
                    </a:lnTo>
                    <a:lnTo>
                      <a:pt x="723" y="85"/>
                    </a:lnTo>
                    <a:lnTo>
                      <a:pt x="723" y="85"/>
                    </a:lnTo>
                    <a:lnTo>
                      <a:pt x="723" y="85"/>
                    </a:lnTo>
                    <a:lnTo>
                      <a:pt x="723" y="85"/>
                    </a:lnTo>
                    <a:lnTo>
                      <a:pt x="723" y="85"/>
                    </a:lnTo>
                    <a:lnTo>
                      <a:pt x="723" y="82"/>
                    </a:lnTo>
                    <a:lnTo>
                      <a:pt x="725" y="82"/>
                    </a:lnTo>
                    <a:lnTo>
                      <a:pt x="728" y="80"/>
                    </a:lnTo>
                    <a:lnTo>
                      <a:pt x="728" y="82"/>
                    </a:lnTo>
                    <a:lnTo>
                      <a:pt x="728" y="80"/>
                    </a:lnTo>
                    <a:lnTo>
                      <a:pt x="728" y="78"/>
                    </a:lnTo>
                    <a:lnTo>
                      <a:pt x="728" y="80"/>
                    </a:lnTo>
                    <a:lnTo>
                      <a:pt x="730" y="80"/>
                    </a:lnTo>
                    <a:lnTo>
                      <a:pt x="730" y="78"/>
                    </a:lnTo>
                    <a:lnTo>
                      <a:pt x="730" y="78"/>
                    </a:lnTo>
                    <a:lnTo>
                      <a:pt x="732" y="78"/>
                    </a:lnTo>
                    <a:lnTo>
                      <a:pt x="732" y="78"/>
                    </a:lnTo>
                    <a:lnTo>
                      <a:pt x="732" y="78"/>
                    </a:lnTo>
                    <a:lnTo>
                      <a:pt x="732" y="75"/>
                    </a:lnTo>
                    <a:lnTo>
                      <a:pt x="735" y="75"/>
                    </a:lnTo>
                    <a:lnTo>
                      <a:pt x="735" y="75"/>
                    </a:lnTo>
                    <a:lnTo>
                      <a:pt x="735" y="73"/>
                    </a:lnTo>
                    <a:lnTo>
                      <a:pt x="737" y="73"/>
                    </a:lnTo>
                    <a:lnTo>
                      <a:pt x="737" y="73"/>
                    </a:lnTo>
                    <a:lnTo>
                      <a:pt x="739" y="70"/>
                    </a:lnTo>
                    <a:lnTo>
                      <a:pt x="739" y="70"/>
                    </a:lnTo>
                    <a:lnTo>
                      <a:pt x="742" y="68"/>
                    </a:lnTo>
                    <a:lnTo>
                      <a:pt x="742" y="68"/>
                    </a:lnTo>
                    <a:lnTo>
                      <a:pt x="744" y="68"/>
                    </a:lnTo>
                    <a:lnTo>
                      <a:pt x="744" y="68"/>
                    </a:lnTo>
                    <a:lnTo>
                      <a:pt x="744" y="68"/>
                    </a:lnTo>
                    <a:lnTo>
                      <a:pt x="747" y="68"/>
                    </a:lnTo>
                    <a:lnTo>
                      <a:pt x="747" y="66"/>
                    </a:lnTo>
                    <a:lnTo>
                      <a:pt x="749" y="66"/>
                    </a:lnTo>
                    <a:lnTo>
                      <a:pt x="747" y="66"/>
                    </a:lnTo>
                    <a:lnTo>
                      <a:pt x="749" y="68"/>
                    </a:lnTo>
                    <a:lnTo>
                      <a:pt x="756" y="68"/>
                    </a:lnTo>
                    <a:lnTo>
                      <a:pt x="758" y="68"/>
                    </a:lnTo>
                    <a:lnTo>
                      <a:pt x="758" y="68"/>
                    </a:lnTo>
                    <a:lnTo>
                      <a:pt x="761" y="66"/>
                    </a:lnTo>
                    <a:lnTo>
                      <a:pt x="761" y="61"/>
                    </a:lnTo>
                    <a:lnTo>
                      <a:pt x="763" y="61"/>
                    </a:lnTo>
                    <a:lnTo>
                      <a:pt x="763" y="61"/>
                    </a:lnTo>
                    <a:lnTo>
                      <a:pt x="763" y="61"/>
                    </a:lnTo>
                    <a:lnTo>
                      <a:pt x="763" y="59"/>
                    </a:lnTo>
                    <a:lnTo>
                      <a:pt x="768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56"/>
                    </a:lnTo>
                    <a:lnTo>
                      <a:pt x="770" y="56"/>
                    </a:lnTo>
                    <a:lnTo>
                      <a:pt x="773" y="56"/>
                    </a:lnTo>
                    <a:lnTo>
                      <a:pt x="770" y="54"/>
                    </a:lnTo>
                    <a:lnTo>
                      <a:pt x="773" y="52"/>
                    </a:lnTo>
                    <a:lnTo>
                      <a:pt x="773" y="54"/>
                    </a:lnTo>
                    <a:lnTo>
                      <a:pt x="775" y="52"/>
                    </a:lnTo>
                    <a:lnTo>
                      <a:pt x="775" y="52"/>
                    </a:lnTo>
                    <a:lnTo>
                      <a:pt x="775" y="52"/>
                    </a:lnTo>
                    <a:lnTo>
                      <a:pt x="777" y="52"/>
                    </a:lnTo>
                    <a:lnTo>
                      <a:pt x="780" y="52"/>
                    </a:lnTo>
                    <a:lnTo>
                      <a:pt x="780" y="49"/>
                    </a:lnTo>
                    <a:lnTo>
                      <a:pt x="780" y="49"/>
                    </a:lnTo>
                    <a:lnTo>
                      <a:pt x="780" y="49"/>
                    </a:lnTo>
                    <a:lnTo>
                      <a:pt x="782" y="49"/>
                    </a:lnTo>
                    <a:lnTo>
                      <a:pt x="782" y="49"/>
                    </a:lnTo>
                    <a:lnTo>
                      <a:pt x="784" y="49"/>
                    </a:lnTo>
                    <a:lnTo>
                      <a:pt x="784" y="47"/>
                    </a:lnTo>
                    <a:lnTo>
                      <a:pt x="784" y="49"/>
                    </a:lnTo>
                    <a:lnTo>
                      <a:pt x="787" y="47"/>
                    </a:lnTo>
                    <a:lnTo>
                      <a:pt x="787" y="47"/>
                    </a:lnTo>
                    <a:lnTo>
                      <a:pt x="787" y="47"/>
                    </a:lnTo>
                    <a:lnTo>
                      <a:pt x="789" y="47"/>
                    </a:lnTo>
                    <a:lnTo>
                      <a:pt x="789" y="44"/>
                    </a:lnTo>
                    <a:lnTo>
                      <a:pt x="787" y="44"/>
                    </a:lnTo>
                    <a:lnTo>
                      <a:pt x="787" y="44"/>
                    </a:lnTo>
                    <a:lnTo>
                      <a:pt x="787" y="44"/>
                    </a:lnTo>
                    <a:lnTo>
                      <a:pt x="787" y="42"/>
                    </a:lnTo>
                    <a:lnTo>
                      <a:pt x="787" y="44"/>
                    </a:lnTo>
                    <a:lnTo>
                      <a:pt x="787" y="42"/>
                    </a:lnTo>
                    <a:lnTo>
                      <a:pt x="787" y="42"/>
                    </a:lnTo>
                    <a:lnTo>
                      <a:pt x="789" y="40"/>
                    </a:lnTo>
                    <a:lnTo>
                      <a:pt x="789" y="40"/>
                    </a:lnTo>
                    <a:lnTo>
                      <a:pt x="791" y="40"/>
                    </a:lnTo>
                    <a:lnTo>
                      <a:pt x="789" y="40"/>
                    </a:lnTo>
                    <a:lnTo>
                      <a:pt x="789" y="40"/>
                    </a:lnTo>
                    <a:lnTo>
                      <a:pt x="789" y="40"/>
                    </a:lnTo>
                    <a:lnTo>
                      <a:pt x="789" y="37"/>
                    </a:lnTo>
                    <a:lnTo>
                      <a:pt x="789" y="37"/>
                    </a:lnTo>
                    <a:lnTo>
                      <a:pt x="791" y="37"/>
                    </a:lnTo>
                    <a:lnTo>
                      <a:pt x="789" y="35"/>
                    </a:lnTo>
                    <a:lnTo>
                      <a:pt x="789" y="35"/>
                    </a:lnTo>
                    <a:lnTo>
                      <a:pt x="791" y="35"/>
                    </a:lnTo>
                    <a:lnTo>
                      <a:pt x="791" y="35"/>
                    </a:lnTo>
                    <a:lnTo>
                      <a:pt x="791" y="35"/>
                    </a:lnTo>
                    <a:lnTo>
                      <a:pt x="794" y="35"/>
                    </a:lnTo>
                    <a:lnTo>
                      <a:pt x="794" y="35"/>
                    </a:lnTo>
                    <a:lnTo>
                      <a:pt x="794" y="33"/>
                    </a:lnTo>
                    <a:lnTo>
                      <a:pt x="796" y="33"/>
                    </a:lnTo>
                    <a:lnTo>
                      <a:pt x="796" y="33"/>
                    </a:lnTo>
                    <a:lnTo>
                      <a:pt x="799" y="33"/>
                    </a:lnTo>
                    <a:lnTo>
                      <a:pt x="799" y="33"/>
                    </a:lnTo>
                    <a:lnTo>
                      <a:pt x="799" y="33"/>
                    </a:lnTo>
                    <a:lnTo>
                      <a:pt x="799" y="33"/>
                    </a:lnTo>
                    <a:lnTo>
                      <a:pt x="801" y="33"/>
                    </a:lnTo>
                    <a:lnTo>
                      <a:pt x="801" y="30"/>
                    </a:lnTo>
                    <a:lnTo>
                      <a:pt x="801" y="30"/>
                    </a:lnTo>
                    <a:lnTo>
                      <a:pt x="803" y="30"/>
                    </a:lnTo>
                    <a:lnTo>
                      <a:pt x="803" y="28"/>
                    </a:lnTo>
                    <a:lnTo>
                      <a:pt x="803" y="30"/>
                    </a:lnTo>
                    <a:lnTo>
                      <a:pt x="806" y="28"/>
                    </a:lnTo>
                    <a:lnTo>
                      <a:pt x="806" y="28"/>
                    </a:lnTo>
                    <a:lnTo>
                      <a:pt x="806" y="28"/>
                    </a:lnTo>
                    <a:lnTo>
                      <a:pt x="806" y="28"/>
                    </a:lnTo>
                    <a:lnTo>
                      <a:pt x="806" y="26"/>
                    </a:lnTo>
                    <a:lnTo>
                      <a:pt x="808" y="26"/>
                    </a:lnTo>
                    <a:lnTo>
                      <a:pt x="808" y="26"/>
                    </a:lnTo>
                    <a:lnTo>
                      <a:pt x="808" y="26"/>
                    </a:lnTo>
                    <a:lnTo>
                      <a:pt x="808" y="23"/>
                    </a:lnTo>
                    <a:lnTo>
                      <a:pt x="810" y="26"/>
                    </a:lnTo>
                    <a:lnTo>
                      <a:pt x="810" y="23"/>
                    </a:lnTo>
                    <a:lnTo>
                      <a:pt x="810" y="26"/>
                    </a:lnTo>
                    <a:lnTo>
                      <a:pt x="810" y="23"/>
                    </a:lnTo>
                    <a:lnTo>
                      <a:pt x="810" y="23"/>
                    </a:lnTo>
                    <a:lnTo>
                      <a:pt x="810" y="21"/>
                    </a:lnTo>
                    <a:lnTo>
                      <a:pt x="813" y="21"/>
                    </a:lnTo>
                    <a:lnTo>
                      <a:pt x="813" y="23"/>
                    </a:lnTo>
                    <a:lnTo>
                      <a:pt x="815" y="21"/>
                    </a:lnTo>
                    <a:lnTo>
                      <a:pt x="813" y="21"/>
                    </a:lnTo>
                    <a:lnTo>
                      <a:pt x="815" y="21"/>
                    </a:lnTo>
                    <a:lnTo>
                      <a:pt x="815" y="21"/>
                    </a:lnTo>
                    <a:lnTo>
                      <a:pt x="815" y="18"/>
                    </a:lnTo>
                    <a:lnTo>
                      <a:pt x="817" y="18"/>
                    </a:lnTo>
                    <a:lnTo>
                      <a:pt x="817" y="18"/>
                    </a:lnTo>
                    <a:lnTo>
                      <a:pt x="817" y="18"/>
                    </a:lnTo>
                    <a:lnTo>
                      <a:pt x="820" y="18"/>
                    </a:lnTo>
                    <a:lnTo>
                      <a:pt x="820" y="16"/>
                    </a:lnTo>
                    <a:lnTo>
                      <a:pt x="822" y="16"/>
                    </a:lnTo>
                    <a:lnTo>
                      <a:pt x="822" y="16"/>
                    </a:lnTo>
                    <a:lnTo>
                      <a:pt x="822" y="16"/>
                    </a:lnTo>
                    <a:lnTo>
                      <a:pt x="822" y="16"/>
                    </a:lnTo>
                    <a:lnTo>
                      <a:pt x="825" y="16"/>
                    </a:lnTo>
                    <a:lnTo>
                      <a:pt x="825" y="14"/>
                    </a:lnTo>
                    <a:lnTo>
                      <a:pt x="825" y="14"/>
                    </a:lnTo>
                    <a:lnTo>
                      <a:pt x="825" y="14"/>
                    </a:lnTo>
                    <a:lnTo>
                      <a:pt x="827" y="14"/>
                    </a:lnTo>
                    <a:lnTo>
                      <a:pt x="827" y="14"/>
                    </a:lnTo>
                    <a:lnTo>
                      <a:pt x="827" y="14"/>
                    </a:lnTo>
                    <a:lnTo>
                      <a:pt x="829" y="14"/>
                    </a:lnTo>
                    <a:lnTo>
                      <a:pt x="832" y="11"/>
                    </a:lnTo>
                    <a:lnTo>
                      <a:pt x="832" y="14"/>
                    </a:lnTo>
                    <a:lnTo>
                      <a:pt x="832" y="11"/>
                    </a:lnTo>
                    <a:lnTo>
                      <a:pt x="832" y="14"/>
                    </a:lnTo>
                    <a:lnTo>
                      <a:pt x="834" y="14"/>
                    </a:lnTo>
                    <a:lnTo>
                      <a:pt x="834" y="11"/>
                    </a:lnTo>
                    <a:lnTo>
                      <a:pt x="834" y="11"/>
                    </a:lnTo>
                    <a:lnTo>
                      <a:pt x="836" y="11"/>
                    </a:lnTo>
                    <a:lnTo>
                      <a:pt x="836" y="11"/>
                    </a:lnTo>
                    <a:lnTo>
                      <a:pt x="836" y="11"/>
                    </a:lnTo>
                    <a:lnTo>
                      <a:pt x="836" y="11"/>
                    </a:lnTo>
                    <a:lnTo>
                      <a:pt x="839" y="9"/>
                    </a:lnTo>
                    <a:lnTo>
                      <a:pt x="841" y="7"/>
                    </a:lnTo>
                    <a:lnTo>
                      <a:pt x="843" y="7"/>
                    </a:lnTo>
                    <a:lnTo>
                      <a:pt x="843" y="7"/>
                    </a:lnTo>
                    <a:lnTo>
                      <a:pt x="846" y="7"/>
                    </a:lnTo>
                    <a:lnTo>
                      <a:pt x="846" y="7"/>
                    </a:lnTo>
                    <a:lnTo>
                      <a:pt x="846" y="7"/>
                    </a:lnTo>
                    <a:lnTo>
                      <a:pt x="846" y="7"/>
                    </a:lnTo>
                    <a:lnTo>
                      <a:pt x="846" y="4"/>
                    </a:lnTo>
                    <a:lnTo>
                      <a:pt x="848" y="7"/>
                    </a:lnTo>
                    <a:lnTo>
                      <a:pt x="848" y="4"/>
                    </a:lnTo>
                    <a:lnTo>
                      <a:pt x="850" y="4"/>
                    </a:lnTo>
                    <a:lnTo>
                      <a:pt x="850" y="4"/>
                    </a:lnTo>
                    <a:lnTo>
                      <a:pt x="850" y="4"/>
                    </a:lnTo>
                    <a:lnTo>
                      <a:pt x="850" y="4"/>
                    </a:lnTo>
                    <a:lnTo>
                      <a:pt x="853" y="4"/>
                    </a:lnTo>
                    <a:lnTo>
                      <a:pt x="853" y="2"/>
                    </a:lnTo>
                    <a:lnTo>
                      <a:pt x="855" y="2"/>
                    </a:lnTo>
                    <a:lnTo>
                      <a:pt x="858" y="4"/>
                    </a:lnTo>
                    <a:lnTo>
                      <a:pt x="858" y="2"/>
                    </a:lnTo>
                    <a:lnTo>
                      <a:pt x="860" y="2"/>
                    </a:lnTo>
                    <a:lnTo>
                      <a:pt x="860" y="2"/>
                    </a:lnTo>
                    <a:lnTo>
                      <a:pt x="860" y="2"/>
                    </a:lnTo>
                    <a:lnTo>
                      <a:pt x="862" y="2"/>
                    </a:lnTo>
                    <a:lnTo>
                      <a:pt x="865" y="4"/>
                    </a:lnTo>
                    <a:lnTo>
                      <a:pt x="865" y="4"/>
                    </a:lnTo>
                    <a:lnTo>
                      <a:pt x="862" y="4"/>
                    </a:lnTo>
                    <a:lnTo>
                      <a:pt x="865" y="2"/>
                    </a:lnTo>
                    <a:lnTo>
                      <a:pt x="865" y="4"/>
                    </a:lnTo>
                    <a:lnTo>
                      <a:pt x="865" y="2"/>
                    </a:lnTo>
                    <a:lnTo>
                      <a:pt x="865" y="2"/>
                    </a:lnTo>
                    <a:lnTo>
                      <a:pt x="867" y="2"/>
                    </a:lnTo>
                    <a:lnTo>
                      <a:pt x="867" y="2"/>
                    </a:lnTo>
                    <a:lnTo>
                      <a:pt x="867" y="0"/>
                    </a:lnTo>
                    <a:lnTo>
                      <a:pt x="869" y="2"/>
                    </a:lnTo>
                    <a:lnTo>
                      <a:pt x="869" y="2"/>
                    </a:lnTo>
                    <a:lnTo>
                      <a:pt x="869" y="2"/>
                    </a:lnTo>
                    <a:lnTo>
                      <a:pt x="869" y="4"/>
                    </a:lnTo>
                    <a:lnTo>
                      <a:pt x="872" y="4"/>
                    </a:lnTo>
                    <a:lnTo>
                      <a:pt x="874" y="4"/>
                    </a:lnTo>
                    <a:lnTo>
                      <a:pt x="874" y="4"/>
                    </a:lnTo>
                    <a:lnTo>
                      <a:pt x="874" y="4"/>
                    </a:lnTo>
                    <a:lnTo>
                      <a:pt x="879" y="4"/>
                    </a:lnTo>
                    <a:lnTo>
                      <a:pt x="879" y="7"/>
                    </a:lnTo>
                    <a:lnTo>
                      <a:pt x="876" y="7"/>
                    </a:lnTo>
                    <a:lnTo>
                      <a:pt x="879" y="7"/>
                    </a:lnTo>
                    <a:lnTo>
                      <a:pt x="879" y="7"/>
                    </a:lnTo>
                    <a:lnTo>
                      <a:pt x="881" y="4"/>
                    </a:lnTo>
                    <a:lnTo>
                      <a:pt x="881" y="4"/>
                    </a:lnTo>
                    <a:lnTo>
                      <a:pt x="881" y="4"/>
                    </a:lnTo>
                    <a:lnTo>
                      <a:pt x="881" y="7"/>
                    </a:lnTo>
                    <a:lnTo>
                      <a:pt x="884" y="7"/>
                    </a:lnTo>
                    <a:lnTo>
                      <a:pt x="884" y="4"/>
                    </a:lnTo>
                    <a:lnTo>
                      <a:pt x="884" y="7"/>
                    </a:lnTo>
                    <a:lnTo>
                      <a:pt x="884" y="7"/>
                    </a:lnTo>
                    <a:lnTo>
                      <a:pt x="884" y="4"/>
                    </a:lnTo>
                    <a:lnTo>
                      <a:pt x="886" y="4"/>
                    </a:lnTo>
                    <a:lnTo>
                      <a:pt x="886" y="7"/>
                    </a:lnTo>
                    <a:lnTo>
                      <a:pt x="886" y="7"/>
                    </a:lnTo>
                    <a:lnTo>
                      <a:pt x="886" y="7"/>
                    </a:lnTo>
                    <a:lnTo>
                      <a:pt x="888" y="7"/>
                    </a:lnTo>
                    <a:lnTo>
                      <a:pt x="888" y="7"/>
                    </a:lnTo>
                    <a:lnTo>
                      <a:pt x="888" y="7"/>
                    </a:lnTo>
                    <a:lnTo>
                      <a:pt x="888" y="7"/>
                    </a:lnTo>
                    <a:lnTo>
                      <a:pt x="891" y="7"/>
                    </a:lnTo>
                    <a:lnTo>
                      <a:pt x="891" y="7"/>
                    </a:lnTo>
                    <a:lnTo>
                      <a:pt x="891" y="7"/>
                    </a:lnTo>
                    <a:lnTo>
                      <a:pt x="891" y="7"/>
                    </a:lnTo>
                    <a:lnTo>
                      <a:pt x="893" y="7"/>
                    </a:lnTo>
                    <a:lnTo>
                      <a:pt x="893" y="4"/>
                    </a:lnTo>
                    <a:lnTo>
                      <a:pt x="893" y="4"/>
                    </a:lnTo>
                    <a:lnTo>
                      <a:pt x="898" y="4"/>
                    </a:lnTo>
                    <a:lnTo>
                      <a:pt x="895" y="4"/>
                    </a:lnTo>
                    <a:lnTo>
                      <a:pt x="898" y="7"/>
                    </a:lnTo>
                    <a:lnTo>
                      <a:pt x="898" y="7"/>
                    </a:lnTo>
                    <a:lnTo>
                      <a:pt x="898" y="7"/>
                    </a:lnTo>
                    <a:lnTo>
                      <a:pt x="900" y="7"/>
                    </a:lnTo>
                    <a:lnTo>
                      <a:pt x="900" y="7"/>
                    </a:lnTo>
                    <a:lnTo>
                      <a:pt x="900" y="7"/>
                    </a:lnTo>
                    <a:lnTo>
                      <a:pt x="900" y="9"/>
                    </a:lnTo>
                    <a:lnTo>
                      <a:pt x="900" y="7"/>
                    </a:lnTo>
                    <a:lnTo>
                      <a:pt x="902" y="7"/>
                    </a:lnTo>
                    <a:lnTo>
                      <a:pt x="902" y="9"/>
                    </a:lnTo>
                    <a:lnTo>
                      <a:pt x="902" y="9"/>
                    </a:lnTo>
                    <a:lnTo>
                      <a:pt x="905" y="9"/>
                    </a:lnTo>
                    <a:lnTo>
                      <a:pt x="905" y="9"/>
                    </a:lnTo>
                    <a:lnTo>
                      <a:pt x="905" y="9"/>
                    </a:lnTo>
                    <a:lnTo>
                      <a:pt x="907" y="9"/>
                    </a:lnTo>
                    <a:lnTo>
                      <a:pt x="907" y="9"/>
                    </a:lnTo>
                    <a:lnTo>
                      <a:pt x="907" y="9"/>
                    </a:lnTo>
                    <a:lnTo>
                      <a:pt x="907" y="9"/>
                    </a:lnTo>
                    <a:lnTo>
                      <a:pt x="907" y="9"/>
                    </a:lnTo>
                    <a:lnTo>
                      <a:pt x="910" y="9"/>
                    </a:lnTo>
                    <a:lnTo>
                      <a:pt x="910" y="9"/>
                    </a:lnTo>
                    <a:lnTo>
                      <a:pt x="910" y="11"/>
                    </a:lnTo>
                    <a:lnTo>
                      <a:pt x="910" y="11"/>
                    </a:lnTo>
                    <a:lnTo>
                      <a:pt x="912" y="11"/>
                    </a:lnTo>
                    <a:lnTo>
                      <a:pt x="912" y="11"/>
                    </a:lnTo>
                    <a:lnTo>
                      <a:pt x="912" y="11"/>
                    </a:lnTo>
                    <a:lnTo>
                      <a:pt x="914" y="11"/>
                    </a:lnTo>
                    <a:lnTo>
                      <a:pt x="914" y="11"/>
                    </a:lnTo>
                    <a:lnTo>
                      <a:pt x="914" y="11"/>
                    </a:lnTo>
                    <a:lnTo>
                      <a:pt x="914" y="11"/>
                    </a:lnTo>
                    <a:lnTo>
                      <a:pt x="914" y="11"/>
                    </a:lnTo>
                    <a:lnTo>
                      <a:pt x="914" y="11"/>
                    </a:lnTo>
                    <a:lnTo>
                      <a:pt x="917" y="11"/>
                    </a:lnTo>
                    <a:lnTo>
                      <a:pt x="917" y="11"/>
                    </a:lnTo>
                    <a:lnTo>
                      <a:pt x="919" y="11"/>
                    </a:lnTo>
                    <a:lnTo>
                      <a:pt x="917" y="11"/>
                    </a:lnTo>
                    <a:lnTo>
                      <a:pt x="919" y="11"/>
                    </a:lnTo>
                    <a:lnTo>
                      <a:pt x="919" y="14"/>
                    </a:lnTo>
                    <a:lnTo>
                      <a:pt x="919" y="11"/>
                    </a:lnTo>
                    <a:lnTo>
                      <a:pt x="919" y="14"/>
                    </a:lnTo>
                    <a:lnTo>
                      <a:pt x="921" y="14"/>
                    </a:lnTo>
                    <a:lnTo>
                      <a:pt x="924" y="14"/>
                    </a:lnTo>
                    <a:lnTo>
                      <a:pt x="919" y="18"/>
                    </a:lnTo>
                    <a:lnTo>
                      <a:pt x="919" y="18"/>
                    </a:lnTo>
                    <a:lnTo>
                      <a:pt x="919" y="21"/>
                    </a:lnTo>
                    <a:lnTo>
                      <a:pt x="917" y="26"/>
                    </a:lnTo>
                    <a:lnTo>
                      <a:pt x="917" y="30"/>
                    </a:lnTo>
                    <a:lnTo>
                      <a:pt x="914" y="30"/>
                    </a:lnTo>
                    <a:lnTo>
                      <a:pt x="912" y="37"/>
                    </a:lnTo>
                    <a:lnTo>
                      <a:pt x="910" y="42"/>
                    </a:lnTo>
                    <a:lnTo>
                      <a:pt x="910" y="44"/>
                    </a:lnTo>
                    <a:lnTo>
                      <a:pt x="910" y="47"/>
                    </a:lnTo>
                    <a:lnTo>
                      <a:pt x="910" y="47"/>
                    </a:lnTo>
                    <a:lnTo>
                      <a:pt x="910" y="49"/>
                    </a:lnTo>
                    <a:lnTo>
                      <a:pt x="910" y="47"/>
                    </a:lnTo>
                    <a:lnTo>
                      <a:pt x="910" y="49"/>
                    </a:lnTo>
                    <a:lnTo>
                      <a:pt x="912" y="49"/>
                    </a:lnTo>
                    <a:lnTo>
                      <a:pt x="912" y="52"/>
                    </a:lnTo>
                    <a:lnTo>
                      <a:pt x="910" y="52"/>
                    </a:lnTo>
                    <a:lnTo>
                      <a:pt x="912" y="54"/>
                    </a:lnTo>
                    <a:lnTo>
                      <a:pt x="910" y="54"/>
                    </a:lnTo>
                    <a:lnTo>
                      <a:pt x="910" y="54"/>
                    </a:lnTo>
                    <a:lnTo>
                      <a:pt x="910" y="54"/>
                    </a:lnTo>
                    <a:lnTo>
                      <a:pt x="910" y="54"/>
                    </a:lnTo>
                    <a:lnTo>
                      <a:pt x="910" y="56"/>
                    </a:lnTo>
                    <a:lnTo>
                      <a:pt x="910" y="56"/>
                    </a:lnTo>
                    <a:lnTo>
                      <a:pt x="910" y="56"/>
                    </a:lnTo>
                    <a:lnTo>
                      <a:pt x="912" y="56"/>
                    </a:lnTo>
                    <a:lnTo>
                      <a:pt x="912" y="56"/>
                    </a:lnTo>
                    <a:lnTo>
                      <a:pt x="912" y="56"/>
                    </a:lnTo>
                    <a:lnTo>
                      <a:pt x="914" y="59"/>
                    </a:lnTo>
                    <a:lnTo>
                      <a:pt x="914" y="59"/>
                    </a:lnTo>
                    <a:lnTo>
                      <a:pt x="919" y="59"/>
                    </a:lnTo>
                    <a:lnTo>
                      <a:pt x="924" y="59"/>
                    </a:lnTo>
                    <a:lnTo>
                      <a:pt x="924" y="61"/>
                    </a:lnTo>
                    <a:lnTo>
                      <a:pt x="924" y="61"/>
                    </a:lnTo>
                    <a:lnTo>
                      <a:pt x="926" y="61"/>
                    </a:lnTo>
                    <a:lnTo>
                      <a:pt x="926" y="61"/>
                    </a:lnTo>
                    <a:lnTo>
                      <a:pt x="928" y="61"/>
                    </a:lnTo>
                    <a:lnTo>
                      <a:pt x="931" y="61"/>
                    </a:lnTo>
                    <a:lnTo>
                      <a:pt x="931" y="63"/>
                    </a:lnTo>
                    <a:lnTo>
                      <a:pt x="931" y="63"/>
                    </a:lnTo>
                    <a:lnTo>
                      <a:pt x="931" y="66"/>
                    </a:lnTo>
                    <a:lnTo>
                      <a:pt x="931" y="66"/>
                    </a:lnTo>
                    <a:lnTo>
                      <a:pt x="933" y="66"/>
                    </a:lnTo>
                    <a:lnTo>
                      <a:pt x="933" y="66"/>
                    </a:lnTo>
                    <a:lnTo>
                      <a:pt x="936" y="66"/>
                    </a:lnTo>
                    <a:lnTo>
                      <a:pt x="936" y="66"/>
                    </a:lnTo>
                    <a:lnTo>
                      <a:pt x="936" y="66"/>
                    </a:lnTo>
                    <a:lnTo>
                      <a:pt x="936" y="66"/>
                    </a:lnTo>
                    <a:lnTo>
                      <a:pt x="938" y="66"/>
                    </a:lnTo>
                    <a:lnTo>
                      <a:pt x="938" y="68"/>
                    </a:lnTo>
                    <a:lnTo>
                      <a:pt x="943" y="68"/>
                    </a:lnTo>
                    <a:lnTo>
                      <a:pt x="945" y="68"/>
                    </a:lnTo>
                    <a:lnTo>
                      <a:pt x="945" y="68"/>
                    </a:lnTo>
                    <a:lnTo>
                      <a:pt x="947" y="68"/>
                    </a:lnTo>
                    <a:lnTo>
                      <a:pt x="947" y="68"/>
                    </a:lnTo>
                    <a:lnTo>
                      <a:pt x="950" y="70"/>
                    </a:lnTo>
                    <a:lnTo>
                      <a:pt x="954" y="73"/>
                    </a:lnTo>
                    <a:lnTo>
                      <a:pt x="954" y="73"/>
                    </a:lnTo>
                    <a:lnTo>
                      <a:pt x="954" y="73"/>
                    </a:lnTo>
                    <a:lnTo>
                      <a:pt x="954" y="75"/>
                    </a:lnTo>
                    <a:lnTo>
                      <a:pt x="954" y="78"/>
                    </a:lnTo>
                    <a:lnTo>
                      <a:pt x="954" y="78"/>
                    </a:lnTo>
                    <a:lnTo>
                      <a:pt x="957" y="75"/>
                    </a:lnTo>
                    <a:lnTo>
                      <a:pt x="957" y="75"/>
                    </a:lnTo>
                    <a:lnTo>
                      <a:pt x="957" y="75"/>
                    </a:lnTo>
                    <a:lnTo>
                      <a:pt x="959" y="75"/>
                    </a:lnTo>
                    <a:lnTo>
                      <a:pt x="959" y="73"/>
                    </a:lnTo>
                    <a:lnTo>
                      <a:pt x="962" y="73"/>
                    </a:lnTo>
                    <a:lnTo>
                      <a:pt x="962" y="73"/>
                    </a:lnTo>
                    <a:lnTo>
                      <a:pt x="962" y="73"/>
                    </a:lnTo>
                    <a:lnTo>
                      <a:pt x="962" y="73"/>
                    </a:lnTo>
                    <a:lnTo>
                      <a:pt x="962" y="70"/>
                    </a:lnTo>
                    <a:lnTo>
                      <a:pt x="962" y="70"/>
                    </a:lnTo>
                    <a:lnTo>
                      <a:pt x="964" y="70"/>
                    </a:lnTo>
                    <a:lnTo>
                      <a:pt x="964" y="68"/>
                    </a:lnTo>
                    <a:lnTo>
                      <a:pt x="964" y="68"/>
                    </a:lnTo>
                    <a:lnTo>
                      <a:pt x="964" y="66"/>
                    </a:lnTo>
                    <a:lnTo>
                      <a:pt x="966" y="66"/>
                    </a:lnTo>
                    <a:lnTo>
                      <a:pt x="966" y="66"/>
                    </a:lnTo>
                    <a:lnTo>
                      <a:pt x="966" y="66"/>
                    </a:lnTo>
                    <a:lnTo>
                      <a:pt x="966" y="66"/>
                    </a:lnTo>
                    <a:lnTo>
                      <a:pt x="969" y="63"/>
                    </a:lnTo>
                    <a:lnTo>
                      <a:pt x="969" y="66"/>
                    </a:lnTo>
                    <a:lnTo>
                      <a:pt x="971" y="63"/>
                    </a:lnTo>
                    <a:lnTo>
                      <a:pt x="976" y="61"/>
                    </a:lnTo>
                    <a:lnTo>
                      <a:pt x="976" y="61"/>
                    </a:lnTo>
                    <a:lnTo>
                      <a:pt x="978" y="61"/>
                    </a:lnTo>
                    <a:lnTo>
                      <a:pt x="980" y="59"/>
                    </a:lnTo>
                    <a:lnTo>
                      <a:pt x="980" y="59"/>
                    </a:lnTo>
                    <a:lnTo>
                      <a:pt x="980" y="59"/>
                    </a:lnTo>
                    <a:lnTo>
                      <a:pt x="983" y="59"/>
                    </a:lnTo>
                    <a:lnTo>
                      <a:pt x="983" y="59"/>
                    </a:lnTo>
                    <a:lnTo>
                      <a:pt x="985" y="59"/>
                    </a:lnTo>
                    <a:lnTo>
                      <a:pt x="985" y="59"/>
                    </a:lnTo>
                    <a:lnTo>
                      <a:pt x="985" y="56"/>
                    </a:lnTo>
                    <a:lnTo>
                      <a:pt x="992" y="56"/>
                    </a:lnTo>
                    <a:lnTo>
                      <a:pt x="992" y="56"/>
                    </a:lnTo>
                    <a:lnTo>
                      <a:pt x="997" y="56"/>
                    </a:lnTo>
                    <a:lnTo>
                      <a:pt x="997" y="56"/>
                    </a:lnTo>
                    <a:lnTo>
                      <a:pt x="997" y="56"/>
                    </a:lnTo>
                    <a:lnTo>
                      <a:pt x="999" y="56"/>
                    </a:lnTo>
                    <a:lnTo>
                      <a:pt x="999" y="56"/>
                    </a:lnTo>
                    <a:lnTo>
                      <a:pt x="1002" y="56"/>
                    </a:lnTo>
                    <a:lnTo>
                      <a:pt x="1006" y="56"/>
                    </a:lnTo>
                    <a:lnTo>
                      <a:pt x="1006" y="59"/>
                    </a:lnTo>
                    <a:lnTo>
                      <a:pt x="1009" y="59"/>
                    </a:lnTo>
                    <a:lnTo>
                      <a:pt x="1009" y="59"/>
                    </a:lnTo>
                    <a:lnTo>
                      <a:pt x="1009" y="59"/>
                    </a:lnTo>
                    <a:lnTo>
                      <a:pt x="1011" y="59"/>
                    </a:lnTo>
                    <a:lnTo>
                      <a:pt x="1011" y="61"/>
                    </a:lnTo>
                    <a:lnTo>
                      <a:pt x="1011" y="61"/>
                    </a:lnTo>
                    <a:lnTo>
                      <a:pt x="1013" y="61"/>
                    </a:lnTo>
                    <a:lnTo>
                      <a:pt x="1013" y="59"/>
                    </a:lnTo>
                    <a:lnTo>
                      <a:pt x="1016" y="61"/>
                    </a:lnTo>
                    <a:lnTo>
                      <a:pt x="1016" y="61"/>
                    </a:lnTo>
                    <a:lnTo>
                      <a:pt x="1018" y="59"/>
                    </a:lnTo>
                    <a:lnTo>
                      <a:pt x="1018" y="59"/>
                    </a:lnTo>
                    <a:lnTo>
                      <a:pt x="1018" y="61"/>
                    </a:lnTo>
                    <a:lnTo>
                      <a:pt x="1021" y="61"/>
                    </a:lnTo>
                    <a:lnTo>
                      <a:pt x="1021" y="61"/>
                    </a:lnTo>
                    <a:lnTo>
                      <a:pt x="1025" y="61"/>
                    </a:lnTo>
                    <a:lnTo>
                      <a:pt x="1025" y="61"/>
                    </a:lnTo>
                    <a:lnTo>
                      <a:pt x="1028" y="63"/>
                    </a:lnTo>
                    <a:lnTo>
                      <a:pt x="1030" y="63"/>
                    </a:lnTo>
                    <a:lnTo>
                      <a:pt x="1030" y="63"/>
                    </a:lnTo>
                    <a:lnTo>
                      <a:pt x="1030" y="66"/>
                    </a:lnTo>
                    <a:lnTo>
                      <a:pt x="1030" y="68"/>
                    </a:lnTo>
                    <a:lnTo>
                      <a:pt x="1032" y="68"/>
                    </a:lnTo>
                    <a:lnTo>
                      <a:pt x="1032" y="68"/>
                    </a:lnTo>
                    <a:lnTo>
                      <a:pt x="1032" y="68"/>
                    </a:lnTo>
                    <a:lnTo>
                      <a:pt x="1035" y="70"/>
                    </a:lnTo>
                    <a:lnTo>
                      <a:pt x="1035" y="70"/>
                    </a:lnTo>
                    <a:lnTo>
                      <a:pt x="1035" y="68"/>
                    </a:lnTo>
                    <a:lnTo>
                      <a:pt x="1035" y="70"/>
                    </a:lnTo>
                    <a:lnTo>
                      <a:pt x="1037" y="70"/>
                    </a:lnTo>
                    <a:lnTo>
                      <a:pt x="1037" y="70"/>
                    </a:lnTo>
                    <a:lnTo>
                      <a:pt x="1037" y="70"/>
                    </a:lnTo>
                    <a:lnTo>
                      <a:pt x="1039" y="70"/>
                    </a:lnTo>
                    <a:lnTo>
                      <a:pt x="1037" y="70"/>
                    </a:lnTo>
                    <a:lnTo>
                      <a:pt x="1037" y="70"/>
                    </a:lnTo>
                    <a:lnTo>
                      <a:pt x="1039" y="73"/>
                    </a:lnTo>
                    <a:lnTo>
                      <a:pt x="1039" y="75"/>
                    </a:lnTo>
                    <a:lnTo>
                      <a:pt x="1042" y="75"/>
                    </a:lnTo>
                    <a:lnTo>
                      <a:pt x="1042" y="75"/>
                    </a:lnTo>
                    <a:lnTo>
                      <a:pt x="1044" y="75"/>
                    </a:lnTo>
                    <a:lnTo>
                      <a:pt x="1047" y="78"/>
                    </a:lnTo>
                    <a:lnTo>
                      <a:pt x="1049" y="80"/>
                    </a:lnTo>
                    <a:lnTo>
                      <a:pt x="1054" y="80"/>
                    </a:lnTo>
                    <a:lnTo>
                      <a:pt x="1054" y="82"/>
                    </a:lnTo>
                    <a:lnTo>
                      <a:pt x="1056" y="85"/>
                    </a:lnTo>
                    <a:lnTo>
                      <a:pt x="1056" y="85"/>
                    </a:lnTo>
                    <a:lnTo>
                      <a:pt x="1056" y="87"/>
                    </a:lnTo>
                    <a:lnTo>
                      <a:pt x="1058" y="85"/>
                    </a:lnTo>
                    <a:lnTo>
                      <a:pt x="1058" y="85"/>
                    </a:lnTo>
                    <a:lnTo>
                      <a:pt x="1058" y="85"/>
                    </a:lnTo>
                    <a:lnTo>
                      <a:pt x="1058" y="87"/>
                    </a:lnTo>
                    <a:lnTo>
                      <a:pt x="1061" y="87"/>
                    </a:lnTo>
                    <a:lnTo>
                      <a:pt x="1058" y="87"/>
                    </a:lnTo>
                    <a:lnTo>
                      <a:pt x="1061" y="87"/>
                    </a:lnTo>
                    <a:lnTo>
                      <a:pt x="1063" y="89"/>
                    </a:lnTo>
                    <a:lnTo>
                      <a:pt x="1063" y="87"/>
                    </a:lnTo>
                    <a:lnTo>
                      <a:pt x="1065" y="89"/>
                    </a:lnTo>
                    <a:lnTo>
                      <a:pt x="1065" y="89"/>
                    </a:lnTo>
                    <a:lnTo>
                      <a:pt x="1065" y="89"/>
                    </a:lnTo>
                    <a:lnTo>
                      <a:pt x="1065" y="89"/>
                    </a:lnTo>
                    <a:lnTo>
                      <a:pt x="1065" y="89"/>
                    </a:lnTo>
                    <a:lnTo>
                      <a:pt x="1068" y="92"/>
                    </a:lnTo>
                    <a:lnTo>
                      <a:pt x="1070" y="94"/>
                    </a:lnTo>
                    <a:lnTo>
                      <a:pt x="1070" y="92"/>
                    </a:lnTo>
                    <a:lnTo>
                      <a:pt x="1073" y="89"/>
                    </a:lnTo>
                    <a:lnTo>
                      <a:pt x="1075" y="92"/>
                    </a:lnTo>
                    <a:lnTo>
                      <a:pt x="1075" y="92"/>
                    </a:lnTo>
                    <a:lnTo>
                      <a:pt x="1075" y="94"/>
                    </a:lnTo>
                    <a:lnTo>
                      <a:pt x="1077" y="96"/>
                    </a:lnTo>
                    <a:lnTo>
                      <a:pt x="1080" y="96"/>
                    </a:lnTo>
                    <a:lnTo>
                      <a:pt x="1082" y="96"/>
                    </a:lnTo>
                    <a:lnTo>
                      <a:pt x="1082" y="99"/>
                    </a:lnTo>
                    <a:lnTo>
                      <a:pt x="1082" y="99"/>
                    </a:lnTo>
                    <a:lnTo>
                      <a:pt x="1084" y="99"/>
                    </a:lnTo>
                    <a:lnTo>
                      <a:pt x="1087" y="99"/>
                    </a:lnTo>
                    <a:lnTo>
                      <a:pt x="1089" y="104"/>
                    </a:lnTo>
                    <a:lnTo>
                      <a:pt x="1094" y="104"/>
                    </a:lnTo>
                    <a:lnTo>
                      <a:pt x="1094" y="106"/>
                    </a:lnTo>
                    <a:lnTo>
                      <a:pt x="1091" y="108"/>
                    </a:lnTo>
                    <a:lnTo>
                      <a:pt x="1096" y="108"/>
                    </a:lnTo>
                    <a:lnTo>
                      <a:pt x="1099" y="111"/>
                    </a:lnTo>
                    <a:lnTo>
                      <a:pt x="1101" y="111"/>
                    </a:lnTo>
                    <a:lnTo>
                      <a:pt x="1101" y="111"/>
                    </a:lnTo>
                    <a:lnTo>
                      <a:pt x="1103" y="113"/>
                    </a:lnTo>
                    <a:lnTo>
                      <a:pt x="1106" y="111"/>
                    </a:lnTo>
                    <a:lnTo>
                      <a:pt x="1108" y="111"/>
                    </a:lnTo>
                    <a:lnTo>
                      <a:pt x="1108" y="113"/>
                    </a:lnTo>
                    <a:lnTo>
                      <a:pt x="1108" y="113"/>
                    </a:lnTo>
                    <a:lnTo>
                      <a:pt x="1113" y="115"/>
                    </a:lnTo>
                    <a:lnTo>
                      <a:pt x="1113" y="115"/>
                    </a:lnTo>
                    <a:lnTo>
                      <a:pt x="1113" y="115"/>
                    </a:lnTo>
                    <a:lnTo>
                      <a:pt x="1115" y="118"/>
                    </a:lnTo>
                    <a:lnTo>
                      <a:pt x="1117" y="115"/>
                    </a:lnTo>
                    <a:lnTo>
                      <a:pt x="1120" y="113"/>
                    </a:lnTo>
                    <a:lnTo>
                      <a:pt x="1122" y="115"/>
                    </a:lnTo>
                    <a:lnTo>
                      <a:pt x="1122" y="113"/>
                    </a:lnTo>
                    <a:lnTo>
                      <a:pt x="1125" y="115"/>
                    </a:lnTo>
                    <a:lnTo>
                      <a:pt x="1127" y="113"/>
                    </a:lnTo>
                    <a:lnTo>
                      <a:pt x="1127" y="113"/>
                    </a:lnTo>
                    <a:lnTo>
                      <a:pt x="1127" y="113"/>
                    </a:lnTo>
                    <a:lnTo>
                      <a:pt x="1127" y="113"/>
                    </a:lnTo>
                    <a:lnTo>
                      <a:pt x="1129" y="113"/>
                    </a:lnTo>
                    <a:lnTo>
                      <a:pt x="1129" y="115"/>
                    </a:lnTo>
                    <a:lnTo>
                      <a:pt x="1129" y="115"/>
                    </a:lnTo>
                    <a:lnTo>
                      <a:pt x="1132" y="118"/>
                    </a:lnTo>
                    <a:lnTo>
                      <a:pt x="1132" y="118"/>
                    </a:lnTo>
                    <a:lnTo>
                      <a:pt x="1134" y="120"/>
                    </a:lnTo>
                    <a:lnTo>
                      <a:pt x="1136" y="122"/>
                    </a:lnTo>
                    <a:lnTo>
                      <a:pt x="1136" y="122"/>
                    </a:lnTo>
                    <a:lnTo>
                      <a:pt x="1136" y="125"/>
                    </a:lnTo>
                    <a:lnTo>
                      <a:pt x="1136" y="125"/>
                    </a:lnTo>
                    <a:lnTo>
                      <a:pt x="1139" y="125"/>
                    </a:lnTo>
                    <a:lnTo>
                      <a:pt x="1139" y="125"/>
                    </a:lnTo>
                    <a:lnTo>
                      <a:pt x="1146" y="122"/>
                    </a:lnTo>
                    <a:lnTo>
                      <a:pt x="1148" y="122"/>
                    </a:lnTo>
                    <a:lnTo>
                      <a:pt x="1150" y="122"/>
                    </a:lnTo>
                    <a:lnTo>
                      <a:pt x="1150" y="122"/>
                    </a:lnTo>
                    <a:lnTo>
                      <a:pt x="1155" y="125"/>
                    </a:lnTo>
                    <a:lnTo>
                      <a:pt x="1158" y="122"/>
                    </a:lnTo>
                    <a:lnTo>
                      <a:pt x="1158" y="122"/>
                    </a:lnTo>
                    <a:lnTo>
                      <a:pt x="1160" y="122"/>
                    </a:lnTo>
                    <a:lnTo>
                      <a:pt x="1160" y="120"/>
                    </a:lnTo>
                    <a:lnTo>
                      <a:pt x="1162" y="120"/>
                    </a:lnTo>
                    <a:lnTo>
                      <a:pt x="1162" y="120"/>
                    </a:lnTo>
                    <a:lnTo>
                      <a:pt x="1165" y="118"/>
                    </a:lnTo>
                    <a:lnTo>
                      <a:pt x="1165" y="115"/>
                    </a:lnTo>
                    <a:lnTo>
                      <a:pt x="1167" y="115"/>
                    </a:lnTo>
                    <a:lnTo>
                      <a:pt x="1169" y="115"/>
                    </a:lnTo>
                    <a:lnTo>
                      <a:pt x="1172" y="115"/>
                    </a:lnTo>
                    <a:lnTo>
                      <a:pt x="1174" y="113"/>
                    </a:lnTo>
                    <a:lnTo>
                      <a:pt x="1174" y="113"/>
                    </a:lnTo>
                    <a:lnTo>
                      <a:pt x="1205" y="141"/>
                    </a:lnTo>
                    <a:lnTo>
                      <a:pt x="1217" y="153"/>
                    </a:lnTo>
                    <a:lnTo>
                      <a:pt x="1226" y="163"/>
                    </a:lnTo>
                    <a:lnTo>
                      <a:pt x="1231" y="165"/>
                    </a:lnTo>
                    <a:lnTo>
                      <a:pt x="1231" y="167"/>
                    </a:lnTo>
                    <a:lnTo>
                      <a:pt x="1233" y="184"/>
                    </a:lnTo>
                    <a:lnTo>
                      <a:pt x="1233" y="198"/>
                    </a:lnTo>
                    <a:lnTo>
                      <a:pt x="1233" y="198"/>
                    </a:lnTo>
                    <a:lnTo>
                      <a:pt x="1238" y="198"/>
                    </a:lnTo>
                    <a:lnTo>
                      <a:pt x="1238" y="198"/>
                    </a:lnTo>
                    <a:lnTo>
                      <a:pt x="1240" y="198"/>
                    </a:lnTo>
                    <a:lnTo>
                      <a:pt x="1240" y="198"/>
                    </a:lnTo>
                    <a:lnTo>
                      <a:pt x="1243" y="198"/>
                    </a:lnTo>
                    <a:lnTo>
                      <a:pt x="1245" y="198"/>
                    </a:lnTo>
                    <a:lnTo>
                      <a:pt x="1247" y="198"/>
                    </a:lnTo>
                    <a:lnTo>
                      <a:pt x="1250" y="198"/>
                    </a:lnTo>
                    <a:lnTo>
                      <a:pt x="1252" y="198"/>
                    </a:lnTo>
                    <a:lnTo>
                      <a:pt x="1254" y="200"/>
                    </a:lnTo>
                    <a:lnTo>
                      <a:pt x="1257" y="200"/>
                    </a:lnTo>
                    <a:lnTo>
                      <a:pt x="1257" y="200"/>
                    </a:lnTo>
                    <a:lnTo>
                      <a:pt x="1259" y="200"/>
                    </a:lnTo>
                    <a:lnTo>
                      <a:pt x="1259" y="198"/>
                    </a:lnTo>
                    <a:lnTo>
                      <a:pt x="1259" y="198"/>
                    </a:lnTo>
                    <a:lnTo>
                      <a:pt x="1264" y="198"/>
                    </a:lnTo>
                    <a:lnTo>
                      <a:pt x="1266" y="196"/>
                    </a:lnTo>
                    <a:lnTo>
                      <a:pt x="1269" y="196"/>
                    </a:lnTo>
                    <a:lnTo>
                      <a:pt x="1271" y="193"/>
                    </a:lnTo>
                    <a:lnTo>
                      <a:pt x="1276" y="193"/>
                    </a:lnTo>
                    <a:lnTo>
                      <a:pt x="1278" y="191"/>
                    </a:lnTo>
                    <a:lnTo>
                      <a:pt x="1278" y="191"/>
                    </a:lnTo>
                    <a:lnTo>
                      <a:pt x="1278" y="189"/>
                    </a:lnTo>
                    <a:lnTo>
                      <a:pt x="1278" y="189"/>
                    </a:lnTo>
                    <a:lnTo>
                      <a:pt x="1280" y="186"/>
                    </a:lnTo>
                    <a:lnTo>
                      <a:pt x="1280" y="186"/>
                    </a:lnTo>
                    <a:lnTo>
                      <a:pt x="1283" y="186"/>
                    </a:lnTo>
                    <a:lnTo>
                      <a:pt x="1283" y="186"/>
                    </a:lnTo>
                    <a:lnTo>
                      <a:pt x="1285" y="186"/>
                    </a:lnTo>
                    <a:lnTo>
                      <a:pt x="1285" y="186"/>
                    </a:lnTo>
                    <a:lnTo>
                      <a:pt x="1288" y="186"/>
                    </a:lnTo>
                    <a:lnTo>
                      <a:pt x="1288" y="191"/>
                    </a:lnTo>
                    <a:lnTo>
                      <a:pt x="1290" y="191"/>
                    </a:lnTo>
                    <a:lnTo>
                      <a:pt x="1290" y="191"/>
                    </a:lnTo>
                    <a:lnTo>
                      <a:pt x="1295" y="191"/>
                    </a:lnTo>
                    <a:lnTo>
                      <a:pt x="1295" y="189"/>
                    </a:lnTo>
                    <a:lnTo>
                      <a:pt x="1295" y="191"/>
                    </a:lnTo>
                    <a:lnTo>
                      <a:pt x="1297" y="189"/>
                    </a:lnTo>
                    <a:lnTo>
                      <a:pt x="1297" y="189"/>
                    </a:lnTo>
                    <a:lnTo>
                      <a:pt x="1297" y="186"/>
                    </a:lnTo>
                    <a:lnTo>
                      <a:pt x="1297" y="186"/>
                    </a:lnTo>
                    <a:lnTo>
                      <a:pt x="1299" y="186"/>
                    </a:lnTo>
                    <a:lnTo>
                      <a:pt x="1299" y="186"/>
                    </a:lnTo>
                    <a:lnTo>
                      <a:pt x="1302" y="189"/>
                    </a:lnTo>
                    <a:lnTo>
                      <a:pt x="1304" y="189"/>
                    </a:lnTo>
                    <a:lnTo>
                      <a:pt x="1302" y="191"/>
                    </a:lnTo>
                    <a:lnTo>
                      <a:pt x="1304" y="193"/>
                    </a:lnTo>
                    <a:lnTo>
                      <a:pt x="1304" y="193"/>
                    </a:lnTo>
                    <a:lnTo>
                      <a:pt x="1306" y="193"/>
                    </a:lnTo>
                    <a:lnTo>
                      <a:pt x="1309" y="191"/>
                    </a:lnTo>
                    <a:lnTo>
                      <a:pt x="1309" y="191"/>
                    </a:lnTo>
                    <a:lnTo>
                      <a:pt x="1309" y="191"/>
                    </a:lnTo>
                    <a:lnTo>
                      <a:pt x="1309" y="189"/>
                    </a:lnTo>
                    <a:lnTo>
                      <a:pt x="1311" y="189"/>
                    </a:lnTo>
                    <a:lnTo>
                      <a:pt x="1313" y="189"/>
                    </a:lnTo>
                    <a:lnTo>
                      <a:pt x="1313" y="189"/>
                    </a:lnTo>
                    <a:lnTo>
                      <a:pt x="1313" y="189"/>
                    </a:lnTo>
                    <a:lnTo>
                      <a:pt x="1313" y="189"/>
                    </a:lnTo>
                    <a:lnTo>
                      <a:pt x="1316" y="191"/>
                    </a:lnTo>
                    <a:lnTo>
                      <a:pt x="1316" y="191"/>
                    </a:lnTo>
                    <a:lnTo>
                      <a:pt x="1318" y="193"/>
                    </a:lnTo>
                    <a:lnTo>
                      <a:pt x="1321" y="196"/>
                    </a:lnTo>
                    <a:lnTo>
                      <a:pt x="1321" y="196"/>
                    </a:lnTo>
                    <a:lnTo>
                      <a:pt x="1323" y="196"/>
                    </a:lnTo>
                    <a:lnTo>
                      <a:pt x="1323" y="196"/>
                    </a:lnTo>
                    <a:lnTo>
                      <a:pt x="1325" y="198"/>
                    </a:lnTo>
                    <a:lnTo>
                      <a:pt x="1325" y="198"/>
                    </a:lnTo>
                    <a:lnTo>
                      <a:pt x="1325" y="198"/>
                    </a:lnTo>
                    <a:lnTo>
                      <a:pt x="1325" y="198"/>
                    </a:lnTo>
                    <a:lnTo>
                      <a:pt x="1325" y="200"/>
                    </a:lnTo>
                    <a:lnTo>
                      <a:pt x="1328" y="200"/>
                    </a:lnTo>
                    <a:lnTo>
                      <a:pt x="1328" y="200"/>
                    </a:lnTo>
                    <a:lnTo>
                      <a:pt x="1330" y="203"/>
                    </a:lnTo>
                    <a:lnTo>
                      <a:pt x="1330" y="205"/>
                    </a:lnTo>
                    <a:lnTo>
                      <a:pt x="1330" y="205"/>
                    </a:lnTo>
                    <a:lnTo>
                      <a:pt x="1332" y="205"/>
                    </a:lnTo>
                    <a:lnTo>
                      <a:pt x="1335" y="205"/>
                    </a:lnTo>
                    <a:lnTo>
                      <a:pt x="1337" y="205"/>
                    </a:lnTo>
                    <a:lnTo>
                      <a:pt x="1337" y="203"/>
                    </a:lnTo>
                    <a:lnTo>
                      <a:pt x="1337" y="200"/>
                    </a:lnTo>
                    <a:lnTo>
                      <a:pt x="1339" y="200"/>
                    </a:lnTo>
                    <a:lnTo>
                      <a:pt x="1339" y="200"/>
                    </a:lnTo>
                    <a:lnTo>
                      <a:pt x="1342" y="203"/>
                    </a:lnTo>
                    <a:lnTo>
                      <a:pt x="1342" y="200"/>
                    </a:lnTo>
                    <a:lnTo>
                      <a:pt x="1344" y="198"/>
                    </a:lnTo>
                    <a:lnTo>
                      <a:pt x="1344" y="200"/>
                    </a:lnTo>
                    <a:lnTo>
                      <a:pt x="1347" y="200"/>
                    </a:lnTo>
                    <a:lnTo>
                      <a:pt x="1349" y="203"/>
                    </a:lnTo>
                    <a:lnTo>
                      <a:pt x="1349" y="205"/>
                    </a:lnTo>
                    <a:lnTo>
                      <a:pt x="1349" y="207"/>
                    </a:lnTo>
                    <a:lnTo>
                      <a:pt x="1349" y="205"/>
                    </a:lnTo>
                    <a:lnTo>
                      <a:pt x="1351" y="207"/>
                    </a:lnTo>
                    <a:lnTo>
                      <a:pt x="1351" y="207"/>
                    </a:lnTo>
                    <a:lnTo>
                      <a:pt x="1351" y="207"/>
                    </a:lnTo>
                    <a:lnTo>
                      <a:pt x="1354" y="207"/>
                    </a:lnTo>
                    <a:lnTo>
                      <a:pt x="1356" y="207"/>
                    </a:lnTo>
                    <a:lnTo>
                      <a:pt x="1356" y="207"/>
                    </a:lnTo>
                    <a:lnTo>
                      <a:pt x="1358" y="207"/>
                    </a:lnTo>
                    <a:lnTo>
                      <a:pt x="1358" y="207"/>
                    </a:lnTo>
                    <a:lnTo>
                      <a:pt x="1358" y="207"/>
                    </a:lnTo>
                    <a:lnTo>
                      <a:pt x="1361" y="207"/>
                    </a:lnTo>
                    <a:lnTo>
                      <a:pt x="1361" y="207"/>
                    </a:lnTo>
                    <a:lnTo>
                      <a:pt x="1361" y="207"/>
                    </a:lnTo>
                    <a:lnTo>
                      <a:pt x="1363" y="207"/>
                    </a:lnTo>
                    <a:lnTo>
                      <a:pt x="1365" y="207"/>
                    </a:lnTo>
                    <a:lnTo>
                      <a:pt x="1368" y="207"/>
                    </a:lnTo>
                    <a:lnTo>
                      <a:pt x="1368" y="207"/>
                    </a:lnTo>
                    <a:lnTo>
                      <a:pt x="1368" y="207"/>
                    </a:lnTo>
                    <a:lnTo>
                      <a:pt x="1370" y="207"/>
                    </a:lnTo>
                    <a:lnTo>
                      <a:pt x="1370" y="207"/>
                    </a:lnTo>
                    <a:lnTo>
                      <a:pt x="1373" y="205"/>
                    </a:lnTo>
                    <a:lnTo>
                      <a:pt x="1373" y="205"/>
                    </a:lnTo>
                    <a:lnTo>
                      <a:pt x="1375" y="207"/>
                    </a:lnTo>
                    <a:lnTo>
                      <a:pt x="1375" y="207"/>
                    </a:lnTo>
                    <a:lnTo>
                      <a:pt x="1375" y="207"/>
                    </a:lnTo>
                    <a:lnTo>
                      <a:pt x="1375" y="210"/>
                    </a:lnTo>
                    <a:lnTo>
                      <a:pt x="1375" y="210"/>
                    </a:lnTo>
                    <a:lnTo>
                      <a:pt x="1375" y="210"/>
                    </a:lnTo>
                    <a:lnTo>
                      <a:pt x="1377" y="210"/>
                    </a:lnTo>
                    <a:lnTo>
                      <a:pt x="1377" y="212"/>
                    </a:lnTo>
                    <a:lnTo>
                      <a:pt x="1377" y="212"/>
                    </a:lnTo>
                    <a:lnTo>
                      <a:pt x="1377" y="215"/>
                    </a:lnTo>
                    <a:lnTo>
                      <a:pt x="1377" y="212"/>
                    </a:lnTo>
                    <a:lnTo>
                      <a:pt x="1380" y="215"/>
                    </a:lnTo>
                    <a:lnTo>
                      <a:pt x="1382" y="215"/>
                    </a:lnTo>
                    <a:lnTo>
                      <a:pt x="1382" y="217"/>
                    </a:lnTo>
                    <a:lnTo>
                      <a:pt x="1380" y="219"/>
                    </a:lnTo>
                    <a:lnTo>
                      <a:pt x="1380" y="219"/>
                    </a:lnTo>
                    <a:lnTo>
                      <a:pt x="1382" y="219"/>
                    </a:lnTo>
                    <a:lnTo>
                      <a:pt x="1382" y="219"/>
                    </a:lnTo>
                    <a:lnTo>
                      <a:pt x="1382" y="219"/>
                    </a:lnTo>
                    <a:lnTo>
                      <a:pt x="1382" y="219"/>
                    </a:lnTo>
                    <a:lnTo>
                      <a:pt x="1384" y="219"/>
                    </a:lnTo>
                    <a:lnTo>
                      <a:pt x="1384" y="219"/>
                    </a:lnTo>
                    <a:lnTo>
                      <a:pt x="1384" y="217"/>
                    </a:lnTo>
                    <a:lnTo>
                      <a:pt x="1384" y="219"/>
                    </a:lnTo>
                    <a:lnTo>
                      <a:pt x="1387" y="219"/>
                    </a:lnTo>
                    <a:lnTo>
                      <a:pt x="1387" y="219"/>
                    </a:lnTo>
                    <a:lnTo>
                      <a:pt x="1389" y="219"/>
                    </a:lnTo>
                    <a:lnTo>
                      <a:pt x="1389" y="219"/>
                    </a:lnTo>
                    <a:lnTo>
                      <a:pt x="1389" y="219"/>
                    </a:lnTo>
                    <a:lnTo>
                      <a:pt x="1389" y="219"/>
                    </a:lnTo>
                    <a:lnTo>
                      <a:pt x="1391" y="217"/>
                    </a:lnTo>
                    <a:lnTo>
                      <a:pt x="1391" y="219"/>
                    </a:lnTo>
                    <a:lnTo>
                      <a:pt x="1391" y="222"/>
                    </a:lnTo>
                    <a:lnTo>
                      <a:pt x="1391" y="222"/>
                    </a:lnTo>
                    <a:lnTo>
                      <a:pt x="1394" y="222"/>
                    </a:lnTo>
                    <a:lnTo>
                      <a:pt x="1394" y="219"/>
                    </a:lnTo>
                    <a:lnTo>
                      <a:pt x="1394" y="219"/>
                    </a:lnTo>
                    <a:lnTo>
                      <a:pt x="1394" y="222"/>
                    </a:lnTo>
                    <a:lnTo>
                      <a:pt x="1394" y="222"/>
                    </a:lnTo>
                    <a:lnTo>
                      <a:pt x="1394" y="224"/>
                    </a:lnTo>
                    <a:lnTo>
                      <a:pt x="1394" y="224"/>
                    </a:lnTo>
                    <a:lnTo>
                      <a:pt x="1394" y="224"/>
                    </a:lnTo>
                    <a:lnTo>
                      <a:pt x="1394" y="224"/>
                    </a:lnTo>
                    <a:lnTo>
                      <a:pt x="1394" y="224"/>
                    </a:lnTo>
                    <a:lnTo>
                      <a:pt x="1394" y="224"/>
                    </a:lnTo>
                    <a:lnTo>
                      <a:pt x="1396" y="226"/>
                    </a:lnTo>
                    <a:lnTo>
                      <a:pt x="1394" y="226"/>
                    </a:lnTo>
                    <a:lnTo>
                      <a:pt x="1394" y="226"/>
                    </a:lnTo>
                    <a:lnTo>
                      <a:pt x="1396" y="226"/>
                    </a:lnTo>
                    <a:lnTo>
                      <a:pt x="1396" y="226"/>
                    </a:lnTo>
                    <a:lnTo>
                      <a:pt x="1396" y="226"/>
                    </a:lnTo>
                    <a:lnTo>
                      <a:pt x="1396" y="229"/>
                    </a:lnTo>
                    <a:lnTo>
                      <a:pt x="1399" y="229"/>
                    </a:lnTo>
                    <a:lnTo>
                      <a:pt x="1399" y="229"/>
                    </a:lnTo>
                    <a:lnTo>
                      <a:pt x="1399" y="229"/>
                    </a:lnTo>
                    <a:lnTo>
                      <a:pt x="1399" y="229"/>
                    </a:lnTo>
                    <a:lnTo>
                      <a:pt x="1399" y="231"/>
                    </a:lnTo>
                    <a:lnTo>
                      <a:pt x="1399" y="231"/>
                    </a:lnTo>
                    <a:lnTo>
                      <a:pt x="1399" y="229"/>
                    </a:lnTo>
                    <a:lnTo>
                      <a:pt x="1401" y="229"/>
                    </a:lnTo>
                    <a:lnTo>
                      <a:pt x="1401" y="231"/>
                    </a:lnTo>
                    <a:lnTo>
                      <a:pt x="1403" y="231"/>
                    </a:lnTo>
                    <a:lnTo>
                      <a:pt x="1403" y="231"/>
                    </a:lnTo>
                    <a:lnTo>
                      <a:pt x="1403" y="231"/>
                    </a:lnTo>
                    <a:lnTo>
                      <a:pt x="1403" y="231"/>
                    </a:lnTo>
                    <a:lnTo>
                      <a:pt x="1406" y="231"/>
                    </a:lnTo>
                    <a:lnTo>
                      <a:pt x="1406" y="233"/>
                    </a:lnTo>
                    <a:lnTo>
                      <a:pt x="1408" y="233"/>
                    </a:lnTo>
                    <a:lnTo>
                      <a:pt x="1408" y="231"/>
                    </a:lnTo>
                    <a:lnTo>
                      <a:pt x="1408" y="231"/>
                    </a:lnTo>
                    <a:lnTo>
                      <a:pt x="1413" y="231"/>
                    </a:lnTo>
                    <a:lnTo>
                      <a:pt x="1413" y="231"/>
                    </a:lnTo>
                    <a:lnTo>
                      <a:pt x="1413" y="231"/>
                    </a:lnTo>
                    <a:lnTo>
                      <a:pt x="1413" y="231"/>
                    </a:lnTo>
                    <a:lnTo>
                      <a:pt x="1410" y="233"/>
                    </a:lnTo>
                    <a:lnTo>
                      <a:pt x="1410" y="236"/>
                    </a:lnTo>
                    <a:lnTo>
                      <a:pt x="1413" y="236"/>
                    </a:lnTo>
                    <a:lnTo>
                      <a:pt x="1415" y="238"/>
                    </a:lnTo>
                    <a:lnTo>
                      <a:pt x="1415" y="241"/>
                    </a:lnTo>
                    <a:lnTo>
                      <a:pt x="1417" y="241"/>
                    </a:lnTo>
                    <a:lnTo>
                      <a:pt x="1417" y="243"/>
                    </a:lnTo>
                    <a:lnTo>
                      <a:pt x="1417" y="243"/>
                    </a:lnTo>
                    <a:lnTo>
                      <a:pt x="1420" y="243"/>
                    </a:lnTo>
                    <a:lnTo>
                      <a:pt x="1420" y="245"/>
                    </a:lnTo>
                    <a:lnTo>
                      <a:pt x="1420" y="245"/>
                    </a:lnTo>
                    <a:lnTo>
                      <a:pt x="1420" y="248"/>
                    </a:lnTo>
                    <a:lnTo>
                      <a:pt x="1417" y="250"/>
                    </a:lnTo>
                    <a:lnTo>
                      <a:pt x="1417" y="250"/>
                    </a:lnTo>
                    <a:lnTo>
                      <a:pt x="1417" y="250"/>
                    </a:lnTo>
                    <a:lnTo>
                      <a:pt x="1415" y="250"/>
                    </a:lnTo>
                    <a:lnTo>
                      <a:pt x="1415" y="250"/>
                    </a:lnTo>
                    <a:lnTo>
                      <a:pt x="1415" y="252"/>
                    </a:lnTo>
                    <a:lnTo>
                      <a:pt x="1417" y="252"/>
                    </a:lnTo>
                    <a:lnTo>
                      <a:pt x="1417" y="252"/>
                    </a:lnTo>
                    <a:lnTo>
                      <a:pt x="1417" y="257"/>
                    </a:lnTo>
                    <a:lnTo>
                      <a:pt x="1415" y="257"/>
                    </a:lnTo>
                    <a:lnTo>
                      <a:pt x="1415" y="259"/>
                    </a:lnTo>
                    <a:lnTo>
                      <a:pt x="1413" y="259"/>
                    </a:lnTo>
                    <a:lnTo>
                      <a:pt x="1413" y="259"/>
                    </a:lnTo>
                    <a:lnTo>
                      <a:pt x="1410" y="264"/>
                    </a:lnTo>
                    <a:lnTo>
                      <a:pt x="1413" y="264"/>
                    </a:lnTo>
                    <a:lnTo>
                      <a:pt x="1413" y="266"/>
                    </a:lnTo>
                    <a:lnTo>
                      <a:pt x="1413" y="269"/>
                    </a:lnTo>
                    <a:lnTo>
                      <a:pt x="1410" y="269"/>
                    </a:lnTo>
                    <a:lnTo>
                      <a:pt x="1410" y="269"/>
                    </a:lnTo>
                    <a:lnTo>
                      <a:pt x="1408" y="271"/>
                    </a:lnTo>
                    <a:lnTo>
                      <a:pt x="1408" y="274"/>
                    </a:lnTo>
                    <a:lnTo>
                      <a:pt x="1406" y="274"/>
                    </a:lnTo>
                    <a:lnTo>
                      <a:pt x="1406" y="274"/>
                    </a:lnTo>
                    <a:lnTo>
                      <a:pt x="1406" y="274"/>
                    </a:lnTo>
                    <a:lnTo>
                      <a:pt x="1406" y="271"/>
                    </a:lnTo>
                    <a:lnTo>
                      <a:pt x="1403" y="271"/>
                    </a:lnTo>
                    <a:lnTo>
                      <a:pt x="1403" y="274"/>
                    </a:lnTo>
                    <a:lnTo>
                      <a:pt x="1403" y="274"/>
                    </a:lnTo>
                    <a:lnTo>
                      <a:pt x="1401" y="276"/>
                    </a:lnTo>
                    <a:lnTo>
                      <a:pt x="1401" y="276"/>
                    </a:lnTo>
                    <a:lnTo>
                      <a:pt x="1401" y="278"/>
                    </a:lnTo>
                    <a:lnTo>
                      <a:pt x="1399" y="278"/>
                    </a:lnTo>
                    <a:lnTo>
                      <a:pt x="1399" y="283"/>
                    </a:lnTo>
                    <a:lnTo>
                      <a:pt x="1396" y="283"/>
                    </a:lnTo>
                    <a:lnTo>
                      <a:pt x="1396" y="285"/>
                    </a:lnTo>
                    <a:lnTo>
                      <a:pt x="1396" y="288"/>
                    </a:lnTo>
                    <a:lnTo>
                      <a:pt x="1394" y="288"/>
                    </a:lnTo>
                    <a:lnTo>
                      <a:pt x="1394" y="290"/>
                    </a:lnTo>
                    <a:lnTo>
                      <a:pt x="1394" y="290"/>
                    </a:lnTo>
                    <a:lnTo>
                      <a:pt x="1391" y="292"/>
                    </a:lnTo>
                    <a:lnTo>
                      <a:pt x="1391" y="290"/>
                    </a:lnTo>
                    <a:lnTo>
                      <a:pt x="1389" y="290"/>
                    </a:lnTo>
                    <a:lnTo>
                      <a:pt x="1391" y="288"/>
                    </a:lnTo>
                    <a:lnTo>
                      <a:pt x="1389" y="288"/>
                    </a:lnTo>
                    <a:lnTo>
                      <a:pt x="1389" y="288"/>
                    </a:lnTo>
                    <a:lnTo>
                      <a:pt x="1389" y="290"/>
                    </a:lnTo>
                    <a:lnTo>
                      <a:pt x="1387" y="292"/>
                    </a:lnTo>
                    <a:lnTo>
                      <a:pt x="1387" y="292"/>
                    </a:lnTo>
                    <a:lnTo>
                      <a:pt x="1384" y="297"/>
                    </a:lnTo>
                    <a:lnTo>
                      <a:pt x="1382" y="300"/>
                    </a:lnTo>
                    <a:lnTo>
                      <a:pt x="1382" y="300"/>
                    </a:lnTo>
                    <a:lnTo>
                      <a:pt x="1380" y="300"/>
                    </a:lnTo>
                    <a:lnTo>
                      <a:pt x="1380" y="302"/>
                    </a:lnTo>
                    <a:lnTo>
                      <a:pt x="1380" y="302"/>
                    </a:lnTo>
                    <a:lnTo>
                      <a:pt x="1380" y="302"/>
                    </a:lnTo>
                    <a:lnTo>
                      <a:pt x="1382" y="302"/>
                    </a:lnTo>
                    <a:lnTo>
                      <a:pt x="1382" y="304"/>
                    </a:lnTo>
                    <a:lnTo>
                      <a:pt x="1382" y="304"/>
                    </a:lnTo>
                    <a:lnTo>
                      <a:pt x="1382" y="307"/>
                    </a:lnTo>
                    <a:lnTo>
                      <a:pt x="1382" y="307"/>
                    </a:lnTo>
                    <a:lnTo>
                      <a:pt x="1380" y="307"/>
                    </a:lnTo>
                    <a:lnTo>
                      <a:pt x="1377" y="307"/>
                    </a:lnTo>
                    <a:lnTo>
                      <a:pt x="1377" y="307"/>
                    </a:lnTo>
                    <a:lnTo>
                      <a:pt x="1377" y="307"/>
                    </a:lnTo>
                    <a:lnTo>
                      <a:pt x="1375" y="307"/>
                    </a:lnTo>
                    <a:lnTo>
                      <a:pt x="1373" y="304"/>
                    </a:lnTo>
                    <a:lnTo>
                      <a:pt x="1373" y="304"/>
                    </a:lnTo>
                    <a:lnTo>
                      <a:pt x="1370" y="307"/>
                    </a:lnTo>
                    <a:lnTo>
                      <a:pt x="1370" y="307"/>
                    </a:lnTo>
                    <a:lnTo>
                      <a:pt x="1370" y="307"/>
                    </a:lnTo>
                    <a:lnTo>
                      <a:pt x="1370" y="307"/>
                    </a:lnTo>
                    <a:lnTo>
                      <a:pt x="1368" y="307"/>
                    </a:lnTo>
                    <a:lnTo>
                      <a:pt x="1365" y="309"/>
                    </a:lnTo>
                    <a:lnTo>
                      <a:pt x="1365" y="311"/>
                    </a:lnTo>
                    <a:lnTo>
                      <a:pt x="1365" y="314"/>
                    </a:lnTo>
                    <a:lnTo>
                      <a:pt x="1365" y="316"/>
                    </a:lnTo>
                    <a:lnTo>
                      <a:pt x="1363" y="321"/>
                    </a:lnTo>
                    <a:lnTo>
                      <a:pt x="1363" y="323"/>
                    </a:lnTo>
                    <a:lnTo>
                      <a:pt x="1363" y="323"/>
                    </a:lnTo>
                    <a:lnTo>
                      <a:pt x="1365" y="323"/>
                    </a:lnTo>
                    <a:lnTo>
                      <a:pt x="1363" y="326"/>
                    </a:lnTo>
                    <a:lnTo>
                      <a:pt x="1363" y="328"/>
                    </a:lnTo>
                    <a:lnTo>
                      <a:pt x="1361" y="328"/>
                    </a:lnTo>
                    <a:lnTo>
                      <a:pt x="1361" y="333"/>
                    </a:lnTo>
                    <a:lnTo>
                      <a:pt x="1358" y="335"/>
                    </a:lnTo>
                    <a:lnTo>
                      <a:pt x="1361" y="335"/>
                    </a:lnTo>
                    <a:lnTo>
                      <a:pt x="1361" y="335"/>
                    </a:lnTo>
                    <a:lnTo>
                      <a:pt x="1365" y="335"/>
                    </a:lnTo>
                    <a:lnTo>
                      <a:pt x="1365" y="337"/>
                    </a:lnTo>
                    <a:lnTo>
                      <a:pt x="1368" y="335"/>
                    </a:lnTo>
                    <a:lnTo>
                      <a:pt x="1370" y="337"/>
                    </a:lnTo>
                    <a:lnTo>
                      <a:pt x="1370" y="337"/>
                    </a:lnTo>
                    <a:lnTo>
                      <a:pt x="1370" y="340"/>
                    </a:lnTo>
                    <a:lnTo>
                      <a:pt x="1370" y="342"/>
                    </a:lnTo>
                    <a:lnTo>
                      <a:pt x="1370" y="342"/>
                    </a:lnTo>
                    <a:lnTo>
                      <a:pt x="1370" y="342"/>
                    </a:lnTo>
                    <a:lnTo>
                      <a:pt x="1370" y="344"/>
                    </a:lnTo>
                    <a:lnTo>
                      <a:pt x="1368" y="344"/>
                    </a:lnTo>
                    <a:lnTo>
                      <a:pt x="1368" y="344"/>
                    </a:lnTo>
                    <a:lnTo>
                      <a:pt x="1368" y="344"/>
                    </a:lnTo>
                    <a:lnTo>
                      <a:pt x="1368" y="347"/>
                    </a:lnTo>
                    <a:lnTo>
                      <a:pt x="1368" y="349"/>
                    </a:lnTo>
                    <a:lnTo>
                      <a:pt x="1365" y="349"/>
                    </a:lnTo>
                    <a:lnTo>
                      <a:pt x="1365" y="347"/>
                    </a:lnTo>
                    <a:lnTo>
                      <a:pt x="1363" y="349"/>
                    </a:lnTo>
                    <a:lnTo>
                      <a:pt x="1361" y="349"/>
                    </a:lnTo>
                    <a:lnTo>
                      <a:pt x="1361" y="352"/>
                    </a:lnTo>
                    <a:lnTo>
                      <a:pt x="1358" y="349"/>
                    </a:lnTo>
                    <a:lnTo>
                      <a:pt x="1358" y="349"/>
                    </a:lnTo>
                    <a:lnTo>
                      <a:pt x="1358" y="347"/>
                    </a:lnTo>
                    <a:lnTo>
                      <a:pt x="1356" y="347"/>
                    </a:lnTo>
                    <a:lnTo>
                      <a:pt x="1356" y="347"/>
                    </a:lnTo>
                    <a:lnTo>
                      <a:pt x="1351" y="347"/>
                    </a:lnTo>
                    <a:lnTo>
                      <a:pt x="1351" y="347"/>
                    </a:lnTo>
                    <a:lnTo>
                      <a:pt x="1351" y="349"/>
                    </a:lnTo>
                    <a:lnTo>
                      <a:pt x="1349" y="349"/>
                    </a:lnTo>
                    <a:lnTo>
                      <a:pt x="1349" y="347"/>
                    </a:lnTo>
                    <a:lnTo>
                      <a:pt x="1347" y="347"/>
                    </a:lnTo>
                    <a:lnTo>
                      <a:pt x="1347" y="347"/>
                    </a:lnTo>
                    <a:lnTo>
                      <a:pt x="1344" y="347"/>
                    </a:lnTo>
                    <a:lnTo>
                      <a:pt x="1344" y="347"/>
                    </a:lnTo>
                    <a:lnTo>
                      <a:pt x="1342" y="347"/>
                    </a:lnTo>
                    <a:lnTo>
                      <a:pt x="1339" y="347"/>
                    </a:lnTo>
                    <a:lnTo>
                      <a:pt x="1339" y="349"/>
                    </a:lnTo>
                    <a:lnTo>
                      <a:pt x="1339" y="354"/>
                    </a:lnTo>
                    <a:lnTo>
                      <a:pt x="1337" y="356"/>
                    </a:lnTo>
                    <a:lnTo>
                      <a:pt x="1335" y="361"/>
                    </a:lnTo>
                    <a:lnTo>
                      <a:pt x="1332" y="361"/>
                    </a:lnTo>
                    <a:lnTo>
                      <a:pt x="1332" y="363"/>
                    </a:lnTo>
                    <a:lnTo>
                      <a:pt x="1332" y="363"/>
                    </a:lnTo>
                    <a:lnTo>
                      <a:pt x="1332" y="366"/>
                    </a:lnTo>
                    <a:lnTo>
                      <a:pt x="1330" y="370"/>
                    </a:lnTo>
                    <a:lnTo>
                      <a:pt x="1330" y="373"/>
                    </a:lnTo>
                    <a:lnTo>
                      <a:pt x="1330" y="373"/>
                    </a:lnTo>
                    <a:lnTo>
                      <a:pt x="1332" y="373"/>
                    </a:lnTo>
                    <a:lnTo>
                      <a:pt x="1332" y="373"/>
                    </a:lnTo>
                    <a:lnTo>
                      <a:pt x="1330" y="380"/>
                    </a:lnTo>
                    <a:lnTo>
                      <a:pt x="1330" y="382"/>
                    </a:lnTo>
                    <a:lnTo>
                      <a:pt x="1330" y="385"/>
                    </a:lnTo>
                    <a:lnTo>
                      <a:pt x="1332" y="387"/>
                    </a:lnTo>
                    <a:lnTo>
                      <a:pt x="1332" y="389"/>
                    </a:lnTo>
                    <a:lnTo>
                      <a:pt x="1330" y="389"/>
                    </a:lnTo>
                    <a:lnTo>
                      <a:pt x="1332" y="392"/>
                    </a:lnTo>
                    <a:lnTo>
                      <a:pt x="1330" y="394"/>
                    </a:lnTo>
                    <a:lnTo>
                      <a:pt x="1330" y="394"/>
                    </a:lnTo>
                    <a:lnTo>
                      <a:pt x="1330" y="396"/>
                    </a:lnTo>
                    <a:lnTo>
                      <a:pt x="1330" y="396"/>
                    </a:lnTo>
                    <a:lnTo>
                      <a:pt x="1330" y="399"/>
                    </a:lnTo>
                    <a:lnTo>
                      <a:pt x="1332" y="399"/>
                    </a:lnTo>
                    <a:lnTo>
                      <a:pt x="1330" y="401"/>
                    </a:lnTo>
                    <a:lnTo>
                      <a:pt x="1328" y="403"/>
                    </a:lnTo>
                    <a:lnTo>
                      <a:pt x="1328" y="403"/>
                    </a:lnTo>
                    <a:lnTo>
                      <a:pt x="1328" y="406"/>
                    </a:lnTo>
                    <a:lnTo>
                      <a:pt x="1325" y="406"/>
                    </a:lnTo>
                    <a:lnTo>
                      <a:pt x="1325" y="406"/>
                    </a:lnTo>
                    <a:lnTo>
                      <a:pt x="1328" y="408"/>
                    </a:lnTo>
                    <a:lnTo>
                      <a:pt x="1325" y="408"/>
                    </a:lnTo>
                    <a:lnTo>
                      <a:pt x="1325" y="411"/>
                    </a:lnTo>
                    <a:lnTo>
                      <a:pt x="1325" y="411"/>
                    </a:lnTo>
                    <a:lnTo>
                      <a:pt x="1325" y="413"/>
                    </a:lnTo>
                    <a:lnTo>
                      <a:pt x="1325" y="413"/>
                    </a:lnTo>
                    <a:lnTo>
                      <a:pt x="1323" y="415"/>
                    </a:lnTo>
                    <a:lnTo>
                      <a:pt x="1325" y="418"/>
                    </a:lnTo>
                    <a:lnTo>
                      <a:pt x="1325" y="418"/>
                    </a:lnTo>
                    <a:lnTo>
                      <a:pt x="1330" y="418"/>
                    </a:lnTo>
                    <a:lnTo>
                      <a:pt x="1330" y="418"/>
                    </a:lnTo>
                    <a:lnTo>
                      <a:pt x="1332" y="420"/>
                    </a:lnTo>
                    <a:lnTo>
                      <a:pt x="1337" y="420"/>
                    </a:lnTo>
                    <a:lnTo>
                      <a:pt x="1337" y="420"/>
                    </a:lnTo>
                    <a:lnTo>
                      <a:pt x="1337" y="422"/>
                    </a:lnTo>
                    <a:lnTo>
                      <a:pt x="1339" y="425"/>
                    </a:lnTo>
                    <a:lnTo>
                      <a:pt x="1339" y="425"/>
                    </a:lnTo>
                    <a:lnTo>
                      <a:pt x="1339" y="427"/>
                    </a:lnTo>
                    <a:lnTo>
                      <a:pt x="1342" y="427"/>
                    </a:lnTo>
                    <a:lnTo>
                      <a:pt x="1342" y="429"/>
                    </a:lnTo>
                    <a:lnTo>
                      <a:pt x="1339" y="429"/>
                    </a:lnTo>
                    <a:lnTo>
                      <a:pt x="1342" y="432"/>
                    </a:lnTo>
                    <a:lnTo>
                      <a:pt x="1342" y="432"/>
                    </a:lnTo>
                    <a:lnTo>
                      <a:pt x="1344" y="437"/>
                    </a:lnTo>
                    <a:lnTo>
                      <a:pt x="1347" y="439"/>
                    </a:lnTo>
                    <a:lnTo>
                      <a:pt x="1349" y="437"/>
                    </a:lnTo>
                    <a:lnTo>
                      <a:pt x="1351" y="437"/>
                    </a:lnTo>
                    <a:lnTo>
                      <a:pt x="1349" y="437"/>
                    </a:lnTo>
                    <a:lnTo>
                      <a:pt x="1351" y="439"/>
                    </a:lnTo>
                    <a:lnTo>
                      <a:pt x="1349" y="439"/>
                    </a:lnTo>
                    <a:lnTo>
                      <a:pt x="1349" y="439"/>
                    </a:lnTo>
                    <a:lnTo>
                      <a:pt x="1349" y="441"/>
                    </a:lnTo>
                    <a:lnTo>
                      <a:pt x="1351" y="444"/>
                    </a:lnTo>
                    <a:lnTo>
                      <a:pt x="1351" y="444"/>
                    </a:lnTo>
                    <a:lnTo>
                      <a:pt x="1354" y="444"/>
                    </a:lnTo>
                    <a:lnTo>
                      <a:pt x="1356" y="444"/>
                    </a:lnTo>
                    <a:lnTo>
                      <a:pt x="1356" y="446"/>
                    </a:lnTo>
                    <a:lnTo>
                      <a:pt x="1358" y="446"/>
                    </a:lnTo>
                    <a:lnTo>
                      <a:pt x="1358" y="444"/>
                    </a:lnTo>
                    <a:lnTo>
                      <a:pt x="1358" y="444"/>
                    </a:lnTo>
                    <a:lnTo>
                      <a:pt x="1358" y="444"/>
                    </a:lnTo>
                    <a:lnTo>
                      <a:pt x="1361" y="446"/>
                    </a:lnTo>
                    <a:lnTo>
                      <a:pt x="1361" y="446"/>
                    </a:lnTo>
                    <a:lnTo>
                      <a:pt x="1361" y="448"/>
                    </a:lnTo>
                    <a:lnTo>
                      <a:pt x="1361" y="448"/>
                    </a:lnTo>
                    <a:lnTo>
                      <a:pt x="1363" y="448"/>
                    </a:lnTo>
                    <a:lnTo>
                      <a:pt x="1365" y="451"/>
                    </a:lnTo>
                    <a:lnTo>
                      <a:pt x="1365" y="453"/>
                    </a:lnTo>
                    <a:lnTo>
                      <a:pt x="1365" y="453"/>
                    </a:lnTo>
                    <a:lnTo>
                      <a:pt x="1365" y="453"/>
                    </a:lnTo>
                    <a:lnTo>
                      <a:pt x="1368" y="455"/>
                    </a:lnTo>
                    <a:lnTo>
                      <a:pt x="1368" y="458"/>
                    </a:lnTo>
                    <a:lnTo>
                      <a:pt x="1370" y="455"/>
                    </a:lnTo>
                    <a:lnTo>
                      <a:pt x="1370" y="458"/>
                    </a:lnTo>
                    <a:lnTo>
                      <a:pt x="1373" y="458"/>
                    </a:lnTo>
                    <a:lnTo>
                      <a:pt x="1375" y="458"/>
                    </a:lnTo>
                    <a:lnTo>
                      <a:pt x="1375" y="460"/>
                    </a:lnTo>
                    <a:lnTo>
                      <a:pt x="1375" y="463"/>
                    </a:lnTo>
                    <a:lnTo>
                      <a:pt x="1375" y="465"/>
                    </a:lnTo>
                    <a:lnTo>
                      <a:pt x="1375" y="465"/>
                    </a:lnTo>
                    <a:lnTo>
                      <a:pt x="1377" y="467"/>
                    </a:lnTo>
                    <a:lnTo>
                      <a:pt x="1377" y="470"/>
                    </a:lnTo>
                    <a:lnTo>
                      <a:pt x="1377" y="472"/>
                    </a:lnTo>
                    <a:lnTo>
                      <a:pt x="1377" y="470"/>
                    </a:lnTo>
                    <a:lnTo>
                      <a:pt x="1380" y="472"/>
                    </a:lnTo>
                    <a:lnTo>
                      <a:pt x="1380" y="472"/>
                    </a:lnTo>
                    <a:lnTo>
                      <a:pt x="1380" y="474"/>
                    </a:lnTo>
                    <a:lnTo>
                      <a:pt x="1375" y="479"/>
                    </a:lnTo>
                    <a:lnTo>
                      <a:pt x="1368" y="484"/>
                    </a:lnTo>
                    <a:lnTo>
                      <a:pt x="1368" y="484"/>
                    </a:lnTo>
                    <a:lnTo>
                      <a:pt x="1370" y="484"/>
                    </a:lnTo>
                    <a:lnTo>
                      <a:pt x="1373" y="486"/>
                    </a:lnTo>
                    <a:lnTo>
                      <a:pt x="1375" y="489"/>
                    </a:lnTo>
                    <a:lnTo>
                      <a:pt x="1375" y="491"/>
                    </a:lnTo>
                    <a:lnTo>
                      <a:pt x="1370" y="489"/>
                    </a:lnTo>
                    <a:lnTo>
                      <a:pt x="1368" y="489"/>
                    </a:lnTo>
                    <a:lnTo>
                      <a:pt x="1368" y="489"/>
                    </a:lnTo>
                    <a:lnTo>
                      <a:pt x="1365" y="486"/>
                    </a:lnTo>
                    <a:lnTo>
                      <a:pt x="1365" y="486"/>
                    </a:lnTo>
                    <a:lnTo>
                      <a:pt x="1363" y="486"/>
                    </a:lnTo>
                    <a:lnTo>
                      <a:pt x="1363" y="484"/>
                    </a:lnTo>
                    <a:lnTo>
                      <a:pt x="1361" y="484"/>
                    </a:lnTo>
                    <a:lnTo>
                      <a:pt x="1361" y="484"/>
                    </a:lnTo>
                    <a:lnTo>
                      <a:pt x="1358" y="484"/>
                    </a:lnTo>
                    <a:lnTo>
                      <a:pt x="1358" y="484"/>
                    </a:lnTo>
                    <a:lnTo>
                      <a:pt x="1356" y="484"/>
                    </a:lnTo>
                    <a:lnTo>
                      <a:pt x="1356" y="484"/>
                    </a:lnTo>
                    <a:lnTo>
                      <a:pt x="1354" y="484"/>
                    </a:lnTo>
                    <a:lnTo>
                      <a:pt x="1354" y="484"/>
                    </a:lnTo>
                    <a:lnTo>
                      <a:pt x="1349" y="484"/>
                    </a:lnTo>
                    <a:lnTo>
                      <a:pt x="1349" y="484"/>
                    </a:lnTo>
                    <a:lnTo>
                      <a:pt x="1344" y="481"/>
                    </a:lnTo>
                    <a:lnTo>
                      <a:pt x="1344" y="484"/>
                    </a:lnTo>
                    <a:lnTo>
                      <a:pt x="1342" y="481"/>
                    </a:lnTo>
                    <a:lnTo>
                      <a:pt x="1339" y="481"/>
                    </a:lnTo>
                    <a:lnTo>
                      <a:pt x="1337" y="479"/>
                    </a:lnTo>
                    <a:lnTo>
                      <a:pt x="1337" y="479"/>
                    </a:lnTo>
                    <a:lnTo>
                      <a:pt x="1332" y="481"/>
                    </a:lnTo>
                    <a:lnTo>
                      <a:pt x="1330" y="481"/>
                    </a:lnTo>
                    <a:lnTo>
                      <a:pt x="1328" y="481"/>
                    </a:lnTo>
                    <a:lnTo>
                      <a:pt x="1328" y="484"/>
                    </a:lnTo>
                    <a:lnTo>
                      <a:pt x="1325" y="484"/>
                    </a:lnTo>
                    <a:lnTo>
                      <a:pt x="1325" y="484"/>
                    </a:lnTo>
                    <a:lnTo>
                      <a:pt x="1325" y="486"/>
                    </a:lnTo>
                    <a:lnTo>
                      <a:pt x="1325" y="486"/>
                    </a:lnTo>
                    <a:lnTo>
                      <a:pt x="1323" y="489"/>
                    </a:lnTo>
                    <a:lnTo>
                      <a:pt x="1325" y="489"/>
                    </a:lnTo>
                    <a:lnTo>
                      <a:pt x="1323" y="491"/>
                    </a:lnTo>
                    <a:lnTo>
                      <a:pt x="1323" y="491"/>
                    </a:lnTo>
                    <a:lnTo>
                      <a:pt x="1321" y="493"/>
                    </a:lnTo>
                    <a:lnTo>
                      <a:pt x="1321" y="493"/>
                    </a:lnTo>
                    <a:lnTo>
                      <a:pt x="1318" y="496"/>
                    </a:lnTo>
                    <a:lnTo>
                      <a:pt x="1316" y="493"/>
                    </a:lnTo>
                    <a:lnTo>
                      <a:pt x="1316" y="496"/>
                    </a:lnTo>
                    <a:lnTo>
                      <a:pt x="1316" y="493"/>
                    </a:lnTo>
                    <a:lnTo>
                      <a:pt x="1313" y="496"/>
                    </a:lnTo>
                    <a:lnTo>
                      <a:pt x="1311" y="496"/>
                    </a:lnTo>
                    <a:lnTo>
                      <a:pt x="1311" y="493"/>
                    </a:lnTo>
                    <a:lnTo>
                      <a:pt x="1311" y="493"/>
                    </a:lnTo>
                    <a:lnTo>
                      <a:pt x="1309" y="493"/>
                    </a:lnTo>
                    <a:lnTo>
                      <a:pt x="1306" y="493"/>
                    </a:lnTo>
                    <a:lnTo>
                      <a:pt x="1306" y="493"/>
                    </a:lnTo>
                    <a:lnTo>
                      <a:pt x="1304" y="493"/>
                    </a:lnTo>
                    <a:lnTo>
                      <a:pt x="1304" y="493"/>
                    </a:lnTo>
                    <a:lnTo>
                      <a:pt x="1304" y="491"/>
                    </a:lnTo>
                    <a:lnTo>
                      <a:pt x="1304" y="491"/>
                    </a:lnTo>
                    <a:lnTo>
                      <a:pt x="1304" y="491"/>
                    </a:lnTo>
                    <a:lnTo>
                      <a:pt x="1304" y="491"/>
                    </a:lnTo>
                    <a:lnTo>
                      <a:pt x="1302" y="491"/>
                    </a:lnTo>
                    <a:lnTo>
                      <a:pt x="1302" y="489"/>
                    </a:lnTo>
                    <a:lnTo>
                      <a:pt x="1302" y="489"/>
                    </a:lnTo>
                    <a:lnTo>
                      <a:pt x="1302" y="489"/>
                    </a:lnTo>
                    <a:lnTo>
                      <a:pt x="1299" y="486"/>
                    </a:lnTo>
                    <a:lnTo>
                      <a:pt x="1299" y="489"/>
                    </a:lnTo>
                    <a:lnTo>
                      <a:pt x="1297" y="489"/>
                    </a:lnTo>
                    <a:lnTo>
                      <a:pt x="1297" y="489"/>
                    </a:lnTo>
                    <a:lnTo>
                      <a:pt x="1297" y="489"/>
                    </a:lnTo>
                    <a:lnTo>
                      <a:pt x="1295" y="491"/>
                    </a:lnTo>
                    <a:lnTo>
                      <a:pt x="1292" y="491"/>
                    </a:lnTo>
                    <a:lnTo>
                      <a:pt x="1292" y="491"/>
                    </a:lnTo>
                    <a:lnTo>
                      <a:pt x="1292" y="491"/>
                    </a:lnTo>
                    <a:lnTo>
                      <a:pt x="1290" y="489"/>
                    </a:lnTo>
                    <a:lnTo>
                      <a:pt x="1290" y="491"/>
                    </a:lnTo>
                    <a:lnTo>
                      <a:pt x="1288" y="491"/>
                    </a:lnTo>
                    <a:lnTo>
                      <a:pt x="1288" y="491"/>
                    </a:lnTo>
                    <a:lnTo>
                      <a:pt x="1304" y="507"/>
                    </a:lnTo>
                    <a:lnTo>
                      <a:pt x="1304" y="512"/>
                    </a:lnTo>
                    <a:lnTo>
                      <a:pt x="1302" y="515"/>
                    </a:lnTo>
                    <a:lnTo>
                      <a:pt x="1302" y="512"/>
                    </a:lnTo>
                    <a:lnTo>
                      <a:pt x="1297" y="512"/>
                    </a:lnTo>
                    <a:lnTo>
                      <a:pt x="1297" y="512"/>
                    </a:lnTo>
                    <a:lnTo>
                      <a:pt x="1295" y="512"/>
                    </a:lnTo>
                    <a:lnTo>
                      <a:pt x="1295" y="512"/>
                    </a:lnTo>
                    <a:lnTo>
                      <a:pt x="1295" y="512"/>
                    </a:lnTo>
                    <a:lnTo>
                      <a:pt x="1292" y="512"/>
                    </a:lnTo>
                    <a:lnTo>
                      <a:pt x="1292" y="510"/>
                    </a:lnTo>
                    <a:lnTo>
                      <a:pt x="1292" y="510"/>
                    </a:lnTo>
                    <a:lnTo>
                      <a:pt x="1290" y="510"/>
                    </a:lnTo>
                    <a:lnTo>
                      <a:pt x="1290" y="507"/>
                    </a:lnTo>
                    <a:lnTo>
                      <a:pt x="1288" y="507"/>
                    </a:lnTo>
                    <a:lnTo>
                      <a:pt x="1288" y="507"/>
                    </a:lnTo>
                    <a:lnTo>
                      <a:pt x="1288" y="507"/>
                    </a:lnTo>
                    <a:lnTo>
                      <a:pt x="1288" y="507"/>
                    </a:lnTo>
                    <a:lnTo>
                      <a:pt x="1285" y="510"/>
                    </a:lnTo>
                    <a:lnTo>
                      <a:pt x="1285" y="510"/>
                    </a:lnTo>
                    <a:lnTo>
                      <a:pt x="1283" y="510"/>
                    </a:lnTo>
                    <a:lnTo>
                      <a:pt x="1283" y="510"/>
                    </a:lnTo>
                    <a:lnTo>
                      <a:pt x="1283" y="510"/>
                    </a:lnTo>
                    <a:lnTo>
                      <a:pt x="1283" y="512"/>
                    </a:lnTo>
                    <a:lnTo>
                      <a:pt x="1283" y="512"/>
                    </a:lnTo>
                    <a:lnTo>
                      <a:pt x="1283" y="512"/>
                    </a:lnTo>
                    <a:lnTo>
                      <a:pt x="1280" y="512"/>
                    </a:lnTo>
                    <a:lnTo>
                      <a:pt x="1280" y="512"/>
                    </a:lnTo>
                    <a:lnTo>
                      <a:pt x="1278" y="512"/>
                    </a:lnTo>
                    <a:lnTo>
                      <a:pt x="1278" y="512"/>
                    </a:lnTo>
                    <a:lnTo>
                      <a:pt x="1276" y="515"/>
                    </a:lnTo>
                    <a:lnTo>
                      <a:pt x="1273" y="515"/>
                    </a:lnTo>
                    <a:lnTo>
                      <a:pt x="1273" y="512"/>
                    </a:lnTo>
                    <a:lnTo>
                      <a:pt x="1273" y="512"/>
                    </a:lnTo>
                    <a:lnTo>
                      <a:pt x="1271" y="517"/>
                    </a:lnTo>
                    <a:lnTo>
                      <a:pt x="1271" y="517"/>
                    </a:lnTo>
                    <a:lnTo>
                      <a:pt x="1271" y="515"/>
                    </a:lnTo>
                    <a:lnTo>
                      <a:pt x="1269" y="515"/>
                    </a:lnTo>
                    <a:lnTo>
                      <a:pt x="1269" y="517"/>
                    </a:lnTo>
                    <a:lnTo>
                      <a:pt x="1269" y="517"/>
                    </a:lnTo>
                    <a:lnTo>
                      <a:pt x="1266" y="517"/>
                    </a:lnTo>
                    <a:lnTo>
                      <a:pt x="1264" y="519"/>
                    </a:lnTo>
                    <a:lnTo>
                      <a:pt x="1264" y="519"/>
                    </a:lnTo>
                    <a:lnTo>
                      <a:pt x="1264" y="522"/>
                    </a:lnTo>
                    <a:lnTo>
                      <a:pt x="1264" y="522"/>
                    </a:lnTo>
                    <a:lnTo>
                      <a:pt x="1264" y="522"/>
                    </a:lnTo>
                    <a:lnTo>
                      <a:pt x="1264" y="524"/>
                    </a:lnTo>
                    <a:lnTo>
                      <a:pt x="1264" y="524"/>
                    </a:lnTo>
                    <a:lnTo>
                      <a:pt x="1264" y="524"/>
                    </a:lnTo>
                    <a:lnTo>
                      <a:pt x="1264" y="526"/>
                    </a:lnTo>
                    <a:lnTo>
                      <a:pt x="1264" y="526"/>
                    </a:lnTo>
                    <a:lnTo>
                      <a:pt x="1259" y="529"/>
                    </a:lnTo>
                    <a:lnTo>
                      <a:pt x="1257" y="531"/>
                    </a:lnTo>
                    <a:lnTo>
                      <a:pt x="1257" y="533"/>
                    </a:lnTo>
                    <a:lnTo>
                      <a:pt x="1257" y="536"/>
                    </a:lnTo>
                    <a:lnTo>
                      <a:pt x="1257" y="538"/>
                    </a:lnTo>
                    <a:lnTo>
                      <a:pt x="1257" y="541"/>
                    </a:lnTo>
                    <a:lnTo>
                      <a:pt x="1257" y="541"/>
                    </a:lnTo>
                    <a:lnTo>
                      <a:pt x="1257" y="543"/>
                    </a:lnTo>
                    <a:lnTo>
                      <a:pt x="1254" y="543"/>
                    </a:lnTo>
                    <a:lnTo>
                      <a:pt x="1254" y="545"/>
                    </a:lnTo>
                    <a:lnTo>
                      <a:pt x="1254" y="545"/>
                    </a:lnTo>
                    <a:lnTo>
                      <a:pt x="1257" y="545"/>
                    </a:lnTo>
                    <a:lnTo>
                      <a:pt x="1257" y="548"/>
                    </a:lnTo>
                    <a:lnTo>
                      <a:pt x="1254" y="548"/>
                    </a:lnTo>
                    <a:lnTo>
                      <a:pt x="1252" y="550"/>
                    </a:lnTo>
                    <a:lnTo>
                      <a:pt x="1254" y="550"/>
                    </a:lnTo>
                    <a:lnTo>
                      <a:pt x="1264" y="552"/>
                    </a:lnTo>
                    <a:lnTo>
                      <a:pt x="1269" y="552"/>
                    </a:lnTo>
                    <a:lnTo>
                      <a:pt x="1273" y="552"/>
                    </a:lnTo>
                    <a:lnTo>
                      <a:pt x="1273" y="552"/>
                    </a:lnTo>
                    <a:lnTo>
                      <a:pt x="1273" y="555"/>
                    </a:lnTo>
                    <a:lnTo>
                      <a:pt x="1273" y="555"/>
                    </a:lnTo>
                    <a:lnTo>
                      <a:pt x="1273" y="562"/>
                    </a:lnTo>
                    <a:lnTo>
                      <a:pt x="1273" y="564"/>
                    </a:lnTo>
                    <a:lnTo>
                      <a:pt x="1271" y="564"/>
                    </a:lnTo>
                    <a:lnTo>
                      <a:pt x="1271" y="571"/>
                    </a:lnTo>
                    <a:lnTo>
                      <a:pt x="1271" y="574"/>
                    </a:lnTo>
                    <a:lnTo>
                      <a:pt x="1271" y="574"/>
                    </a:lnTo>
                    <a:lnTo>
                      <a:pt x="1271" y="574"/>
                    </a:lnTo>
                    <a:lnTo>
                      <a:pt x="1269" y="576"/>
                    </a:lnTo>
                    <a:lnTo>
                      <a:pt x="1269" y="576"/>
                    </a:lnTo>
                    <a:lnTo>
                      <a:pt x="1269" y="576"/>
                    </a:lnTo>
                    <a:lnTo>
                      <a:pt x="1271" y="576"/>
                    </a:lnTo>
                    <a:lnTo>
                      <a:pt x="1269" y="578"/>
                    </a:lnTo>
                    <a:lnTo>
                      <a:pt x="1271" y="576"/>
                    </a:lnTo>
                    <a:lnTo>
                      <a:pt x="1271" y="578"/>
                    </a:lnTo>
                    <a:lnTo>
                      <a:pt x="1273" y="578"/>
                    </a:lnTo>
                    <a:lnTo>
                      <a:pt x="1271" y="578"/>
                    </a:lnTo>
                    <a:lnTo>
                      <a:pt x="1273" y="578"/>
                    </a:lnTo>
                    <a:lnTo>
                      <a:pt x="1276" y="581"/>
                    </a:lnTo>
                    <a:lnTo>
                      <a:pt x="1276" y="581"/>
                    </a:lnTo>
                    <a:lnTo>
                      <a:pt x="1278" y="581"/>
                    </a:lnTo>
                    <a:lnTo>
                      <a:pt x="1283" y="583"/>
                    </a:lnTo>
                    <a:lnTo>
                      <a:pt x="1283" y="583"/>
                    </a:lnTo>
                    <a:lnTo>
                      <a:pt x="1283" y="588"/>
                    </a:lnTo>
                    <a:lnTo>
                      <a:pt x="1283" y="590"/>
                    </a:lnTo>
                    <a:lnTo>
                      <a:pt x="1283" y="595"/>
                    </a:lnTo>
                    <a:lnTo>
                      <a:pt x="1285" y="595"/>
                    </a:lnTo>
                    <a:lnTo>
                      <a:pt x="1285" y="597"/>
                    </a:lnTo>
                    <a:lnTo>
                      <a:pt x="1285" y="597"/>
                    </a:lnTo>
                    <a:lnTo>
                      <a:pt x="1285" y="600"/>
                    </a:lnTo>
                    <a:lnTo>
                      <a:pt x="1285" y="600"/>
                    </a:lnTo>
                    <a:lnTo>
                      <a:pt x="1285" y="600"/>
                    </a:lnTo>
                    <a:lnTo>
                      <a:pt x="1285" y="602"/>
                    </a:lnTo>
                    <a:lnTo>
                      <a:pt x="1283" y="602"/>
                    </a:lnTo>
                    <a:lnTo>
                      <a:pt x="1283" y="602"/>
                    </a:lnTo>
                    <a:lnTo>
                      <a:pt x="1283" y="602"/>
                    </a:lnTo>
                    <a:lnTo>
                      <a:pt x="1280" y="602"/>
                    </a:lnTo>
                    <a:lnTo>
                      <a:pt x="1273" y="602"/>
                    </a:lnTo>
                    <a:lnTo>
                      <a:pt x="1269" y="602"/>
                    </a:lnTo>
                    <a:lnTo>
                      <a:pt x="1266" y="602"/>
                    </a:lnTo>
                    <a:lnTo>
                      <a:pt x="1264" y="602"/>
                    </a:lnTo>
                    <a:lnTo>
                      <a:pt x="1262" y="602"/>
                    </a:lnTo>
                    <a:lnTo>
                      <a:pt x="1259" y="600"/>
                    </a:lnTo>
                    <a:lnTo>
                      <a:pt x="1259" y="600"/>
                    </a:lnTo>
                    <a:lnTo>
                      <a:pt x="1259" y="600"/>
                    </a:lnTo>
                    <a:lnTo>
                      <a:pt x="1259" y="597"/>
                    </a:lnTo>
                    <a:lnTo>
                      <a:pt x="1257" y="597"/>
                    </a:lnTo>
                    <a:lnTo>
                      <a:pt x="1254" y="597"/>
                    </a:lnTo>
                    <a:lnTo>
                      <a:pt x="1254" y="597"/>
                    </a:lnTo>
                    <a:lnTo>
                      <a:pt x="1247" y="597"/>
                    </a:lnTo>
                    <a:lnTo>
                      <a:pt x="1245" y="600"/>
                    </a:lnTo>
                    <a:lnTo>
                      <a:pt x="1245" y="602"/>
                    </a:lnTo>
                    <a:lnTo>
                      <a:pt x="1245" y="604"/>
                    </a:lnTo>
                    <a:lnTo>
                      <a:pt x="1245" y="604"/>
                    </a:lnTo>
                    <a:lnTo>
                      <a:pt x="1245" y="604"/>
                    </a:lnTo>
                    <a:lnTo>
                      <a:pt x="1245" y="604"/>
                    </a:lnTo>
                    <a:lnTo>
                      <a:pt x="1247" y="604"/>
                    </a:lnTo>
                    <a:lnTo>
                      <a:pt x="1247" y="609"/>
                    </a:lnTo>
                    <a:lnTo>
                      <a:pt x="1250" y="607"/>
                    </a:lnTo>
                    <a:lnTo>
                      <a:pt x="1250" y="607"/>
                    </a:lnTo>
                    <a:lnTo>
                      <a:pt x="1250" y="604"/>
                    </a:lnTo>
                    <a:lnTo>
                      <a:pt x="1250" y="607"/>
                    </a:lnTo>
                    <a:lnTo>
                      <a:pt x="1252" y="607"/>
                    </a:lnTo>
                    <a:lnTo>
                      <a:pt x="1254" y="604"/>
                    </a:lnTo>
                    <a:lnTo>
                      <a:pt x="1254" y="607"/>
                    </a:lnTo>
                    <a:lnTo>
                      <a:pt x="1257" y="609"/>
                    </a:lnTo>
                    <a:lnTo>
                      <a:pt x="1257" y="609"/>
                    </a:lnTo>
                    <a:lnTo>
                      <a:pt x="1257" y="609"/>
                    </a:lnTo>
                    <a:lnTo>
                      <a:pt x="1257" y="609"/>
                    </a:lnTo>
                    <a:lnTo>
                      <a:pt x="1259" y="609"/>
                    </a:lnTo>
                    <a:lnTo>
                      <a:pt x="1259" y="611"/>
                    </a:lnTo>
                    <a:lnTo>
                      <a:pt x="1262" y="611"/>
                    </a:lnTo>
                    <a:lnTo>
                      <a:pt x="1262" y="614"/>
                    </a:lnTo>
                    <a:lnTo>
                      <a:pt x="1262" y="614"/>
                    </a:lnTo>
                    <a:lnTo>
                      <a:pt x="1264" y="614"/>
                    </a:lnTo>
                    <a:lnTo>
                      <a:pt x="1266" y="616"/>
                    </a:lnTo>
                    <a:lnTo>
                      <a:pt x="1266" y="616"/>
                    </a:lnTo>
                    <a:lnTo>
                      <a:pt x="1266" y="616"/>
                    </a:lnTo>
                    <a:lnTo>
                      <a:pt x="1266" y="618"/>
                    </a:lnTo>
                    <a:lnTo>
                      <a:pt x="1269" y="618"/>
                    </a:lnTo>
                    <a:lnTo>
                      <a:pt x="1269" y="618"/>
                    </a:lnTo>
                    <a:lnTo>
                      <a:pt x="1269" y="621"/>
                    </a:lnTo>
                    <a:lnTo>
                      <a:pt x="1269" y="621"/>
                    </a:lnTo>
                    <a:lnTo>
                      <a:pt x="1271" y="621"/>
                    </a:lnTo>
                    <a:lnTo>
                      <a:pt x="1271" y="621"/>
                    </a:lnTo>
                    <a:lnTo>
                      <a:pt x="1273" y="621"/>
                    </a:lnTo>
                    <a:lnTo>
                      <a:pt x="1273" y="621"/>
                    </a:lnTo>
                    <a:lnTo>
                      <a:pt x="1273" y="621"/>
                    </a:lnTo>
                    <a:lnTo>
                      <a:pt x="1273" y="621"/>
                    </a:lnTo>
                    <a:lnTo>
                      <a:pt x="1273" y="621"/>
                    </a:lnTo>
                    <a:lnTo>
                      <a:pt x="1269" y="623"/>
                    </a:lnTo>
                    <a:lnTo>
                      <a:pt x="1266" y="623"/>
                    </a:lnTo>
                    <a:lnTo>
                      <a:pt x="1266" y="626"/>
                    </a:lnTo>
                    <a:lnTo>
                      <a:pt x="1266" y="628"/>
                    </a:lnTo>
                    <a:lnTo>
                      <a:pt x="1269" y="628"/>
                    </a:lnTo>
                    <a:lnTo>
                      <a:pt x="1266" y="630"/>
                    </a:lnTo>
                    <a:lnTo>
                      <a:pt x="1269" y="630"/>
                    </a:lnTo>
                    <a:lnTo>
                      <a:pt x="1269" y="630"/>
                    </a:lnTo>
                    <a:lnTo>
                      <a:pt x="1269" y="633"/>
                    </a:lnTo>
                    <a:lnTo>
                      <a:pt x="1271" y="633"/>
                    </a:lnTo>
                    <a:lnTo>
                      <a:pt x="1273" y="635"/>
                    </a:lnTo>
                    <a:lnTo>
                      <a:pt x="1273" y="633"/>
                    </a:lnTo>
                    <a:lnTo>
                      <a:pt x="1273" y="633"/>
                    </a:lnTo>
                    <a:lnTo>
                      <a:pt x="1273" y="635"/>
                    </a:lnTo>
                    <a:lnTo>
                      <a:pt x="1276" y="635"/>
                    </a:lnTo>
                    <a:lnTo>
                      <a:pt x="1276" y="637"/>
                    </a:lnTo>
                    <a:lnTo>
                      <a:pt x="1276" y="637"/>
                    </a:lnTo>
                    <a:lnTo>
                      <a:pt x="1276" y="637"/>
                    </a:lnTo>
                    <a:lnTo>
                      <a:pt x="1278" y="637"/>
                    </a:lnTo>
                    <a:lnTo>
                      <a:pt x="1278" y="637"/>
                    </a:lnTo>
                    <a:lnTo>
                      <a:pt x="1278" y="640"/>
                    </a:lnTo>
                    <a:lnTo>
                      <a:pt x="1278" y="640"/>
                    </a:lnTo>
                    <a:lnTo>
                      <a:pt x="1280" y="640"/>
                    </a:lnTo>
                    <a:lnTo>
                      <a:pt x="1280" y="640"/>
                    </a:lnTo>
                    <a:lnTo>
                      <a:pt x="1280" y="642"/>
                    </a:lnTo>
                    <a:lnTo>
                      <a:pt x="1283" y="642"/>
                    </a:lnTo>
                    <a:lnTo>
                      <a:pt x="1283" y="644"/>
                    </a:lnTo>
                    <a:lnTo>
                      <a:pt x="1283" y="644"/>
                    </a:lnTo>
                    <a:lnTo>
                      <a:pt x="1283" y="647"/>
                    </a:lnTo>
                    <a:lnTo>
                      <a:pt x="1283" y="647"/>
                    </a:lnTo>
                    <a:lnTo>
                      <a:pt x="1285" y="647"/>
                    </a:lnTo>
                    <a:lnTo>
                      <a:pt x="1285" y="649"/>
                    </a:lnTo>
                    <a:lnTo>
                      <a:pt x="1285" y="649"/>
                    </a:lnTo>
                    <a:lnTo>
                      <a:pt x="1285" y="649"/>
                    </a:lnTo>
                    <a:lnTo>
                      <a:pt x="1285" y="649"/>
                    </a:lnTo>
                    <a:lnTo>
                      <a:pt x="1285" y="652"/>
                    </a:lnTo>
                    <a:lnTo>
                      <a:pt x="1285" y="654"/>
                    </a:lnTo>
                    <a:lnTo>
                      <a:pt x="1283" y="654"/>
                    </a:lnTo>
                    <a:lnTo>
                      <a:pt x="1283" y="654"/>
                    </a:lnTo>
                    <a:lnTo>
                      <a:pt x="1285" y="656"/>
                    </a:lnTo>
                    <a:lnTo>
                      <a:pt x="1283" y="656"/>
                    </a:lnTo>
                    <a:lnTo>
                      <a:pt x="1285" y="656"/>
                    </a:lnTo>
                    <a:lnTo>
                      <a:pt x="1285" y="656"/>
                    </a:lnTo>
                    <a:lnTo>
                      <a:pt x="1285" y="659"/>
                    </a:lnTo>
                    <a:lnTo>
                      <a:pt x="1285" y="659"/>
                    </a:lnTo>
                    <a:lnTo>
                      <a:pt x="1283" y="661"/>
                    </a:lnTo>
                    <a:lnTo>
                      <a:pt x="1283" y="661"/>
                    </a:lnTo>
                    <a:lnTo>
                      <a:pt x="1285" y="661"/>
                    </a:lnTo>
                    <a:lnTo>
                      <a:pt x="1285" y="663"/>
                    </a:lnTo>
                    <a:lnTo>
                      <a:pt x="1285" y="663"/>
                    </a:lnTo>
                    <a:lnTo>
                      <a:pt x="1285" y="663"/>
                    </a:lnTo>
                    <a:lnTo>
                      <a:pt x="1285" y="663"/>
                    </a:lnTo>
                    <a:lnTo>
                      <a:pt x="1288" y="663"/>
                    </a:lnTo>
                    <a:lnTo>
                      <a:pt x="1288" y="663"/>
                    </a:lnTo>
                    <a:lnTo>
                      <a:pt x="1288" y="666"/>
                    </a:lnTo>
                    <a:lnTo>
                      <a:pt x="1285" y="666"/>
                    </a:lnTo>
                    <a:lnTo>
                      <a:pt x="1285" y="666"/>
                    </a:lnTo>
                    <a:lnTo>
                      <a:pt x="1285" y="666"/>
                    </a:lnTo>
                    <a:lnTo>
                      <a:pt x="1283" y="668"/>
                    </a:lnTo>
                    <a:lnTo>
                      <a:pt x="1283" y="670"/>
                    </a:lnTo>
                    <a:lnTo>
                      <a:pt x="1285" y="673"/>
                    </a:lnTo>
                    <a:lnTo>
                      <a:pt x="1285" y="673"/>
                    </a:lnTo>
                    <a:lnTo>
                      <a:pt x="1285" y="673"/>
                    </a:lnTo>
                    <a:lnTo>
                      <a:pt x="1280" y="675"/>
                    </a:lnTo>
                    <a:lnTo>
                      <a:pt x="1280" y="678"/>
                    </a:lnTo>
                    <a:lnTo>
                      <a:pt x="1280" y="678"/>
                    </a:lnTo>
                    <a:lnTo>
                      <a:pt x="1280" y="680"/>
                    </a:lnTo>
                    <a:lnTo>
                      <a:pt x="1280" y="680"/>
                    </a:lnTo>
                    <a:lnTo>
                      <a:pt x="1280" y="682"/>
                    </a:lnTo>
                    <a:lnTo>
                      <a:pt x="1280" y="682"/>
                    </a:lnTo>
                    <a:lnTo>
                      <a:pt x="1283" y="685"/>
                    </a:lnTo>
                    <a:lnTo>
                      <a:pt x="1283" y="685"/>
                    </a:lnTo>
                    <a:lnTo>
                      <a:pt x="1283" y="685"/>
                    </a:lnTo>
                    <a:lnTo>
                      <a:pt x="1278" y="689"/>
                    </a:lnTo>
                    <a:lnTo>
                      <a:pt x="1278" y="689"/>
                    </a:lnTo>
                    <a:lnTo>
                      <a:pt x="1276" y="689"/>
                    </a:lnTo>
                    <a:lnTo>
                      <a:pt x="1273" y="689"/>
                    </a:lnTo>
                    <a:lnTo>
                      <a:pt x="1269" y="687"/>
                    </a:lnTo>
                    <a:lnTo>
                      <a:pt x="1269" y="689"/>
                    </a:lnTo>
                    <a:lnTo>
                      <a:pt x="1271" y="692"/>
                    </a:lnTo>
                    <a:lnTo>
                      <a:pt x="1269" y="694"/>
                    </a:lnTo>
                    <a:lnTo>
                      <a:pt x="1271" y="696"/>
                    </a:lnTo>
                    <a:lnTo>
                      <a:pt x="1271" y="696"/>
                    </a:lnTo>
                    <a:lnTo>
                      <a:pt x="1271" y="699"/>
                    </a:lnTo>
                    <a:lnTo>
                      <a:pt x="1269" y="699"/>
                    </a:lnTo>
                    <a:lnTo>
                      <a:pt x="1269" y="701"/>
                    </a:lnTo>
                    <a:lnTo>
                      <a:pt x="1266" y="701"/>
                    </a:lnTo>
                    <a:lnTo>
                      <a:pt x="1266" y="701"/>
                    </a:lnTo>
                    <a:lnTo>
                      <a:pt x="1266" y="701"/>
                    </a:lnTo>
                    <a:lnTo>
                      <a:pt x="1264" y="701"/>
                    </a:lnTo>
                    <a:lnTo>
                      <a:pt x="1264" y="703"/>
                    </a:lnTo>
                    <a:lnTo>
                      <a:pt x="1264" y="703"/>
                    </a:lnTo>
                    <a:lnTo>
                      <a:pt x="1262" y="706"/>
                    </a:lnTo>
                    <a:lnTo>
                      <a:pt x="1262" y="708"/>
                    </a:lnTo>
                    <a:lnTo>
                      <a:pt x="1259" y="708"/>
                    </a:lnTo>
                    <a:lnTo>
                      <a:pt x="1259" y="708"/>
                    </a:lnTo>
                    <a:lnTo>
                      <a:pt x="1259" y="711"/>
                    </a:lnTo>
                    <a:lnTo>
                      <a:pt x="1257" y="711"/>
                    </a:lnTo>
                    <a:lnTo>
                      <a:pt x="1254" y="711"/>
                    </a:lnTo>
                    <a:lnTo>
                      <a:pt x="1254" y="711"/>
                    </a:lnTo>
                    <a:lnTo>
                      <a:pt x="1254" y="713"/>
                    </a:lnTo>
                    <a:lnTo>
                      <a:pt x="1254" y="715"/>
                    </a:lnTo>
                    <a:lnTo>
                      <a:pt x="1254" y="715"/>
                    </a:lnTo>
                    <a:lnTo>
                      <a:pt x="1254" y="718"/>
                    </a:lnTo>
                    <a:lnTo>
                      <a:pt x="1254" y="718"/>
                    </a:lnTo>
                    <a:lnTo>
                      <a:pt x="1252" y="720"/>
                    </a:lnTo>
                    <a:lnTo>
                      <a:pt x="1254" y="720"/>
                    </a:lnTo>
                    <a:lnTo>
                      <a:pt x="1252" y="722"/>
                    </a:lnTo>
                    <a:lnTo>
                      <a:pt x="1252" y="722"/>
                    </a:lnTo>
                    <a:lnTo>
                      <a:pt x="1254" y="725"/>
                    </a:lnTo>
                    <a:lnTo>
                      <a:pt x="1254" y="727"/>
                    </a:lnTo>
                    <a:lnTo>
                      <a:pt x="1254" y="727"/>
                    </a:lnTo>
                    <a:lnTo>
                      <a:pt x="1254" y="727"/>
                    </a:lnTo>
                    <a:lnTo>
                      <a:pt x="1254" y="727"/>
                    </a:lnTo>
                    <a:lnTo>
                      <a:pt x="1254" y="729"/>
                    </a:lnTo>
                    <a:lnTo>
                      <a:pt x="1254" y="732"/>
                    </a:lnTo>
                    <a:lnTo>
                      <a:pt x="1252" y="732"/>
                    </a:lnTo>
                    <a:lnTo>
                      <a:pt x="1254" y="734"/>
                    </a:lnTo>
                    <a:lnTo>
                      <a:pt x="1254" y="734"/>
                    </a:lnTo>
                    <a:lnTo>
                      <a:pt x="1252" y="734"/>
                    </a:lnTo>
                    <a:lnTo>
                      <a:pt x="1252" y="739"/>
                    </a:lnTo>
                    <a:lnTo>
                      <a:pt x="1252" y="741"/>
                    </a:lnTo>
                    <a:lnTo>
                      <a:pt x="1250" y="741"/>
                    </a:lnTo>
                    <a:lnTo>
                      <a:pt x="1250" y="741"/>
                    </a:lnTo>
                    <a:lnTo>
                      <a:pt x="1247" y="741"/>
                    </a:lnTo>
                    <a:lnTo>
                      <a:pt x="1247" y="744"/>
                    </a:lnTo>
                    <a:lnTo>
                      <a:pt x="1245" y="746"/>
                    </a:lnTo>
                    <a:lnTo>
                      <a:pt x="1243" y="746"/>
                    </a:lnTo>
                    <a:lnTo>
                      <a:pt x="1243" y="746"/>
                    </a:lnTo>
                    <a:lnTo>
                      <a:pt x="1240" y="746"/>
                    </a:lnTo>
                    <a:lnTo>
                      <a:pt x="1238" y="746"/>
                    </a:lnTo>
                    <a:lnTo>
                      <a:pt x="1238" y="748"/>
                    </a:lnTo>
                    <a:lnTo>
                      <a:pt x="1236" y="751"/>
                    </a:lnTo>
                    <a:lnTo>
                      <a:pt x="1236" y="751"/>
                    </a:lnTo>
                    <a:lnTo>
                      <a:pt x="1236" y="753"/>
                    </a:lnTo>
                    <a:lnTo>
                      <a:pt x="1236" y="755"/>
                    </a:lnTo>
                    <a:lnTo>
                      <a:pt x="1238" y="755"/>
                    </a:lnTo>
                    <a:lnTo>
                      <a:pt x="1236" y="758"/>
                    </a:lnTo>
                    <a:lnTo>
                      <a:pt x="1236" y="760"/>
                    </a:lnTo>
                    <a:lnTo>
                      <a:pt x="1233" y="760"/>
                    </a:lnTo>
                    <a:lnTo>
                      <a:pt x="1233" y="763"/>
                    </a:lnTo>
                    <a:lnTo>
                      <a:pt x="1233" y="763"/>
                    </a:lnTo>
                    <a:lnTo>
                      <a:pt x="1233" y="765"/>
                    </a:lnTo>
                    <a:lnTo>
                      <a:pt x="1231" y="767"/>
                    </a:lnTo>
                    <a:lnTo>
                      <a:pt x="1231" y="767"/>
                    </a:lnTo>
                    <a:lnTo>
                      <a:pt x="1231" y="770"/>
                    </a:lnTo>
                    <a:lnTo>
                      <a:pt x="1231" y="770"/>
                    </a:lnTo>
                    <a:lnTo>
                      <a:pt x="1231" y="772"/>
                    </a:lnTo>
                    <a:lnTo>
                      <a:pt x="1231" y="772"/>
                    </a:lnTo>
                    <a:lnTo>
                      <a:pt x="1231" y="774"/>
                    </a:lnTo>
                    <a:lnTo>
                      <a:pt x="1228" y="774"/>
                    </a:lnTo>
                    <a:lnTo>
                      <a:pt x="1228" y="777"/>
                    </a:lnTo>
                    <a:lnTo>
                      <a:pt x="1228" y="777"/>
                    </a:lnTo>
                    <a:lnTo>
                      <a:pt x="1228" y="779"/>
                    </a:lnTo>
                    <a:lnTo>
                      <a:pt x="1224" y="781"/>
                    </a:lnTo>
                    <a:lnTo>
                      <a:pt x="1224" y="779"/>
                    </a:lnTo>
                    <a:lnTo>
                      <a:pt x="1224" y="781"/>
                    </a:lnTo>
                    <a:lnTo>
                      <a:pt x="1224" y="781"/>
                    </a:lnTo>
                    <a:lnTo>
                      <a:pt x="1219" y="781"/>
                    </a:lnTo>
                    <a:lnTo>
                      <a:pt x="1191" y="781"/>
                    </a:lnTo>
                    <a:lnTo>
                      <a:pt x="1179" y="781"/>
                    </a:lnTo>
                    <a:lnTo>
                      <a:pt x="1179" y="784"/>
                    </a:lnTo>
                    <a:lnTo>
                      <a:pt x="1179" y="784"/>
                    </a:lnTo>
                    <a:lnTo>
                      <a:pt x="1179" y="784"/>
                    </a:lnTo>
                    <a:lnTo>
                      <a:pt x="1179" y="789"/>
                    </a:lnTo>
                    <a:lnTo>
                      <a:pt x="1176" y="789"/>
                    </a:lnTo>
                    <a:lnTo>
                      <a:pt x="1176" y="791"/>
                    </a:lnTo>
                    <a:lnTo>
                      <a:pt x="1176" y="793"/>
                    </a:lnTo>
                    <a:lnTo>
                      <a:pt x="1176" y="793"/>
                    </a:lnTo>
                    <a:lnTo>
                      <a:pt x="1174" y="793"/>
                    </a:lnTo>
                    <a:lnTo>
                      <a:pt x="1174" y="793"/>
                    </a:lnTo>
                    <a:lnTo>
                      <a:pt x="1174" y="796"/>
                    </a:lnTo>
                    <a:lnTo>
                      <a:pt x="1172" y="796"/>
                    </a:lnTo>
                    <a:lnTo>
                      <a:pt x="1172" y="796"/>
                    </a:lnTo>
                    <a:lnTo>
                      <a:pt x="1169" y="798"/>
                    </a:lnTo>
                    <a:lnTo>
                      <a:pt x="1169" y="798"/>
                    </a:lnTo>
                    <a:lnTo>
                      <a:pt x="1167" y="798"/>
                    </a:lnTo>
                    <a:lnTo>
                      <a:pt x="1169" y="798"/>
                    </a:lnTo>
                    <a:lnTo>
                      <a:pt x="1167" y="800"/>
                    </a:lnTo>
                    <a:lnTo>
                      <a:pt x="1167" y="800"/>
                    </a:lnTo>
                    <a:lnTo>
                      <a:pt x="1167" y="803"/>
                    </a:lnTo>
                    <a:lnTo>
                      <a:pt x="1167" y="803"/>
                    </a:lnTo>
                    <a:lnTo>
                      <a:pt x="1167" y="805"/>
                    </a:lnTo>
                    <a:lnTo>
                      <a:pt x="1169" y="807"/>
                    </a:lnTo>
                    <a:lnTo>
                      <a:pt x="1174" y="810"/>
                    </a:lnTo>
                    <a:lnTo>
                      <a:pt x="1174" y="812"/>
                    </a:lnTo>
                    <a:lnTo>
                      <a:pt x="1174" y="812"/>
                    </a:lnTo>
                    <a:lnTo>
                      <a:pt x="1174" y="817"/>
                    </a:lnTo>
                    <a:lnTo>
                      <a:pt x="1174" y="819"/>
                    </a:lnTo>
                    <a:lnTo>
                      <a:pt x="1174" y="822"/>
                    </a:lnTo>
                    <a:lnTo>
                      <a:pt x="1172" y="822"/>
                    </a:lnTo>
                    <a:lnTo>
                      <a:pt x="1174" y="824"/>
                    </a:lnTo>
                    <a:lnTo>
                      <a:pt x="1174" y="826"/>
                    </a:lnTo>
                    <a:lnTo>
                      <a:pt x="1174" y="826"/>
                    </a:lnTo>
                    <a:lnTo>
                      <a:pt x="1172" y="826"/>
                    </a:lnTo>
                    <a:lnTo>
                      <a:pt x="1172" y="829"/>
                    </a:lnTo>
                    <a:lnTo>
                      <a:pt x="1172" y="829"/>
                    </a:lnTo>
                    <a:lnTo>
                      <a:pt x="1169" y="831"/>
                    </a:lnTo>
                    <a:lnTo>
                      <a:pt x="1169" y="833"/>
                    </a:lnTo>
                    <a:lnTo>
                      <a:pt x="1167" y="833"/>
                    </a:lnTo>
                    <a:lnTo>
                      <a:pt x="1167" y="833"/>
                    </a:lnTo>
                    <a:lnTo>
                      <a:pt x="1167" y="836"/>
                    </a:lnTo>
                    <a:lnTo>
                      <a:pt x="1167" y="836"/>
                    </a:lnTo>
                    <a:lnTo>
                      <a:pt x="1172" y="836"/>
                    </a:lnTo>
                    <a:lnTo>
                      <a:pt x="1172" y="836"/>
                    </a:lnTo>
                    <a:lnTo>
                      <a:pt x="1172" y="838"/>
                    </a:lnTo>
                    <a:lnTo>
                      <a:pt x="1172" y="838"/>
                    </a:lnTo>
                    <a:lnTo>
                      <a:pt x="1172" y="838"/>
                    </a:lnTo>
                    <a:lnTo>
                      <a:pt x="1174" y="838"/>
                    </a:lnTo>
                    <a:lnTo>
                      <a:pt x="1172" y="840"/>
                    </a:lnTo>
                    <a:lnTo>
                      <a:pt x="1172" y="840"/>
                    </a:lnTo>
                    <a:lnTo>
                      <a:pt x="1172" y="840"/>
                    </a:lnTo>
                    <a:lnTo>
                      <a:pt x="1172" y="840"/>
                    </a:lnTo>
                    <a:lnTo>
                      <a:pt x="1169" y="843"/>
                    </a:lnTo>
                    <a:lnTo>
                      <a:pt x="1169" y="843"/>
                    </a:lnTo>
                    <a:lnTo>
                      <a:pt x="1167" y="845"/>
                    </a:lnTo>
                    <a:lnTo>
                      <a:pt x="1167" y="845"/>
                    </a:lnTo>
                    <a:lnTo>
                      <a:pt x="1167" y="848"/>
                    </a:lnTo>
                    <a:lnTo>
                      <a:pt x="1167" y="848"/>
                    </a:lnTo>
                    <a:lnTo>
                      <a:pt x="1167" y="848"/>
                    </a:lnTo>
                    <a:lnTo>
                      <a:pt x="1167" y="850"/>
                    </a:lnTo>
                    <a:lnTo>
                      <a:pt x="1165" y="850"/>
                    </a:lnTo>
                    <a:lnTo>
                      <a:pt x="1167" y="850"/>
                    </a:lnTo>
                    <a:lnTo>
                      <a:pt x="1167" y="852"/>
                    </a:lnTo>
                    <a:lnTo>
                      <a:pt x="1167" y="852"/>
                    </a:lnTo>
                    <a:lnTo>
                      <a:pt x="1167" y="852"/>
                    </a:lnTo>
                    <a:lnTo>
                      <a:pt x="1165" y="852"/>
                    </a:lnTo>
                    <a:lnTo>
                      <a:pt x="1165" y="852"/>
                    </a:lnTo>
                    <a:lnTo>
                      <a:pt x="1165" y="855"/>
                    </a:lnTo>
                    <a:lnTo>
                      <a:pt x="1165" y="855"/>
                    </a:lnTo>
                    <a:lnTo>
                      <a:pt x="1165" y="857"/>
                    </a:lnTo>
                    <a:lnTo>
                      <a:pt x="1165" y="857"/>
                    </a:lnTo>
                    <a:lnTo>
                      <a:pt x="1165" y="857"/>
                    </a:lnTo>
                    <a:lnTo>
                      <a:pt x="1162" y="857"/>
                    </a:lnTo>
                    <a:lnTo>
                      <a:pt x="1162" y="859"/>
                    </a:lnTo>
                    <a:lnTo>
                      <a:pt x="1160" y="859"/>
                    </a:lnTo>
                    <a:lnTo>
                      <a:pt x="1160" y="859"/>
                    </a:lnTo>
                    <a:lnTo>
                      <a:pt x="1158" y="859"/>
                    </a:lnTo>
                    <a:lnTo>
                      <a:pt x="1158" y="859"/>
                    </a:lnTo>
                    <a:lnTo>
                      <a:pt x="1158" y="862"/>
                    </a:lnTo>
                    <a:lnTo>
                      <a:pt x="1158" y="864"/>
                    </a:lnTo>
                    <a:lnTo>
                      <a:pt x="1158" y="866"/>
                    </a:lnTo>
                    <a:lnTo>
                      <a:pt x="1158" y="866"/>
                    </a:lnTo>
                    <a:lnTo>
                      <a:pt x="1155" y="866"/>
                    </a:lnTo>
                    <a:lnTo>
                      <a:pt x="1155" y="869"/>
                    </a:lnTo>
                    <a:lnTo>
                      <a:pt x="1155" y="869"/>
                    </a:lnTo>
                    <a:lnTo>
                      <a:pt x="1153" y="869"/>
                    </a:lnTo>
                    <a:lnTo>
                      <a:pt x="1153" y="871"/>
                    </a:lnTo>
                    <a:lnTo>
                      <a:pt x="1153" y="871"/>
                    </a:lnTo>
                    <a:lnTo>
                      <a:pt x="1153" y="874"/>
                    </a:lnTo>
                    <a:lnTo>
                      <a:pt x="1153" y="876"/>
                    </a:lnTo>
                    <a:lnTo>
                      <a:pt x="1153" y="874"/>
                    </a:lnTo>
                    <a:lnTo>
                      <a:pt x="1150" y="876"/>
                    </a:lnTo>
                    <a:lnTo>
                      <a:pt x="1150" y="876"/>
                    </a:lnTo>
                    <a:lnTo>
                      <a:pt x="1148" y="876"/>
                    </a:lnTo>
                    <a:lnTo>
                      <a:pt x="1148" y="876"/>
                    </a:lnTo>
                    <a:lnTo>
                      <a:pt x="1146" y="876"/>
                    </a:lnTo>
                    <a:lnTo>
                      <a:pt x="1143" y="876"/>
                    </a:lnTo>
                    <a:lnTo>
                      <a:pt x="1143" y="876"/>
                    </a:lnTo>
                    <a:lnTo>
                      <a:pt x="1141" y="878"/>
                    </a:lnTo>
                    <a:lnTo>
                      <a:pt x="1139" y="878"/>
                    </a:lnTo>
                    <a:lnTo>
                      <a:pt x="1136" y="876"/>
                    </a:lnTo>
                    <a:lnTo>
                      <a:pt x="1136" y="878"/>
                    </a:lnTo>
                    <a:lnTo>
                      <a:pt x="1134" y="878"/>
                    </a:lnTo>
                    <a:lnTo>
                      <a:pt x="1134" y="881"/>
                    </a:lnTo>
                    <a:lnTo>
                      <a:pt x="1134" y="881"/>
                    </a:lnTo>
                    <a:lnTo>
                      <a:pt x="1132" y="878"/>
                    </a:lnTo>
                    <a:lnTo>
                      <a:pt x="1132" y="881"/>
                    </a:lnTo>
                    <a:lnTo>
                      <a:pt x="1129" y="881"/>
                    </a:lnTo>
                    <a:lnTo>
                      <a:pt x="1129" y="883"/>
                    </a:lnTo>
                    <a:lnTo>
                      <a:pt x="1132" y="883"/>
                    </a:lnTo>
                    <a:lnTo>
                      <a:pt x="1132" y="885"/>
                    </a:lnTo>
                    <a:lnTo>
                      <a:pt x="1132" y="885"/>
                    </a:lnTo>
                    <a:lnTo>
                      <a:pt x="1134" y="885"/>
                    </a:lnTo>
                    <a:lnTo>
                      <a:pt x="1134" y="888"/>
                    </a:lnTo>
                    <a:lnTo>
                      <a:pt x="1136" y="888"/>
                    </a:lnTo>
                    <a:lnTo>
                      <a:pt x="1136" y="888"/>
                    </a:lnTo>
                    <a:lnTo>
                      <a:pt x="1139" y="888"/>
                    </a:lnTo>
                    <a:lnTo>
                      <a:pt x="1139" y="890"/>
                    </a:lnTo>
                    <a:lnTo>
                      <a:pt x="1139" y="890"/>
                    </a:lnTo>
                    <a:lnTo>
                      <a:pt x="1136" y="890"/>
                    </a:lnTo>
                    <a:lnTo>
                      <a:pt x="1136" y="890"/>
                    </a:lnTo>
                    <a:lnTo>
                      <a:pt x="1136" y="890"/>
                    </a:lnTo>
                    <a:lnTo>
                      <a:pt x="1136" y="890"/>
                    </a:lnTo>
                    <a:lnTo>
                      <a:pt x="1136" y="892"/>
                    </a:lnTo>
                    <a:lnTo>
                      <a:pt x="1134" y="895"/>
                    </a:lnTo>
                    <a:lnTo>
                      <a:pt x="1134" y="895"/>
                    </a:lnTo>
                    <a:lnTo>
                      <a:pt x="1132" y="895"/>
                    </a:lnTo>
                    <a:lnTo>
                      <a:pt x="1132" y="897"/>
                    </a:lnTo>
                    <a:lnTo>
                      <a:pt x="1132" y="897"/>
                    </a:lnTo>
                    <a:lnTo>
                      <a:pt x="1132" y="900"/>
                    </a:lnTo>
                    <a:lnTo>
                      <a:pt x="1127" y="900"/>
                    </a:lnTo>
                    <a:lnTo>
                      <a:pt x="1127" y="902"/>
                    </a:lnTo>
                    <a:lnTo>
                      <a:pt x="1127" y="902"/>
                    </a:lnTo>
                    <a:lnTo>
                      <a:pt x="1127" y="902"/>
                    </a:lnTo>
                    <a:lnTo>
                      <a:pt x="1127" y="904"/>
                    </a:lnTo>
                    <a:lnTo>
                      <a:pt x="1125" y="904"/>
                    </a:lnTo>
                    <a:lnTo>
                      <a:pt x="1125" y="907"/>
                    </a:lnTo>
                    <a:lnTo>
                      <a:pt x="1125" y="907"/>
                    </a:lnTo>
                    <a:lnTo>
                      <a:pt x="1122" y="907"/>
                    </a:lnTo>
                    <a:lnTo>
                      <a:pt x="1122" y="909"/>
                    </a:lnTo>
                    <a:lnTo>
                      <a:pt x="1122" y="909"/>
                    </a:lnTo>
                    <a:lnTo>
                      <a:pt x="1125" y="911"/>
                    </a:lnTo>
                    <a:lnTo>
                      <a:pt x="1122" y="914"/>
                    </a:lnTo>
                    <a:lnTo>
                      <a:pt x="1122" y="914"/>
                    </a:lnTo>
                    <a:lnTo>
                      <a:pt x="1125" y="916"/>
                    </a:lnTo>
                    <a:lnTo>
                      <a:pt x="1125" y="914"/>
                    </a:lnTo>
                    <a:lnTo>
                      <a:pt x="1125" y="916"/>
                    </a:lnTo>
                    <a:lnTo>
                      <a:pt x="1125" y="916"/>
                    </a:lnTo>
                    <a:lnTo>
                      <a:pt x="1125" y="918"/>
                    </a:lnTo>
                    <a:lnTo>
                      <a:pt x="1125" y="918"/>
                    </a:lnTo>
                    <a:lnTo>
                      <a:pt x="1122" y="921"/>
                    </a:lnTo>
                    <a:lnTo>
                      <a:pt x="1122" y="921"/>
                    </a:lnTo>
                    <a:lnTo>
                      <a:pt x="1120" y="921"/>
                    </a:lnTo>
                    <a:lnTo>
                      <a:pt x="1120" y="923"/>
                    </a:lnTo>
                    <a:lnTo>
                      <a:pt x="1120" y="926"/>
                    </a:lnTo>
                    <a:lnTo>
                      <a:pt x="1120" y="928"/>
                    </a:lnTo>
                    <a:lnTo>
                      <a:pt x="1120" y="928"/>
                    </a:lnTo>
                    <a:lnTo>
                      <a:pt x="1120" y="928"/>
                    </a:lnTo>
                    <a:lnTo>
                      <a:pt x="1120" y="930"/>
                    </a:lnTo>
                    <a:lnTo>
                      <a:pt x="1120" y="930"/>
                    </a:lnTo>
                    <a:lnTo>
                      <a:pt x="1120" y="930"/>
                    </a:lnTo>
                    <a:lnTo>
                      <a:pt x="1120" y="933"/>
                    </a:lnTo>
                    <a:lnTo>
                      <a:pt x="1120" y="933"/>
                    </a:lnTo>
                    <a:lnTo>
                      <a:pt x="1117" y="935"/>
                    </a:lnTo>
                    <a:lnTo>
                      <a:pt x="1117" y="935"/>
                    </a:lnTo>
                    <a:lnTo>
                      <a:pt x="1117" y="935"/>
                    </a:lnTo>
                    <a:lnTo>
                      <a:pt x="1117" y="935"/>
                    </a:lnTo>
                    <a:lnTo>
                      <a:pt x="1120" y="937"/>
                    </a:lnTo>
                    <a:lnTo>
                      <a:pt x="1117" y="937"/>
                    </a:lnTo>
                    <a:lnTo>
                      <a:pt x="1117" y="940"/>
                    </a:lnTo>
                    <a:lnTo>
                      <a:pt x="1115" y="940"/>
                    </a:lnTo>
                    <a:lnTo>
                      <a:pt x="1115" y="937"/>
                    </a:lnTo>
                    <a:lnTo>
                      <a:pt x="1113" y="940"/>
                    </a:lnTo>
                    <a:lnTo>
                      <a:pt x="1113" y="942"/>
                    </a:lnTo>
                    <a:lnTo>
                      <a:pt x="1113" y="942"/>
                    </a:lnTo>
                    <a:lnTo>
                      <a:pt x="1113" y="942"/>
                    </a:lnTo>
                    <a:lnTo>
                      <a:pt x="1113" y="944"/>
                    </a:lnTo>
                    <a:lnTo>
                      <a:pt x="1113" y="944"/>
                    </a:lnTo>
                    <a:lnTo>
                      <a:pt x="1115" y="947"/>
                    </a:lnTo>
                    <a:lnTo>
                      <a:pt x="1115" y="947"/>
                    </a:lnTo>
                    <a:lnTo>
                      <a:pt x="1117" y="949"/>
                    </a:lnTo>
                    <a:lnTo>
                      <a:pt x="1115" y="952"/>
                    </a:lnTo>
                    <a:lnTo>
                      <a:pt x="1113" y="952"/>
                    </a:lnTo>
                    <a:lnTo>
                      <a:pt x="1113" y="954"/>
                    </a:lnTo>
                    <a:lnTo>
                      <a:pt x="1110" y="954"/>
                    </a:lnTo>
                    <a:lnTo>
                      <a:pt x="1110" y="954"/>
                    </a:lnTo>
                    <a:lnTo>
                      <a:pt x="1110" y="956"/>
                    </a:lnTo>
                    <a:lnTo>
                      <a:pt x="1110" y="956"/>
                    </a:lnTo>
                    <a:lnTo>
                      <a:pt x="1110" y="959"/>
                    </a:lnTo>
                    <a:lnTo>
                      <a:pt x="1108" y="959"/>
                    </a:lnTo>
                    <a:lnTo>
                      <a:pt x="1108" y="959"/>
                    </a:lnTo>
                    <a:lnTo>
                      <a:pt x="1108" y="961"/>
                    </a:lnTo>
                    <a:lnTo>
                      <a:pt x="1106" y="961"/>
                    </a:lnTo>
                    <a:lnTo>
                      <a:pt x="1103" y="963"/>
                    </a:lnTo>
                    <a:lnTo>
                      <a:pt x="1101" y="966"/>
                    </a:lnTo>
                    <a:lnTo>
                      <a:pt x="1103" y="968"/>
                    </a:lnTo>
                    <a:lnTo>
                      <a:pt x="1103" y="968"/>
                    </a:lnTo>
                    <a:lnTo>
                      <a:pt x="1101" y="968"/>
                    </a:lnTo>
                    <a:lnTo>
                      <a:pt x="1103" y="970"/>
                    </a:lnTo>
                    <a:lnTo>
                      <a:pt x="1103" y="970"/>
                    </a:lnTo>
                    <a:lnTo>
                      <a:pt x="1106" y="970"/>
                    </a:lnTo>
                    <a:lnTo>
                      <a:pt x="1106" y="970"/>
                    </a:lnTo>
                    <a:lnTo>
                      <a:pt x="1106" y="973"/>
                    </a:lnTo>
                    <a:lnTo>
                      <a:pt x="1108" y="973"/>
                    </a:lnTo>
                    <a:lnTo>
                      <a:pt x="1108" y="970"/>
                    </a:lnTo>
                    <a:lnTo>
                      <a:pt x="1108" y="970"/>
                    </a:lnTo>
                    <a:lnTo>
                      <a:pt x="1110" y="970"/>
                    </a:lnTo>
                    <a:lnTo>
                      <a:pt x="1110" y="970"/>
                    </a:lnTo>
                    <a:lnTo>
                      <a:pt x="1113" y="973"/>
                    </a:lnTo>
                    <a:lnTo>
                      <a:pt x="1113" y="973"/>
                    </a:lnTo>
                    <a:lnTo>
                      <a:pt x="1113" y="973"/>
                    </a:lnTo>
                    <a:lnTo>
                      <a:pt x="1113" y="975"/>
                    </a:lnTo>
                    <a:lnTo>
                      <a:pt x="1113" y="973"/>
                    </a:lnTo>
                    <a:lnTo>
                      <a:pt x="1115" y="975"/>
                    </a:lnTo>
                    <a:lnTo>
                      <a:pt x="1115" y="978"/>
                    </a:lnTo>
                    <a:lnTo>
                      <a:pt x="1115" y="978"/>
                    </a:lnTo>
                    <a:lnTo>
                      <a:pt x="1115" y="978"/>
                    </a:lnTo>
                    <a:lnTo>
                      <a:pt x="1115" y="980"/>
                    </a:lnTo>
                    <a:lnTo>
                      <a:pt x="1110" y="980"/>
                    </a:lnTo>
                    <a:lnTo>
                      <a:pt x="1110" y="982"/>
                    </a:lnTo>
                    <a:lnTo>
                      <a:pt x="1106" y="982"/>
                    </a:lnTo>
                    <a:lnTo>
                      <a:pt x="1103" y="982"/>
                    </a:lnTo>
                    <a:lnTo>
                      <a:pt x="1101" y="982"/>
                    </a:lnTo>
                    <a:lnTo>
                      <a:pt x="1101" y="982"/>
                    </a:lnTo>
                    <a:lnTo>
                      <a:pt x="1099" y="985"/>
                    </a:lnTo>
                    <a:lnTo>
                      <a:pt x="1091" y="987"/>
                    </a:lnTo>
                    <a:lnTo>
                      <a:pt x="1089" y="989"/>
                    </a:lnTo>
                    <a:lnTo>
                      <a:pt x="1082" y="992"/>
                    </a:lnTo>
                    <a:lnTo>
                      <a:pt x="1075" y="994"/>
                    </a:lnTo>
                    <a:lnTo>
                      <a:pt x="1075" y="996"/>
                    </a:lnTo>
                    <a:lnTo>
                      <a:pt x="1073" y="996"/>
                    </a:lnTo>
                    <a:lnTo>
                      <a:pt x="1073" y="996"/>
                    </a:lnTo>
                    <a:lnTo>
                      <a:pt x="1073" y="996"/>
                    </a:lnTo>
                    <a:lnTo>
                      <a:pt x="1070" y="999"/>
                    </a:lnTo>
                    <a:lnTo>
                      <a:pt x="1065" y="999"/>
                    </a:lnTo>
                    <a:lnTo>
                      <a:pt x="1063" y="999"/>
                    </a:lnTo>
                    <a:lnTo>
                      <a:pt x="1063" y="1001"/>
                    </a:lnTo>
                    <a:lnTo>
                      <a:pt x="1058" y="1003"/>
                    </a:lnTo>
                    <a:lnTo>
                      <a:pt x="1054" y="1006"/>
                    </a:lnTo>
                    <a:lnTo>
                      <a:pt x="1051" y="1006"/>
                    </a:lnTo>
                    <a:lnTo>
                      <a:pt x="1049" y="1008"/>
                    </a:lnTo>
                    <a:lnTo>
                      <a:pt x="1042" y="1008"/>
                    </a:lnTo>
                    <a:lnTo>
                      <a:pt x="1037" y="1011"/>
                    </a:lnTo>
                    <a:lnTo>
                      <a:pt x="1037" y="1013"/>
                    </a:lnTo>
                    <a:lnTo>
                      <a:pt x="1035" y="1015"/>
                    </a:lnTo>
                    <a:lnTo>
                      <a:pt x="1028" y="1018"/>
                    </a:lnTo>
                    <a:lnTo>
                      <a:pt x="1028" y="1018"/>
                    </a:lnTo>
                    <a:lnTo>
                      <a:pt x="1025" y="1018"/>
                    </a:lnTo>
                    <a:lnTo>
                      <a:pt x="1023" y="1020"/>
                    </a:lnTo>
                    <a:lnTo>
                      <a:pt x="1021" y="1020"/>
                    </a:lnTo>
                    <a:lnTo>
                      <a:pt x="1018" y="1022"/>
                    </a:lnTo>
                    <a:lnTo>
                      <a:pt x="1018" y="1022"/>
                    </a:lnTo>
                    <a:lnTo>
                      <a:pt x="1018" y="1022"/>
                    </a:lnTo>
                    <a:lnTo>
                      <a:pt x="1018" y="1025"/>
                    </a:lnTo>
                    <a:lnTo>
                      <a:pt x="1018" y="1025"/>
                    </a:lnTo>
                    <a:lnTo>
                      <a:pt x="1016" y="1027"/>
                    </a:lnTo>
                    <a:lnTo>
                      <a:pt x="1011" y="1027"/>
                    </a:lnTo>
                    <a:lnTo>
                      <a:pt x="1011" y="1027"/>
                    </a:lnTo>
                    <a:lnTo>
                      <a:pt x="1011" y="1027"/>
                    </a:lnTo>
                    <a:lnTo>
                      <a:pt x="1009" y="1027"/>
                    </a:lnTo>
                    <a:lnTo>
                      <a:pt x="1006" y="1027"/>
                    </a:lnTo>
                    <a:lnTo>
                      <a:pt x="1006" y="1029"/>
                    </a:lnTo>
                    <a:lnTo>
                      <a:pt x="1004" y="1032"/>
                    </a:lnTo>
                    <a:lnTo>
                      <a:pt x="1004" y="1029"/>
                    </a:lnTo>
                    <a:lnTo>
                      <a:pt x="1002" y="1027"/>
                    </a:lnTo>
                    <a:lnTo>
                      <a:pt x="1002" y="1025"/>
                    </a:lnTo>
                    <a:lnTo>
                      <a:pt x="1006" y="1025"/>
                    </a:lnTo>
                    <a:lnTo>
                      <a:pt x="1006" y="1022"/>
                    </a:lnTo>
                    <a:lnTo>
                      <a:pt x="1006" y="1020"/>
                    </a:lnTo>
                    <a:lnTo>
                      <a:pt x="1004" y="1020"/>
                    </a:lnTo>
                    <a:lnTo>
                      <a:pt x="1002" y="1020"/>
                    </a:lnTo>
                    <a:lnTo>
                      <a:pt x="1002" y="1020"/>
                    </a:lnTo>
                    <a:lnTo>
                      <a:pt x="1002" y="1018"/>
                    </a:lnTo>
                    <a:lnTo>
                      <a:pt x="999" y="1018"/>
                    </a:lnTo>
                    <a:lnTo>
                      <a:pt x="997" y="1022"/>
                    </a:lnTo>
                    <a:lnTo>
                      <a:pt x="997" y="1020"/>
                    </a:lnTo>
                    <a:lnTo>
                      <a:pt x="997" y="1020"/>
                    </a:lnTo>
                    <a:lnTo>
                      <a:pt x="995" y="1020"/>
                    </a:lnTo>
                    <a:lnTo>
                      <a:pt x="995" y="1020"/>
                    </a:lnTo>
                    <a:lnTo>
                      <a:pt x="992" y="1020"/>
                    </a:lnTo>
                    <a:lnTo>
                      <a:pt x="992" y="1020"/>
                    </a:lnTo>
                    <a:lnTo>
                      <a:pt x="992" y="1018"/>
                    </a:lnTo>
                    <a:lnTo>
                      <a:pt x="992" y="1018"/>
                    </a:lnTo>
                    <a:lnTo>
                      <a:pt x="990" y="1018"/>
                    </a:lnTo>
                    <a:lnTo>
                      <a:pt x="990" y="1018"/>
                    </a:lnTo>
                    <a:lnTo>
                      <a:pt x="990" y="1018"/>
                    </a:lnTo>
                    <a:lnTo>
                      <a:pt x="988" y="1018"/>
                    </a:lnTo>
                    <a:lnTo>
                      <a:pt x="985" y="1018"/>
                    </a:lnTo>
                    <a:lnTo>
                      <a:pt x="983" y="1018"/>
                    </a:lnTo>
                    <a:lnTo>
                      <a:pt x="983" y="1018"/>
                    </a:lnTo>
                    <a:lnTo>
                      <a:pt x="980" y="1018"/>
                    </a:lnTo>
                    <a:lnTo>
                      <a:pt x="980" y="1018"/>
                    </a:lnTo>
                    <a:lnTo>
                      <a:pt x="978" y="1018"/>
                    </a:lnTo>
                    <a:lnTo>
                      <a:pt x="978" y="1018"/>
                    </a:lnTo>
                    <a:lnTo>
                      <a:pt x="976" y="1018"/>
                    </a:lnTo>
                    <a:lnTo>
                      <a:pt x="976" y="1018"/>
                    </a:lnTo>
                    <a:lnTo>
                      <a:pt x="976" y="1018"/>
                    </a:lnTo>
                    <a:lnTo>
                      <a:pt x="973" y="1020"/>
                    </a:lnTo>
                    <a:lnTo>
                      <a:pt x="969" y="1022"/>
                    </a:lnTo>
                    <a:lnTo>
                      <a:pt x="966" y="1022"/>
                    </a:lnTo>
                    <a:lnTo>
                      <a:pt x="966" y="1025"/>
                    </a:lnTo>
                    <a:lnTo>
                      <a:pt x="964" y="1025"/>
                    </a:lnTo>
                    <a:lnTo>
                      <a:pt x="962" y="1025"/>
                    </a:lnTo>
                    <a:lnTo>
                      <a:pt x="959" y="1025"/>
                    </a:lnTo>
                    <a:lnTo>
                      <a:pt x="957" y="1025"/>
                    </a:lnTo>
                    <a:lnTo>
                      <a:pt x="957" y="1025"/>
                    </a:lnTo>
                    <a:lnTo>
                      <a:pt x="957" y="1025"/>
                    </a:lnTo>
                    <a:lnTo>
                      <a:pt x="957" y="1025"/>
                    </a:lnTo>
                    <a:lnTo>
                      <a:pt x="954" y="1025"/>
                    </a:lnTo>
                    <a:lnTo>
                      <a:pt x="952" y="1027"/>
                    </a:lnTo>
                    <a:lnTo>
                      <a:pt x="950" y="1027"/>
                    </a:lnTo>
                    <a:lnTo>
                      <a:pt x="950" y="1027"/>
                    </a:lnTo>
                    <a:lnTo>
                      <a:pt x="947" y="1025"/>
                    </a:lnTo>
                    <a:lnTo>
                      <a:pt x="947" y="1022"/>
                    </a:lnTo>
                    <a:lnTo>
                      <a:pt x="947" y="1025"/>
                    </a:lnTo>
                    <a:lnTo>
                      <a:pt x="945" y="1025"/>
                    </a:lnTo>
                    <a:lnTo>
                      <a:pt x="945" y="1025"/>
                    </a:lnTo>
                    <a:lnTo>
                      <a:pt x="945" y="1025"/>
                    </a:lnTo>
                    <a:lnTo>
                      <a:pt x="945" y="1027"/>
                    </a:lnTo>
                    <a:lnTo>
                      <a:pt x="945" y="1027"/>
                    </a:lnTo>
                    <a:lnTo>
                      <a:pt x="943" y="1027"/>
                    </a:lnTo>
                    <a:lnTo>
                      <a:pt x="943" y="1025"/>
                    </a:lnTo>
                    <a:lnTo>
                      <a:pt x="943" y="1027"/>
                    </a:lnTo>
                    <a:lnTo>
                      <a:pt x="940" y="1025"/>
                    </a:lnTo>
                    <a:lnTo>
                      <a:pt x="940" y="1025"/>
                    </a:lnTo>
                    <a:lnTo>
                      <a:pt x="938" y="1025"/>
                    </a:lnTo>
                    <a:lnTo>
                      <a:pt x="938" y="1025"/>
                    </a:lnTo>
                    <a:lnTo>
                      <a:pt x="938" y="1025"/>
                    </a:lnTo>
                    <a:lnTo>
                      <a:pt x="938" y="1027"/>
                    </a:lnTo>
                    <a:lnTo>
                      <a:pt x="936" y="1027"/>
                    </a:lnTo>
                    <a:lnTo>
                      <a:pt x="936" y="1027"/>
                    </a:lnTo>
                    <a:lnTo>
                      <a:pt x="936" y="1025"/>
                    </a:lnTo>
                    <a:lnTo>
                      <a:pt x="933" y="1025"/>
                    </a:lnTo>
                    <a:lnTo>
                      <a:pt x="933" y="1027"/>
                    </a:lnTo>
                    <a:lnTo>
                      <a:pt x="933" y="1027"/>
                    </a:lnTo>
                    <a:lnTo>
                      <a:pt x="931" y="1027"/>
                    </a:lnTo>
                    <a:lnTo>
                      <a:pt x="928" y="1029"/>
                    </a:lnTo>
                    <a:lnTo>
                      <a:pt x="928" y="1027"/>
                    </a:lnTo>
                    <a:lnTo>
                      <a:pt x="926" y="1027"/>
                    </a:lnTo>
                    <a:lnTo>
                      <a:pt x="926" y="1027"/>
                    </a:lnTo>
                    <a:lnTo>
                      <a:pt x="926" y="1027"/>
                    </a:lnTo>
                    <a:lnTo>
                      <a:pt x="926" y="1027"/>
                    </a:lnTo>
                    <a:lnTo>
                      <a:pt x="926" y="1025"/>
                    </a:lnTo>
                    <a:lnTo>
                      <a:pt x="926" y="1025"/>
                    </a:lnTo>
                    <a:lnTo>
                      <a:pt x="924" y="1025"/>
                    </a:lnTo>
                    <a:lnTo>
                      <a:pt x="924" y="1025"/>
                    </a:lnTo>
                    <a:lnTo>
                      <a:pt x="919" y="1027"/>
                    </a:lnTo>
                    <a:lnTo>
                      <a:pt x="919" y="1027"/>
                    </a:lnTo>
                    <a:lnTo>
                      <a:pt x="919" y="1027"/>
                    </a:lnTo>
                    <a:lnTo>
                      <a:pt x="917" y="1027"/>
                    </a:lnTo>
                    <a:lnTo>
                      <a:pt x="914" y="1029"/>
                    </a:lnTo>
                    <a:lnTo>
                      <a:pt x="914" y="1027"/>
                    </a:lnTo>
                    <a:lnTo>
                      <a:pt x="912" y="1029"/>
                    </a:lnTo>
                    <a:lnTo>
                      <a:pt x="912" y="1029"/>
                    </a:lnTo>
                    <a:lnTo>
                      <a:pt x="912" y="1029"/>
                    </a:lnTo>
                    <a:lnTo>
                      <a:pt x="910" y="1029"/>
                    </a:lnTo>
                    <a:lnTo>
                      <a:pt x="910" y="1032"/>
                    </a:lnTo>
                    <a:lnTo>
                      <a:pt x="910" y="1032"/>
                    </a:lnTo>
                    <a:lnTo>
                      <a:pt x="907" y="1032"/>
                    </a:lnTo>
                    <a:lnTo>
                      <a:pt x="902" y="1034"/>
                    </a:lnTo>
                    <a:lnTo>
                      <a:pt x="900" y="1034"/>
                    </a:lnTo>
                    <a:lnTo>
                      <a:pt x="900" y="1034"/>
                    </a:lnTo>
                    <a:lnTo>
                      <a:pt x="898" y="1034"/>
                    </a:lnTo>
                    <a:lnTo>
                      <a:pt x="898" y="1037"/>
                    </a:lnTo>
                    <a:lnTo>
                      <a:pt x="898" y="1037"/>
                    </a:lnTo>
                    <a:lnTo>
                      <a:pt x="895" y="1037"/>
                    </a:lnTo>
                    <a:lnTo>
                      <a:pt x="895" y="1037"/>
                    </a:lnTo>
                    <a:lnTo>
                      <a:pt x="893" y="1037"/>
                    </a:lnTo>
                    <a:lnTo>
                      <a:pt x="893" y="1037"/>
                    </a:lnTo>
                    <a:lnTo>
                      <a:pt x="891" y="1037"/>
                    </a:lnTo>
                    <a:lnTo>
                      <a:pt x="891" y="1037"/>
                    </a:lnTo>
                    <a:lnTo>
                      <a:pt x="886" y="1037"/>
                    </a:lnTo>
                    <a:lnTo>
                      <a:pt x="886" y="1037"/>
                    </a:lnTo>
                    <a:lnTo>
                      <a:pt x="886" y="1039"/>
                    </a:lnTo>
                    <a:lnTo>
                      <a:pt x="884" y="1039"/>
                    </a:lnTo>
                    <a:lnTo>
                      <a:pt x="884" y="1041"/>
                    </a:lnTo>
                    <a:lnTo>
                      <a:pt x="884" y="1039"/>
                    </a:lnTo>
                    <a:lnTo>
                      <a:pt x="881" y="1039"/>
                    </a:lnTo>
                    <a:lnTo>
                      <a:pt x="881" y="1039"/>
                    </a:lnTo>
                    <a:lnTo>
                      <a:pt x="881" y="1041"/>
                    </a:lnTo>
                    <a:lnTo>
                      <a:pt x="881" y="1041"/>
                    </a:lnTo>
                    <a:lnTo>
                      <a:pt x="879" y="1041"/>
                    </a:lnTo>
                    <a:lnTo>
                      <a:pt x="879" y="1041"/>
                    </a:lnTo>
                    <a:lnTo>
                      <a:pt x="879" y="1041"/>
                    </a:lnTo>
                    <a:lnTo>
                      <a:pt x="879" y="1044"/>
                    </a:lnTo>
                    <a:lnTo>
                      <a:pt x="879" y="1044"/>
                    </a:lnTo>
                    <a:lnTo>
                      <a:pt x="879" y="1044"/>
                    </a:lnTo>
                    <a:lnTo>
                      <a:pt x="876" y="1044"/>
                    </a:lnTo>
                    <a:lnTo>
                      <a:pt x="876" y="1044"/>
                    </a:lnTo>
                    <a:lnTo>
                      <a:pt x="874" y="1046"/>
                    </a:lnTo>
                    <a:lnTo>
                      <a:pt x="874" y="1046"/>
                    </a:lnTo>
                    <a:lnTo>
                      <a:pt x="874" y="1046"/>
                    </a:lnTo>
                    <a:lnTo>
                      <a:pt x="872" y="1046"/>
                    </a:lnTo>
                    <a:lnTo>
                      <a:pt x="872" y="1046"/>
                    </a:lnTo>
                    <a:lnTo>
                      <a:pt x="872" y="1048"/>
                    </a:lnTo>
                    <a:lnTo>
                      <a:pt x="869" y="1048"/>
                    </a:lnTo>
                    <a:lnTo>
                      <a:pt x="869" y="1048"/>
                    </a:lnTo>
                    <a:lnTo>
                      <a:pt x="869" y="1048"/>
                    </a:lnTo>
                    <a:lnTo>
                      <a:pt x="867" y="1048"/>
                    </a:lnTo>
                    <a:lnTo>
                      <a:pt x="867" y="1051"/>
                    </a:lnTo>
                    <a:lnTo>
                      <a:pt x="865" y="1051"/>
                    </a:lnTo>
                    <a:lnTo>
                      <a:pt x="865" y="1051"/>
                    </a:lnTo>
                    <a:lnTo>
                      <a:pt x="862" y="1051"/>
                    </a:lnTo>
                    <a:lnTo>
                      <a:pt x="862" y="1051"/>
                    </a:lnTo>
                    <a:lnTo>
                      <a:pt x="862" y="1048"/>
                    </a:lnTo>
                    <a:lnTo>
                      <a:pt x="862" y="1048"/>
                    </a:lnTo>
                    <a:lnTo>
                      <a:pt x="860" y="1048"/>
                    </a:lnTo>
                    <a:lnTo>
                      <a:pt x="860" y="1048"/>
                    </a:lnTo>
                    <a:lnTo>
                      <a:pt x="860" y="1048"/>
                    </a:lnTo>
                    <a:lnTo>
                      <a:pt x="858" y="1048"/>
                    </a:lnTo>
                    <a:lnTo>
                      <a:pt x="858" y="1048"/>
                    </a:lnTo>
                    <a:lnTo>
                      <a:pt x="858" y="1051"/>
                    </a:lnTo>
                    <a:lnTo>
                      <a:pt x="855" y="1051"/>
                    </a:lnTo>
                    <a:lnTo>
                      <a:pt x="855" y="1051"/>
                    </a:lnTo>
                    <a:lnTo>
                      <a:pt x="853" y="1051"/>
                    </a:lnTo>
                    <a:lnTo>
                      <a:pt x="853" y="1051"/>
                    </a:lnTo>
                    <a:lnTo>
                      <a:pt x="850" y="1051"/>
                    </a:lnTo>
                    <a:lnTo>
                      <a:pt x="850" y="1048"/>
                    </a:lnTo>
                    <a:lnTo>
                      <a:pt x="848" y="1051"/>
                    </a:lnTo>
                    <a:lnTo>
                      <a:pt x="846" y="1051"/>
                    </a:lnTo>
                    <a:lnTo>
                      <a:pt x="846" y="1051"/>
                    </a:lnTo>
                    <a:lnTo>
                      <a:pt x="846" y="1051"/>
                    </a:lnTo>
                    <a:lnTo>
                      <a:pt x="846" y="1051"/>
                    </a:lnTo>
                    <a:lnTo>
                      <a:pt x="843" y="1051"/>
                    </a:lnTo>
                    <a:lnTo>
                      <a:pt x="841" y="1051"/>
                    </a:lnTo>
                    <a:lnTo>
                      <a:pt x="841" y="1048"/>
                    </a:lnTo>
                    <a:lnTo>
                      <a:pt x="839" y="1051"/>
                    </a:lnTo>
                    <a:lnTo>
                      <a:pt x="839" y="1051"/>
                    </a:lnTo>
                    <a:lnTo>
                      <a:pt x="836" y="1051"/>
                    </a:lnTo>
                    <a:lnTo>
                      <a:pt x="836" y="1051"/>
                    </a:lnTo>
                    <a:lnTo>
                      <a:pt x="836" y="1053"/>
                    </a:lnTo>
                    <a:lnTo>
                      <a:pt x="836" y="1053"/>
                    </a:lnTo>
                    <a:lnTo>
                      <a:pt x="836" y="1053"/>
                    </a:lnTo>
                    <a:lnTo>
                      <a:pt x="832" y="1055"/>
                    </a:lnTo>
                    <a:lnTo>
                      <a:pt x="829" y="1055"/>
                    </a:lnTo>
                    <a:lnTo>
                      <a:pt x="829" y="1058"/>
                    </a:lnTo>
                    <a:lnTo>
                      <a:pt x="827" y="1058"/>
                    </a:lnTo>
                    <a:lnTo>
                      <a:pt x="827" y="1060"/>
                    </a:lnTo>
                    <a:lnTo>
                      <a:pt x="827" y="1060"/>
                    </a:lnTo>
                    <a:lnTo>
                      <a:pt x="827" y="1058"/>
                    </a:lnTo>
                    <a:lnTo>
                      <a:pt x="825" y="1060"/>
                    </a:lnTo>
                    <a:lnTo>
                      <a:pt x="822" y="1058"/>
                    </a:lnTo>
                    <a:lnTo>
                      <a:pt x="820" y="1060"/>
                    </a:lnTo>
                    <a:lnTo>
                      <a:pt x="820" y="1058"/>
                    </a:lnTo>
                    <a:lnTo>
                      <a:pt x="820" y="1058"/>
                    </a:lnTo>
                    <a:lnTo>
                      <a:pt x="817" y="1060"/>
                    </a:lnTo>
                    <a:lnTo>
                      <a:pt x="815" y="1060"/>
                    </a:lnTo>
                    <a:lnTo>
                      <a:pt x="815" y="1063"/>
                    </a:lnTo>
                    <a:lnTo>
                      <a:pt x="813" y="1063"/>
                    </a:lnTo>
                    <a:lnTo>
                      <a:pt x="813" y="1063"/>
                    </a:lnTo>
                    <a:lnTo>
                      <a:pt x="810" y="1065"/>
                    </a:lnTo>
                    <a:lnTo>
                      <a:pt x="810" y="1065"/>
                    </a:lnTo>
                    <a:lnTo>
                      <a:pt x="810" y="1065"/>
                    </a:lnTo>
                    <a:lnTo>
                      <a:pt x="808" y="1065"/>
                    </a:lnTo>
                    <a:lnTo>
                      <a:pt x="808" y="1065"/>
                    </a:lnTo>
                    <a:lnTo>
                      <a:pt x="806" y="1065"/>
                    </a:lnTo>
                    <a:lnTo>
                      <a:pt x="803" y="1063"/>
                    </a:lnTo>
                    <a:lnTo>
                      <a:pt x="801" y="1063"/>
                    </a:lnTo>
                    <a:lnTo>
                      <a:pt x="801" y="1065"/>
                    </a:lnTo>
                    <a:lnTo>
                      <a:pt x="799" y="1065"/>
                    </a:lnTo>
                    <a:lnTo>
                      <a:pt x="796" y="1065"/>
                    </a:lnTo>
                    <a:lnTo>
                      <a:pt x="796" y="1065"/>
                    </a:lnTo>
                    <a:lnTo>
                      <a:pt x="796" y="1067"/>
                    </a:lnTo>
                    <a:lnTo>
                      <a:pt x="794" y="1067"/>
                    </a:lnTo>
                    <a:lnTo>
                      <a:pt x="794" y="1067"/>
                    </a:lnTo>
                    <a:lnTo>
                      <a:pt x="791" y="1070"/>
                    </a:lnTo>
                    <a:lnTo>
                      <a:pt x="791" y="1070"/>
                    </a:lnTo>
                    <a:lnTo>
                      <a:pt x="791" y="1072"/>
                    </a:lnTo>
                    <a:lnTo>
                      <a:pt x="789" y="1072"/>
                    </a:lnTo>
                    <a:lnTo>
                      <a:pt x="789" y="1072"/>
                    </a:lnTo>
                    <a:lnTo>
                      <a:pt x="787" y="1072"/>
                    </a:lnTo>
                    <a:lnTo>
                      <a:pt x="787" y="1072"/>
                    </a:lnTo>
                    <a:lnTo>
                      <a:pt x="784" y="1072"/>
                    </a:lnTo>
                    <a:lnTo>
                      <a:pt x="784" y="1072"/>
                    </a:lnTo>
                    <a:lnTo>
                      <a:pt x="782" y="1072"/>
                    </a:lnTo>
                    <a:lnTo>
                      <a:pt x="782" y="1077"/>
                    </a:lnTo>
                    <a:lnTo>
                      <a:pt x="780" y="1077"/>
                    </a:lnTo>
                    <a:lnTo>
                      <a:pt x="777" y="1077"/>
                    </a:lnTo>
                    <a:lnTo>
                      <a:pt x="773" y="1077"/>
                    </a:lnTo>
                    <a:lnTo>
                      <a:pt x="773" y="1079"/>
                    </a:lnTo>
                    <a:lnTo>
                      <a:pt x="770" y="1077"/>
                    </a:lnTo>
                    <a:lnTo>
                      <a:pt x="768" y="1077"/>
                    </a:lnTo>
                    <a:lnTo>
                      <a:pt x="768" y="1077"/>
                    </a:lnTo>
                    <a:lnTo>
                      <a:pt x="765" y="1077"/>
                    </a:lnTo>
                    <a:lnTo>
                      <a:pt x="765" y="1077"/>
                    </a:lnTo>
                    <a:lnTo>
                      <a:pt x="763" y="1077"/>
                    </a:lnTo>
                    <a:lnTo>
                      <a:pt x="761" y="1079"/>
                    </a:lnTo>
                    <a:lnTo>
                      <a:pt x="758" y="1079"/>
                    </a:lnTo>
                    <a:lnTo>
                      <a:pt x="756" y="1079"/>
                    </a:lnTo>
                    <a:lnTo>
                      <a:pt x="756" y="1079"/>
                    </a:lnTo>
                    <a:lnTo>
                      <a:pt x="754" y="1081"/>
                    </a:lnTo>
                    <a:lnTo>
                      <a:pt x="754" y="1081"/>
                    </a:lnTo>
                    <a:lnTo>
                      <a:pt x="751" y="1081"/>
                    </a:lnTo>
                    <a:lnTo>
                      <a:pt x="751" y="1081"/>
                    </a:lnTo>
                    <a:lnTo>
                      <a:pt x="749" y="1081"/>
                    </a:lnTo>
                    <a:lnTo>
                      <a:pt x="749" y="1084"/>
                    </a:lnTo>
                    <a:lnTo>
                      <a:pt x="747" y="1086"/>
                    </a:lnTo>
                    <a:lnTo>
                      <a:pt x="747" y="1086"/>
                    </a:lnTo>
                    <a:lnTo>
                      <a:pt x="749" y="1086"/>
                    </a:lnTo>
                    <a:lnTo>
                      <a:pt x="747" y="1089"/>
                    </a:lnTo>
                    <a:lnTo>
                      <a:pt x="742" y="1089"/>
                    </a:lnTo>
                    <a:lnTo>
                      <a:pt x="742" y="1089"/>
                    </a:lnTo>
                    <a:lnTo>
                      <a:pt x="739" y="1091"/>
                    </a:lnTo>
                    <a:lnTo>
                      <a:pt x="739" y="1091"/>
                    </a:lnTo>
                    <a:lnTo>
                      <a:pt x="735" y="1093"/>
                    </a:lnTo>
                    <a:lnTo>
                      <a:pt x="735" y="1093"/>
                    </a:lnTo>
                    <a:lnTo>
                      <a:pt x="735" y="1096"/>
                    </a:lnTo>
                    <a:lnTo>
                      <a:pt x="735" y="1096"/>
                    </a:lnTo>
                    <a:lnTo>
                      <a:pt x="735" y="1096"/>
                    </a:lnTo>
                    <a:lnTo>
                      <a:pt x="732" y="1098"/>
                    </a:lnTo>
                    <a:lnTo>
                      <a:pt x="730" y="1096"/>
                    </a:lnTo>
                    <a:lnTo>
                      <a:pt x="725" y="1098"/>
                    </a:lnTo>
                    <a:lnTo>
                      <a:pt x="725" y="1098"/>
                    </a:lnTo>
                    <a:lnTo>
                      <a:pt x="723" y="1098"/>
                    </a:lnTo>
                    <a:lnTo>
                      <a:pt x="723" y="1100"/>
                    </a:lnTo>
                    <a:lnTo>
                      <a:pt x="721" y="1100"/>
                    </a:lnTo>
                    <a:lnTo>
                      <a:pt x="718" y="1100"/>
                    </a:lnTo>
                    <a:lnTo>
                      <a:pt x="718" y="1100"/>
                    </a:lnTo>
                    <a:lnTo>
                      <a:pt x="716" y="1100"/>
                    </a:lnTo>
                    <a:lnTo>
                      <a:pt x="716" y="1098"/>
                    </a:lnTo>
                    <a:lnTo>
                      <a:pt x="716" y="1098"/>
                    </a:lnTo>
                    <a:lnTo>
                      <a:pt x="716" y="1098"/>
                    </a:lnTo>
                    <a:lnTo>
                      <a:pt x="713" y="1098"/>
                    </a:lnTo>
                    <a:lnTo>
                      <a:pt x="713" y="1096"/>
                    </a:lnTo>
                    <a:lnTo>
                      <a:pt x="711" y="1096"/>
                    </a:lnTo>
                    <a:lnTo>
                      <a:pt x="711" y="1096"/>
                    </a:lnTo>
                    <a:lnTo>
                      <a:pt x="709" y="1093"/>
                    </a:lnTo>
                    <a:lnTo>
                      <a:pt x="706" y="1093"/>
                    </a:lnTo>
                    <a:lnTo>
                      <a:pt x="709" y="1096"/>
                    </a:lnTo>
                    <a:lnTo>
                      <a:pt x="706" y="1098"/>
                    </a:lnTo>
                    <a:lnTo>
                      <a:pt x="704" y="1098"/>
                    </a:lnTo>
                    <a:lnTo>
                      <a:pt x="702" y="1100"/>
                    </a:lnTo>
                    <a:lnTo>
                      <a:pt x="699" y="1100"/>
                    </a:lnTo>
                    <a:lnTo>
                      <a:pt x="699" y="1100"/>
                    </a:lnTo>
                    <a:lnTo>
                      <a:pt x="699" y="1100"/>
                    </a:lnTo>
                    <a:lnTo>
                      <a:pt x="695" y="1103"/>
                    </a:lnTo>
                    <a:lnTo>
                      <a:pt x="695" y="1100"/>
                    </a:lnTo>
                    <a:lnTo>
                      <a:pt x="695" y="1100"/>
                    </a:lnTo>
                    <a:lnTo>
                      <a:pt x="695" y="1100"/>
                    </a:lnTo>
                    <a:lnTo>
                      <a:pt x="697" y="1098"/>
                    </a:lnTo>
                    <a:lnTo>
                      <a:pt x="697" y="1096"/>
                    </a:lnTo>
                    <a:lnTo>
                      <a:pt x="695" y="1096"/>
                    </a:lnTo>
                    <a:lnTo>
                      <a:pt x="695" y="1096"/>
                    </a:lnTo>
                    <a:lnTo>
                      <a:pt x="695" y="1096"/>
                    </a:lnTo>
                    <a:lnTo>
                      <a:pt x="695" y="1096"/>
                    </a:lnTo>
                    <a:lnTo>
                      <a:pt x="695" y="1098"/>
                    </a:lnTo>
                    <a:lnTo>
                      <a:pt x="692" y="1098"/>
                    </a:lnTo>
                    <a:lnTo>
                      <a:pt x="690" y="1100"/>
                    </a:lnTo>
                    <a:lnTo>
                      <a:pt x="685" y="1100"/>
                    </a:lnTo>
                    <a:lnTo>
                      <a:pt x="685" y="1100"/>
                    </a:lnTo>
                    <a:lnTo>
                      <a:pt x="683" y="1100"/>
                    </a:lnTo>
                    <a:lnTo>
                      <a:pt x="680" y="1100"/>
                    </a:lnTo>
                    <a:lnTo>
                      <a:pt x="683" y="1098"/>
                    </a:lnTo>
                    <a:lnTo>
                      <a:pt x="683" y="1098"/>
                    </a:lnTo>
                    <a:lnTo>
                      <a:pt x="685" y="1096"/>
                    </a:lnTo>
                    <a:lnTo>
                      <a:pt x="683" y="1096"/>
                    </a:lnTo>
                    <a:lnTo>
                      <a:pt x="685" y="1096"/>
                    </a:lnTo>
                    <a:lnTo>
                      <a:pt x="685" y="1096"/>
                    </a:lnTo>
                    <a:lnTo>
                      <a:pt x="685" y="1093"/>
                    </a:lnTo>
                    <a:lnTo>
                      <a:pt x="685" y="1091"/>
                    </a:lnTo>
                    <a:lnTo>
                      <a:pt x="683" y="1091"/>
                    </a:lnTo>
                    <a:lnTo>
                      <a:pt x="680" y="1093"/>
                    </a:lnTo>
                    <a:lnTo>
                      <a:pt x="678" y="1091"/>
                    </a:lnTo>
                    <a:lnTo>
                      <a:pt x="676" y="1093"/>
                    </a:lnTo>
                    <a:lnTo>
                      <a:pt x="676" y="1093"/>
                    </a:lnTo>
                    <a:lnTo>
                      <a:pt x="676" y="1096"/>
                    </a:lnTo>
                    <a:lnTo>
                      <a:pt x="676" y="1096"/>
                    </a:lnTo>
                    <a:lnTo>
                      <a:pt x="676" y="1096"/>
                    </a:lnTo>
                    <a:lnTo>
                      <a:pt x="676" y="1098"/>
                    </a:lnTo>
                    <a:lnTo>
                      <a:pt x="678" y="1098"/>
                    </a:lnTo>
                    <a:lnTo>
                      <a:pt x="678" y="1100"/>
                    </a:lnTo>
                    <a:lnTo>
                      <a:pt x="680" y="1100"/>
                    </a:lnTo>
                    <a:lnTo>
                      <a:pt x="680" y="1100"/>
                    </a:lnTo>
                    <a:lnTo>
                      <a:pt x="680" y="1100"/>
                    </a:lnTo>
                    <a:lnTo>
                      <a:pt x="678" y="1103"/>
                    </a:lnTo>
                    <a:lnTo>
                      <a:pt x="678" y="1103"/>
                    </a:lnTo>
                    <a:lnTo>
                      <a:pt x="676" y="1103"/>
                    </a:lnTo>
                    <a:lnTo>
                      <a:pt x="673" y="1103"/>
                    </a:lnTo>
                    <a:lnTo>
                      <a:pt x="673" y="1103"/>
                    </a:lnTo>
                    <a:lnTo>
                      <a:pt x="673" y="1105"/>
                    </a:lnTo>
                    <a:lnTo>
                      <a:pt x="671" y="1105"/>
                    </a:lnTo>
                    <a:lnTo>
                      <a:pt x="671" y="1105"/>
                    </a:lnTo>
                    <a:lnTo>
                      <a:pt x="669" y="1105"/>
                    </a:lnTo>
                    <a:lnTo>
                      <a:pt x="669" y="1107"/>
                    </a:lnTo>
                    <a:lnTo>
                      <a:pt x="666" y="1107"/>
                    </a:lnTo>
                    <a:lnTo>
                      <a:pt x="664" y="1110"/>
                    </a:lnTo>
                    <a:lnTo>
                      <a:pt x="666" y="1112"/>
                    </a:lnTo>
                    <a:lnTo>
                      <a:pt x="666" y="1112"/>
                    </a:lnTo>
                    <a:lnTo>
                      <a:pt x="669" y="1112"/>
                    </a:lnTo>
                    <a:lnTo>
                      <a:pt x="671" y="1110"/>
                    </a:lnTo>
                    <a:lnTo>
                      <a:pt x="673" y="1110"/>
                    </a:lnTo>
                    <a:lnTo>
                      <a:pt x="676" y="1110"/>
                    </a:lnTo>
                    <a:lnTo>
                      <a:pt x="676" y="1110"/>
                    </a:lnTo>
                    <a:lnTo>
                      <a:pt x="676" y="1110"/>
                    </a:lnTo>
                    <a:lnTo>
                      <a:pt x="678" y="1115"/>
                    </a:lnTo>
                    <a:lnTo>
                      <a:pt x="678" y="1115"/>
                    </a:lnTo>
                    <a:lnTo>
                      <a:pt x="678" y="1115"/>
                    </a:lnTo>
                    <a:lnTo>
                      <a:pt x="678" y="1117"/>
                    </a:lnTo>
                    <a:lnTo>
                      <a:pt x="678" y="1117"/>
                    </a:lnTo>
                    <a:lnTo>
                      <a:pt x="676" y="1117"/>
                    </a:lnTo>
                    <a:lnTo>
                      <a:pt x="676" y="1119"/>
                    </a:lnTo>
                    <a:lnTo>
                      <a:pt x="676" y="1119"/>
                    </a:lnTo>
                    <a:lnTo>
                      <a:pt x="676" y="1122"/>
                    </a:lnTo>
                    <a:lnTo>
                      <a:pt x="678" y="1122"/>
                    </a:lnTo>
                    <a:lnTo>
                      <a:pt x="678" y="1122"/>
                    </a:lnTo>
                    <a:lnTo>
                      <a:pt x="678" y="1124"/>
                    </a:lnTo>
                    <a:lnTo>
                      <a:pt x="676" y="1124"/>
                    </a:lnTo>
                    <a:lnTo>
                      <a:pt x="676" y="1122"/>
                    </a:lnTo>
                    <a:lnTo>
                      <a:pt x="676" y="1122"/>
                    </a:lnTo>
                    <a:lnTo>
                      <a:pt x="673" y="1119"/>
                    </a:lnTo>
                    <a:lnTo>
                      <a:pt x="673" y="1119"/>
                    </a:lnTo>
                    <a:lnTo>
                      <a:pt x="671" y="1122"/>
                    </a:lnTo>
                    <a:lnTo>
                      <a:pt x="671" y="1122"/>
                    </a:lnTo>
                    <a:lnTo>
                      <a:pt x="671" y="1126"/>
                    </a:lnTo>
                    <a:lnTo>
                      <a:pt x="671" y="1126"/>
                    </a:lnTo>
                    <a:lnTo>
                      <a:pt x="671" y="1126"/>
                    </a:lnTo>
                    <a:lnTo>
                      <a:pt x="669" y="1129"/>
                    </a:lnTo>
                    <a:lnTo>
                      <a:pt x="669" y="1129"/>
                    </a:lnTo>
                    <a:lnTo>
                      <a:pt x="666" y="1126"/>
                    </a:lnTo>
                    <a:lnTo>
                      <a:pt x="666" y="1126"/>
                    </a:lnTo>
                    <a:lnTo>
                      <a:pt x="666" y="1124"/>
                    </a:lnTo>
                    <a:lnTo>
                      <a:pt x="666" y="1126"/>
                    </a:lnTo>
                    <a:lnTo>
                      <a:pt x="664" y="1124"/>
                    </a:lnTo>
                    <a:lnTo>
                      <a:pt x="664" y="1126"/>
                    </a:lnTo>
                    <a:lnTo>
                      <a:pt x="662" y="1126"/>
                    </a:lnTo>
                    <a:lnTo>
                      <a:pt x="662" y="1126"/>
                    </a:lnTo>
                    <a:lnTo>
                      <a:pt x="659" y="1126"/>
                    </a:lnTo>
                    <a:lnTo>
                      <a:pt x="659" y="1126"/>
                    </a:lnTo>
                    <a:lnTo>
                      <a:pt x="659" y="1129"/>
                    </a:lnTo>
                    <a:lnTo>
                      <a:pt x="659" y="1129"/>
                    </a:lnTo>
                    <a:lnTo>
                      <a:pt x="659" y="1129"/>
                    </a:lnTo>
                    <a:lnTo>
                      <a:pt x="657" y="1131"/>
                    </a:lnTo>
                    <a:lnTo>
                      <a:pt x="657" y="1131"/>
                    </a:lnTo>
                    <a:lnTo>
                      <a:pt x="657" y="1129"/>
                    </a:lnTo>
                    <a:lnTo>
                      <a:pt x="657" y="1129"/>
                    </a:lnTo>
                    <a:lnTo>
                      <a:pt x="654" y="1129"/>
                    </a:lnTo>
                    <a:lnTo>
                      <a:pt x="654" y="1126"/>
                    </a:lnTo>
                    <a:lnTo>
                      <a:pt x="654" y="1126"/>
                    </a:lnTo>
                    <a:lnTo>
                      <a:pt x="652" y="1126"/>
                    </a:lnTo>
                    <a:lnTo>
                      <a:pt x="652" y="1124"/>
                    </a:lnTo>
                    <a:lnTo>
                      <a:pt x="654" y="1124"/>
                    </a:lnTo>
                    <a:lnTo>
                      <a:pt x="652" y="1124"/>
                    </a:lnTo>
                    <a:lnTo>
                      <a:pt x="652" y="1124"/>
                    </a:lnTo>
                    <a:lnTo>
                      <a:pt x="652" y="1124"/>
                    </a:lnTo>
                    <a:lnTo>
                      <a:pt x="650" y="1126"/>
                    </a:lnTo>
                    <a:lnTo>
                      <a:pt x="647" y="1126"/>
                    </a:lnTo>
                    <a:lnTo>
                      <a:pt x="647" y="1126"/>
                    </a:lnTo>
                    <a:lnTo>
                      <a:pt x="645" y="1129"/>
                    </a:lnTo>
                    <a:lnTo>
                      <a:pt x="645" y="1129"/>
                    </a:lnTo>
                    <a:lnTo>
                      <a:pt x="643" y="1129"/>
                    </a:lnTo>
                    <a:lnTo>
                      <a:pt x="643" y="1131"/>
                    </a:lnTo>
                    <a:lnTo>
                      <a:pt x="640" y="1131"/>
                    </a:lnTo>
                    <a:lnTo>
                      <a:pt x="640" y="1133"/>
                    </a:lnTo>
                    <a:lnTo>
                      <a:pt x="638" y="1131"/>
                    </a:lnTo>
                    <a:lnTo>
                      <a:pt x="636" y="1133"/>
                    </a:lnTo>
                    <a:lnTo>
                      <a:pt x="631" y="1133"/>
                    </a:lnTo>
                    <a:lnTo>
                      <a:pt x="628" y="1133"/>
                    </a:lnTo>
                    <a:lnTo>
                      <a:pt x="626" y="1136"/>
                    </a:lnTo>
                    <a:lnTo>
                      <a:pt x="626" y="1136"/>
                    </a:lnTo>
                    <a:lnTo>
                      <a:pt x="624" y="1136"/>
                    </a:lnTo>
                    <a:lnTo>
                      <a:pt x="621" y="1136"/>
                    </a:lnTo>
                    <a:lnTo>
                      <a:pt x="624" y="1136"/>
                    </a:lnTo>
                    <a:lnTo>
                      <a:pt x="624" y="1133"/>
                    </a:lnTo>
                    <a:lnTo>
                      <a:pt x="624" y="1131"/>
                    </a:lnTo>
                    <a:lnTo>
                      <a:pt x="624" y="1129"/>
                    </a:lnTo>
                    <a:lnTo>
                      <a:pt x="624" y="1129"/>
                    </a:lnTo>
                    <a:lnTo>
                      <a:pt x="621" y="1129"/>
                    </a:lnTo>
                    <a:lnTo>
                      <a:pt x="617" y="1129"/>
                    </a:lnTo>
                    <a:lnTo>
                      <a:pt x="617" y="1129"/>
                    </a:lnTo>
                    <a:lnTo>
                      <a:pt x="617" y="1129"/>
                    </a:lnTo>
                    <a:lnTo>
                      <a:pt x="612" y="1131"/>
                    </a:lnTo>
                    <a:lnTo>
                      <a:pt x="612" y="1133"/>
                    </a:lnTo>
                    <a:lnTo>
                      <a:pt x="610" y="1133"/>
                    </a:lnTo>
                    <a:lnTo>
                      <a:pt x="607" y="1133"/>
                    </a:lnTo>
                    <a:lnTo>
                      <a:pt x="607" y="1131"/>
                    </a:lnTo>
                    <a:lnTo>
                      <a:pt x="607" y="1131"/>
                    </a:lnTo>
                    <a:lnTo>
                      <a:pt x="605" y="1131"/>
                    </a:lnTo>
                    <a:lnTo>
                      <a:pt x="605" y="1133"/>
                    </a:lnTo>
                    <a:lnTo>
                      <a:pt x="602" y="1133"/>
                    </a:lnTo>
                    <a:lnTo>
                      <a:pt x="598" y="1133"/>
                    </a:lnTo>
                    <a:lnTo>
                      <a:pt x="598" y="1133"/>
                    </a:lnTo>
                    <a:lnTo>
                      <a:pt x="595" y="1133"/>
                    </a:lnTo>
                    <a:lnTo>
                      <a:pt x="595" y="1131"/>
                    </a:lnTo>
                    <a:lnTo>
                      <a:pt x="593" y="1131"/>
                    </a:lnTo>
                    <a:lnTo>
                      <a:pt x="593" y="1129"/>
                    </a:lnTo>
                    <a:lnTo>
                      <a:pt x="593" y="1129"/>
                    </a:lnTo>
                    <a:lnTo>
                      <a:pt x="593" y="1129"/>
                    </a:lnTo>
                    <a:lnTo>
                      <a:pt x="595" y="1129"/>
                    </a:lnTo>
                    <a:lnTo>
                      <a:pt x="593" y="1126"/>
                    </a:lnTo>
                    <a:lnTo>
                      <a:pt x="595" y="1126"/>
                    </a:lnTo>
                    <a:lnTo>
                      <a:pt x="593" y="1124"/>
                    </a:lnTo>
                    <a:lnTo>
                      <a:pt x="593" y="1124"/>
                    </a:lnTo>
                    <a:lnTo>
                      <a:pt x="595" y="1119"/>
                    </a:lnTo>
                    <a:lnTo>
                      <a:pt x="598" y="1119"/>
                    </a:lnTo>
                    <a:lnTo>
                      <a:pt x="598" y="1117"/>
                    </a:lnTo>
                    <a:lnTo>
                      <a:pt x="598" y="1117"/>
                    </a:lnTo>
                    <a:lnTo>
                      <a:pt x="598" y="1117"/>
                    </a:lnTo>
                    <a:lnTo>
                      <a:pt x="598" y="1117"/>
                    </a:lnTo>
                    <a:lnTo>
                      <a:pt x="598" y="1115"/>
                    </a:lnTo>
                    <a:lnTo>
                      <a:pt x="595" y="1115"/>
                    </a:lnTo>
                    <a:lnTo>
                      <a:pt x="595" y="1117"/>
                    </a:lnTo>
                    <a:lnTo>
                      <a:pt x="593" y="1115"/>
                    </a:lnTo>
                    <a:lnTo>
                      <a:pt x="593" y="1115"/>
                    </a:lnTo>
                    <a:lnTo>
                      <a:pt x="593" y="1112"/>
                    </a:lnTo>
                    <a:lnTo>
                      <a:pt x="593" y="1115"/>
                    </a:lnTo>
                    <a:lnTo>
                      <a:pt x="591" y="1115"/>
                    </a:lnTo>
                    <a:lnTo>
                      <a:pt x="588" y="1112"/>
                    </a:lnTo>
                    <a:lnTo>
                      <a:pt x="588" y="1112"/>
                    </a:lnTo>
                    <a:lnTo>
                      <a:pt x="586" y="1112"/>
                    </a:lnTo>
                    <a:lnTo>
                      <a:pt x="586" y="1110"/>
                    </a:lnTo>
                    <a:lnTo>
                      <a:pt x="584" y="1110"/>
                    </a:lnTo>
                    <a:lnTo>
                      <a:pt x="584" y="1107"/>
                    </a:lnTo>
                    <a:lnTo>
                      <a:pt x="581" y="1107"/>
                    </a:lnTo>
                    <a:lnTo>
                      <a:pt x="581" y="1107"/>
                    </a:lnTo>
                    <a:lnTo>
                      <a:pt x="581" y="1107"/>
                    </a:lnTo>
                    <a:lnTo>
                      <a:pt x="581" y="1105"/>
                    </a:lnTo>
                    <a:lnTo>
                      <a:pt x="581" y="1105"/>
                    </a:lnTo>
                    <a:lnTo>
                      <a:pt x="581" y="1105"/>
                    </a:lnTo>
                    <a:lnTo>
                      <a:pt x="584" y="1105"/>
                    </a:lnTo>
                    <a:lnTo>
                      <a:pt x="584" y="1105"/>
                    </a:lnTo>
                    <a:lnTo>
                      <a:pt x="586" y="1103"/>
                    </a:lnTo>
                    <a:lnTo>
                      <a:pt x="586" y="1103"/>
                    </a:lnTo>
                    <a:lnTo>
                      <a:pt x="588" y="1103"/>
                    </a:lnTo>
                    <a:lnTo>
                      <a:pt x="588" y="1103"/>
                    </a:lnTo>
                    <a:lnTo>
                      <a:pt x="591" y="1103"/>
                    </a:lnTo>
                    <a:lnTo>
                      <a:pt x="588" y="1105"/>
                    </a:lnTo>
                    <a:lnTo>
                      <a:pt x="591" y="1105"/>
                    </a:lnTo>
                    <a:lnTo>
                      <a:pt x="593" y="1103"/>
                    </a:lnTo>
                    <a:lnTo>
                      <a:pt x="593" y="1100"/>
                    </a:lnTo>
                    <a:lnTo>
                      <a:pt x="591" y="1100"/>
                    </a:lnTo>
                    <a:lnTo>
                      <a:pt x="591" y="1100"/>
                    </a:lnTo>
                    <a:lnTo>
                      <a:pt x="588" y="1100"/>
                    </a:lnTo>
                    <a:lnTo>
                      <a:pt x="588" y="1098"/>
                    </a:lnTo>
                    <a:lnTo>
                      <a:pt x="588" y="1098"/>
                    </a:lnTo>
                    <a:lnTo>
                      <a:pt x="591" y="1098"/>
                    </a:lnTo>
                    <a:lnTo>
                      <a:pt x="588" y="1096"/>
                    </a:lnTo>
                    <a:lnTo>
                      <a:pt x="588" y="1093"/>
                    </a:lnTo>
                    <a:lnTo>
                      <a:pt x="586" y="1093"/>
                    </a:lnTo>
                    <a:lnTo>
                      <a:pt x="586" y="1091"/>
                    </a:lnTo>
                    <a:lnTo>
                      <a:pt x="588" y="1089"/>
                    </a:lnTo>
                    <a:lnTo>
                      <a:pt x="588" y="1086"/>
                    </a:lnTo>
                    <a:lnTo>
                      <a:pt x="588" y="1089"/>
                    </a:lnTo>
                    <a:lnTo>
                      <a:pt x="588" y="1089"/>
                    </a:lnTo>
                    <a:lnTo>
                      <a:pt x="586" y="1086"/>
                    </a:lnTo>
                    <a:lnTo>
                      <a:pt x="586" y="1086"/>
                    </a:lnTo>
                    <a:lnTo>
                      <a:pt x="584" y="1086"/>
                    </a:lnTo>
                    <a:lnTo>
                      <a:pt x="584" y="1084"/>
                    </a:lnTo>
                    <a:lnTo>
                      <a:pt x="584" y="1084"/>
                    </a:lnTo>
                    <a:lnTo>
                      <a:pt x="579" y="1084"/>
                    </a:lnTo>
                    <a:lnTo>
                      <a:pt x="579" y="1084"/>
                    </a:lnTo>
                    <a:lnTo>
                      <a:pt x="576" y="1084"/>
                    </a:lnTo>
                    <a:lnTo>
                      <a:pt x="576" y="1081"/>
                    </a:lnTo>
                    <a:lnTo>
                      <a:pt x="574" y="1081"/>
                    </a:lnTo>
                    <a:lnTo>
                      <a:pt x="574" y="1079"/>
                    </a:lnTo>
                    <a:lnTo>
                      <a:pt x="574" y="1079"/>
                    </a:lnTo>
                    <a:lnTo>
                      <a:pt x="572" y="1077"/>
                    </a:lnTo>
                    <a:lnTo>
                      <a:pt x="572" y="1077"/>
                    </a:lnTo>
                    <a:lnTo>
                      <a:pt x="572" y="1077"/>
                    </a:lnTo>
                    <a:lnTo>
                      <a:pt x="572" y="1077"/>
                    </a:lnTo>
                    <a:lnTo>
                      <a:pt x="572" y="1074"/>
                    </a:lnTo>
                    <a:lnTo>
                      <a:pt x="569" y="1074"/>
                    </a:lnTo>
                    <a:lnTo>
                      <a:pt x="569" y="1077"/>
                    </a:lnTo>
                    <a:lnTo>
                      <a:pt x="569" y="1074"/>
                    </a:lnTo>
                    <a:lnTo>
                      <a:pt x="567" y="1074"/>
                    </a:lnTo>
                    <a:lnTo>
                      <a:pt x="567" y="1074"/>
                    </a:lnTo>
                    <a:lnTo>
                      <a:pt x="565" y="1074"/>
                    </a:lnTo>
                    <a:lnTo>
                      <a:pt x="562" y="1072"/>
                    </a:lnTo>
                    <a:lnTo>
                      <a:pt x="562" y="1074"/>
                    </a:lnTo>
                    <a:lnTo>
                      <a:pt x="560" y="1072"/>
                    </a:lnTo>
                    <a:lnTo>
                      <a:pt x="560" y="1072"/>
                    </a:lnTo>
                    <a:lnTo>
                      <a:pt x="560" y="1072"/>
                    </a:lnTo>
                    <a:lnTo>
                      <a:pt x="560" y="1072"/>
                    </a:lnTo>
                    <a:lnTo>
                      <a:pt x="558" y="1070"/>
                    </a:lnTo>
                    <a:lnTo>
                      <a:pt x="558" y="1070"/>
                    </a:lnTo>
                    <a:lnTo>
                      <a:pt x="558" y="1067"/>
                    </a:lnTo>
                    <a:lnTo>
                      <a:pt x="558" y="1065"/>
                    </a:lnTo>
                    <a:lnTo>
                      <a:pt x="558" y="1065"/>
                    </a:lnTo>
                    <a:lnTo>
                      <a:pt x="555" y="1065"/>
                    </a:lnTo>
                    <a:lnTo>
                      <a:pt x="555" y="1063"/>
                    </a:lnTo>
                    <a:lnTo>
                      <a:pt x="553" y="1063"/>
                    </a:lnTo>
                    <a:lnTo>
                      <a:pt x="553" y="1063"/>
                    </a:lnTo>
                    <a:lnTo>
                      <a:pt x="553" y="1063"/>
                    </a:lnTo>
                    <a:lnTo>
                      <a:pt x="553" y="1060"/>
                    </a:lnTo>
                    <a:lnTo>
                      <a:pt x="553" y="1060"/>
                    </a:lnTo>
                    <a:lnTo>
                      <a:pt x="553" y="1060"/>
                    </a:lnTo>
                    <a:lnTo>
                      <a:pt x="553" y="1058"/>
                    </a:lnTo>
                    <a:lnTo>
                      <a:pt x="550" y="1058"/>
                    </a:lnTo>
                    <a:lnTo>
                      <a:pt x="550" y="1058"/>
                    </a:lnTo>
                    <a:lnTo>
                      <a:pt x="550" y="1058"/>
                    </a:lnTo>
                    <a:lnTo>
                      <a:pt x="550" y="1055"/>
                    </a:lnTo>
                    <a:lnTo>
                      <a:pt x="550" y="1055"/>
                    </a:lnTo>
                    <a:lnTo>
                      <a:pt x="553" y="1055"/>
                    </a:lnTo>
                    <a:lnTo>
                      <a:pt x="550" y="1053"/>
                    </a:lnTo>
                    <a:lnTo>
                      <a:pt x="553" y="1053"/>
                    </a:lnTo>
                    <a:lnTo>
                      <a:pt x="550" y="1051"/>
                    </a:lnTo>
                    <a:lnTo>
                      <a:pt x="550" y="1051"/>
                    </a:lnTo>
                    <a:lnTo>
                      <a:pt x="553" y="1051"/>
                    </a:lnTo>
                    <a:lnTo>
                      <a:pt x="553" y="1048"/>
                    </a:lnTo>
                    <a:lnTo>
                      <a:pt x="553" y="1048"/>
                    </a:lnTo>
                    <a:lnTo>
                      <a:pt x="553" y="1046"/>
                    </a:lnTo>
                    <a:lnTo>
                      <a:pt x="555" y="1046"/>
                    </a:lnTo>
                    <a:lnTo>
                      <a:pt x="555" y="1044"/>
                    </a:lnTo>
                    <a:lnTo>
                      <a:pt x="558" y="1041"/>
                    </a:lnTo>
                    <a:lnTo>
                      <a:pt x="555" y="1039"/>
                    </a:lnTo>
                    <a:lnTo>
                      <a:pt x="558" y="1039"/>
                    </a:lnTo>
                    <a:lnTo>
                      <a:pt x="558" y="1039"/>
                    </a:lnTo>
                    <a:lnTo>
                      <a:pt x="560" y="1039"/>
                    </a:lnTo>
                    <a:lnTo>
                      <a:pt x="560" y="1037"/>
                    </a:lnTo>
                    <a:lnTo>
                      <a:pt x="562" y="1037"/>
                    </a:lnTo>
                    <a:lnTo>
                      <a:pt x="565" y="1034"/>
                    </a:lnTo>
                    <a:lnTo>
                      <a:pt x="565" y="1034"/>
                    </a:lnTo>
                    <a:lnTo>
                      <a:pt x="562" y="1034"/>
                    </a:lnTo>
                    <a:lnTo>
                      <a:pt x="562" y="1032"/>
                    </a:lnTo>
                    <a:lnTo>
                      <a:pt x="560" y="1029"/>
                    </a:lnTo>
                    <a:lnTo>
                      <a:pt x="560" y="1027"/>
                    </a:lnTo>
                    <a:lnTo>
                      <a:pt x="558" y="1029"/>
                    </a:lnTo>
                    <a:lnTo>
                      <a:pt x="555" y="1027"/>
                    </a:lnTo>
                    <a:lnTo>
                      <a:pt x="553" y="1027"/>
                    </a:lnTo>
                    <a:lnTo>
                      <a:pt x="553" y="1027"/>
                    </a:lnTo>
                    <a:lnTo>
                      <a:pt x="553" y="1027"/>
                    </a:lnTo>
                    <a:lnTo>
                      <a:pt x="550" y="1027"/>
                    </a:lnTo>
                    <a:lnTo>
                      <a:pt x="550" y="1027"/>
                    </a:lnTo>
                    <a:lnTo>
                      <a:pt x="550" y="1027"/>
                    </a:lnTo>
                    <a:lnTo>
                      <a:pt x="550" y="1027"/>
                    </a:lnTo>
                    <a:lnTo>
                      <a:pt x="550" y="1025"/>
                    </a:lnTo>
                    <a:lnTo>
                      <a:pt x="550" y="1025"/>
                    </a:lnTo>
                    <a:lnTo>
                      <a:pt x="550" y="1027"/>
                    </a:lnTo>
                    <a:lnTo>
                      <a:pt x="553" y="1025"/>
                    </a:lnTo>
                    <a:lnTo>
                      <a:pt x="555" y="1025"/>
                    </a:lnTo>
                    <a:lnTo>
                      <a:pt x="558" y="1025"/>
                    </a:lnTo>
                    <a:lnTo>
                      <a:pt x="558" y="1025"/>
                    </a:lnTo>
                    <a:lnTo>
                      <a:pt x="555" y="1022"/>
                    </a:lnTo>
                    <a:lnTo>
                      <a:pt x="553" y="1022"/>
                    </a:lnTo>
                    <a:lnTo>
                      <a:pt x="555" y="1020"/>
                    </a:lnTo>
                    <a:lnTo>
                      <a:pt x="555" y="1020"/>
                    </a:lnTo>
                    <a:lnTo>
                      <a:pt x="555" y="1018"/>
                    </a:lnTo>
                    <a:lnTo>
                      <a:pt x="558" y="1020"/>
                    </a:lnTo>
                    <a:lnTo>
                      <a:pt x="558" y="1018"/>
                    </a:lnTo>
                    <a:lnTo>
                      <a:pt x="558" y="1018"/>
                    </a:lnTo>
                    <a:lnTo>
                      <a:pt x="560" y="1018"/>
                    </a:lnTo>
                    <a:lnTo>
                      <a:pt x="560" y="1018"/>
                    </a:lnTo>
                    <a:lnTo>
                      <a:pt x="562" y="1018"/>
                    </a:lnTo>
                    <a:lnTo>
                      <a:pt x="562" y="1018"/>
                    </a:lnTo>
                    <a:lnTo>
                      <a:pt x="562" y="1018"/>
                    </a:lnTo>
                    <a:lnTo>
                      <a:pt x="562" y="1018"/>
                    </a:lnTo>
                    <a:lnTo>
                      <a:pt x="562" y="1015"/>
                    </a:lnTo>
                    <a:lnTo>
                      <a:pt x="562" y="1015"/>
                    </a:lnTo>
                    <a:lnTo>
                      <a:pt x="562" y="1013"/>
                    </a:lnTo>
                    <a:lnTo>
                      <a:pt x="560" y="1013"/>
                    </a:lnTo>
                    <a:lnTo>
                      <a:pt x="560" y="1013"/>
                    </a:lnTo>
                    <a:lnTo>
                      <a:pt x="558" y="1011"/>
                    </a:lnTo>
                    <a:lnTo>
                      <a:pt x="558" y="1008"/>
                    </a:lnTo>
                    <a:lnTo>
                      <a:pt x="558" y="1008"/>
                    </a:lnTo>
                    <a:lnTo>
                      <a:pt x="558" y="1006"/>
                    </a:lnTo>
                    <a:lnTo>
                      <a:pt x="555" y="1003"/>
                    </a:lnTo>
                    <a:lnTo>
                      <a:pt x="558" y="1003"/>
                    </a:lnTo>
                    <a:lnTo>
                      <a:pt x="558" y="1003"/>
                    </a:lnTo>
                    <a:lnTo>
                      <a:pt x="558" y="1003"/>
                    </a:lnTo>
                    <a:lnTo>
                      <a:pt x="560" y="1001"/>
                    </a:lnTo>
                    <a:lnTo>
                      <a:pt x="558" y="999"/>
                    </a:lnTo>
                    <a:lnTo>
                      <a:pt x="558" y="999"/>
                    </a:lnTo>
                    <a:lnTo>
                      <a:pt x="558" y="996"/>
                    </a:lnTo>
                    <a:lnTo>
                      <a:pt x="555" y="996"/>
                    </a:lnTo>
                    <a:lnTo>
                      <a:pt x="555" y="996"/>
                    </a:lnTo>
                    <a:lnTo>
                      <a:pt x="553" y="994"/>
                    </a:lnTo>
                    <a:lnTo>
                      <a:pt x="555" y="994"/>
                    </a:lnTo>
                    <a:lnTo>
                      <a:pt x="558" y="992"/>
                    </a:lnTo>
                    <a:lnTo>
                      <a:pt x="558" y="992"/>
                    </a:lnTo>
                    <a:lnTo>
                      <a:pt x="560" y="989"/>
                    </a:lnTo>
                    <a:lnTo>
                      <a:pt x="558" y="987"/>
                    </a:lnTo>
                    <a:lnTo>
                      <a:pt x="560" y="987"/>
                    </a:lnTo>
                    <a:lnTo>
                      <a:pt x="560" y="987"/>
                    </a:lnTo>
                    <a:lnTo>
                      <a:pt x="562" y="987"/>
                    </a:lnTo>
                    <a:lnTo>
                      <a:pt x="562" y="985"/>
                    </a:lnTo>
                    <a:lnTo>
                      <a:pt x="562" y="982"/>
                    </a:lnTo>
                    <a:lnTo>
                      <a:pt x="562" y="982"/>
                    </a:lnTo>
                    <a:lnTo>
                      <a:pt x="562" y="980"/>
                    </a:lnTo>
                    <a:lnTo>
                      <a:pt x="562" y="980"/>
                    </a:lnTo>
                    <a:lnTo>
                      <a:pt x="562" y="978"/>
                    </a:lnTo>
                    <a:lnTo>
                      <a:pt x="562" y="978"/>
                    </a:lnTo>
                    <a:lnTo>
                      <a:pt x="562" y="975"/>
                    </a:lnTo>
                    <a:lnTo>
                      <a:pt x="562" y="973"/>
                    </a:lnTo>
                    <a:lnTo>
                      <a:pt x="567" y="975"/>
                    </a:lnTo>
                    <a:lnTo>
                      <a:pt x="569" y="973"/>
                    </a:lnTo>
                    <a:lnTo>
                      <a:pt x="569" y="970"/>
                    </a:lnTo>
                    <a:lnTo>
                      <a:pt x="572" y="970"/>
                    </a:lnTo>
                    <a:lnTo>
                      <a:pt x="572" y="970"/>
                    </a:lnTo>
                    <a:lnTo>
                      <a:pt x="572" y="968"/>
                    </a:lnTo>
                    <a:lnTo>
                      <a:pt x="572" y="968"/>
                    </a:lnTo>
                    <a:lnTo>
                      <a:pt x="574" y="968"/>
                    </a:lnTo>
                    <a:lnTo>
                      <a:pt x="574" y="966"/>
                    </a:lnTo>
                    <a:lnTo>
                      <a:pt x="576" y="966"/>
                    </a:lnTo>
                    <a:lnTo>
                      <a:pt x="576" y="963"/>
                    </a:lnTo>
                    <a:lnTo>
                      <a:pt x="574" y="963"/>
                    </a:lnTo>
                    <a:lnTo>
                      <a:pt x="576" y="963"/>
                    </a:lnTo>
                    <a:lnTo>
                      <a:pt x="576" y="961"/>
                    </a:lnTo>
                    <a:lnTo>
                      <a:pt x="576" y="961"/>
                    </a:lnTo>
                    <a:lnTo>
                      <a:pt x="576" y="959"/>
                    </a:lnTo>
                    <a:lnTo>
                      <a:pt x="576" y="959"/>
                    </a:lnTo>
                    <a:lnTo>
                      <a:pt x="579" y="959"/>
                    </a:lnTo>
                    <a:lnTo>
                      <a:pt x="579" y="959"/>
                    </a:lnTo>
                    <a:lnTo>
                      <a:pt x="576" y="956"/>
                    </a:lnTo>
                    <a:lnTo>
                      <a:pt x="576" y="954"/>
                    </a:lnTo>
                    <a:lnTo>
                      <a:pt x="574" y="954"/>
                    </a:lnTo>
                    <a:lnTo>
                      <a:pt x="576" y="952"/>
                    </a:lnTo>
                    <a:lnTo>
                      <a:pt x="576" y="952"/>
                    </a:lnTo>
                    <a:lnTo>
                      <a:pt x="576" y="949"/>
                    </a:lnTo>
                    <a:lnTo>
                      <a:pt x="576" y="949"/>
                    </a:lnTo>
                    <a:lnTo>
                      <a:pt x="576" y="947"/>
                    </a:lnTo>
                    <a:lnTo>
                      <a:pt x="576" y="944"/>
                    </a:lnTo>
                    <a:lnTo>
                      <a:pt x="576" y="944"/>
                    </a:lnTo>
                    <a:lnTo>
                      <a:pt x="576" y="944"/>
                    </a:lnTo>
                    <a:lnTo>
                      <a:pt x="574" y="944"/>
                    </a:lnTo>
                    <a:lnTo>
                      <a:pt x="574" y="944"/>
                    </a:lnTo>
                    <a:lnTo>
                      <a:pt x="572" y="942"/>
                    </a:lnTo>
                    <a:lnTo>
                      <a:pt x="569" y="942"/>
                    </a:lnTo>
                    <a:lnTo>
                      <a:pt x="569" y="942"/>
                    </a:lnTo>
                    <a:lnTo>
                      <a:pt x="569" y="942"/>
                    </a:lnTo>
                    <a:lnTo>
                      <a:pt x="565" y="942"/>
                    </a:lnTo>
                    <a:lnTo>
                      <a:pt x="565" y="944"/>
                    </a:lnTo>
                    <a:lnTo>
                      <a:pt x="562" y="942"/>
                    </a:lnTo>
                    <a:lnTo>
                      <a:pt x="562" y="942"/>
                    </a:lnTo>
                    <a:lnTo>
                      <a:pt x="562" y="942"/>
                    </a:lnTo>
                    <a:lnTo>
                      <a:pt x="562" y="942"/>
                    </a:lnTo>
                    <a:lnTo>
                      <a:pt x="562" y="940"/>
                    </a:lnTo>
                    <a:lnTo>
                      <a:pt x="562" y="940"/>
                    </a:lnTo>
                    <a:lnTo>
                      <a:pt x="560" y="940"/>
                    </a:lnTo>
                    <a:lnTo>
                      <a:pt x="560" y="937"/>
                    </a:lnTo>
                    <a:lnTo>
                      <a:pt x="560" y="937"/>
                    </a:lnTo>
                    <a:lnTo>
                      <a:pt x="560" y="935"/>
                    </a:lnTo>
                    <a:lnTo>
                      <a:pt x="560" y="935"/>
                    </a:lnTo>
                    <a:lnTo>
                      <a:pt x="560" y="935"/>
                    </a:lnTo>
                    <a:lnTo>
                      <a:pt x="560" y="933"/>
                    </a:lnTo>
                    <a:lnTo>
                      <a:pt x="558" y="933"/>
                    </a:lnTo>
                    <a:lnTo>
                      <a:pt x="558" y="933"/>
                    </a:lnTo>
                    <a:lnTo>
                      <a:pt x="555" y="935"/>
                    </a:lnTo>
                    <a:lnTo>
                      <a:pt x="555" y="935"/>
                    </a:lnTo>
                    <a:lnTo>
                      <a:pt x="553" y="935"/>
                    </a:lnTo>
                    <a:lnTo>
                      <a:pt x="553" y="935"/>
                    </a:lnTo>
                    <a:lnTo>
                      <a:pt x="550" y="940"/>
                    </a:lnTo>
                    <a:lnTo>
                      <a:pt x="550" y="937"/>
                    </a:lnTo>
                    <a:lnTo>
                      <a:pt x="550" y="935"/>
                    </a:lnTo>
                    <a:lnTo>
                      <a:pt x="550" y="937"/>
                    </a:lnTo>
                    <a:lnTo>
                      <a:pt x="548" y="937"/>
                    </a:lnTo>
                    <a:lnTo>
                      <a:pt x="546" y="935"/>
                    </a:lnTo>
                    <a:lnTo>
                      <a:pt x="543" y="935"/>
                    </a:lnTo>
                    <a:lnTo>
                      <a:pt x="546" y="933"/>
                    </a:lnTo>
                    <a:lnTo>
                      <a:pt x="543" y="933"/>
                    </a:lnTo>
                    <a:lnTo>
                      <a:pt x="543" y="933"/>
                    </a:lnTo>
                    <a:lnTo>
                      <a:pt x="541" y="933"/>
                    </a:lnTo>
                    <a:lnTo>
                      <a:pt x="541" y="935"/>
                    </a:lnTo>
                    <a:lnTo>
                      <a:pt x="539" y="933"/>
                    </a:lnTo>
                    <a:lnTo>
                      <a:pt x="536" y="933"/>
                    </a:lnTo>
                    <a:lnTo>
                      <a:pt x="534" y="935"/>
                    </a:lnTo>
                    <a:lnTo>
                      <a:pt x="534" y="935"/>
                    </a:lnTo>
                    <a:lnTo>
                      <a:pt x="534" y="935"/>
                    </a:lnTo>
                    <a:lnTo>
                      <a:pt x="532" y="935"/>
                    </a:lnTo>
                    <a:lnTo>
                      <a:pt x="532" y="937"/>
                    </a:lnTo>
                    <a:lnTo>
                      <a:pt x="532" y="937"/>
                    </a:lnTo>
                    <a:lnTo>
                      <a:pt x="532" y="937"/>
                    </a:lnTo>
                    <a:lnTo>
                      <a:pt x="529" y="940"/>
                    </a:lnTo>
                    <a:lnTo>
                      <a:pt x="529" y="940"/>
                    </a:lnTo>
                    <a:lnTo>
                      <a:pt x="527" y="940"/>
                    </a:lnTo>
                    <a:lnTo>
                      <a:pt x="527" y="940"/>
                    </a:lnTo>
                    <a:lnTo>
                      <a:pt x="524" y="940"/>
                    </a:lnTo>
                    <a:lnTo>
                      <a:pt x="524" y="942"/>
                    </a:lnTo>
                    <a:lnTo>
                      <a:pt x="524" y="940"/>
                    </a:lnTo>
                    <a:lnTo>
                      <a:pt x="522" y="942"/>
                    </a:lnTo>
                    <a:lnTo>
                      <a:pt x="522" y="940"/>
                    </a:lnTo>
                    <a:lnTo>
                      <a:pt x="520" y="942"/>
                    </a:lnTo>
                    <a:lnTo>
                      <a:pt x="520" y="940"/>
                    </a:lnTo>
                    <a:lnTo>
                      <a:pt x="520" y="940"/>
                    </a:lnTo>
                    <a:lnTo>
                      <a:pt x="517" y="940"/>
                    </a:lnTo>
                    <a:lnTo>
                      <a:pt x="515" y="942"/>
                    </a:lnTo>
                    <a:lnTo>
                      <a:pt x="515" y="940"/>
                    </a:lnTo>
                    <a:lnTo>
                      <a:pt x="515" y="942"/>
                    </a:lnTo>
                    <a:lnTo>
                      <a:pt x="515" y="940"/>
                    </a:lnTo>
                    <a:lnTo>
                      <a:pt x="513" y="940"/>
                    </a:lnTo>
                    <a:lnTo>
                      <a:pt x="513" y="940"/>
                    </a:lnTo>
                    <a:lnTo>
                      <a:pt x="513" y="940"/>
                    </a:lnTo>
                    <a:lnTo>
                      <a:pt x="513" y="940"/>
                    </a:lnTo>
                    <a:lnTo>
                      <a:pt x="513" y="937"/>
                    </a:lnTo>
                    <a:lnTo>
                      <a:pt x="513" y="937"/>
                    </a:lnTo>
                    <a:lnTo>
                      <a:pt x="515" y="935"/>
                    </a:lnTo>
                    <a:lnTo>
                      <a:pt x="513" y="933"/>
                    </a:lnTo>
                    <a:lnTo>
                      <a:pt x="515" y="933"/>
                    </a:lnTo>
                    <a:lnTo>
                      <a:pt x="515" y="933"/>
                    </a:lnTo>
                    <a:lnTo>
                      <a:pt x="515" y="930"/>
                    </a:lnTo>
                    <a:lnTo>
                      <a:pt x="513" y="930"/>
                    </a:lnTo>
                    <a:lnTo>
                      <a:pt x="513" y="928"/>
                    </a:lnTo>
                    <a:lnTo>
                      <a:pt x="513" y="928"/>
                    </a:lnTo>
                    <a:lnTo>
                      <a:pt x="510" y="926"/>
                    </a:lnTo>
                    <a:lnTo>
                      <a:pt x="510" y="926"/>
                    </a:lnTo>
                    <a:lnTo>
                      <a:pt x="510" y="926"/>
                    </a:lnTo>
                    <a:lnTo>
                      <a:pt x="510" y="923"/>
                    </a:lnTo>
                    <a:lnTo>
                      <a:pt x="510" y="923"/>
                    </a:lnTo>
                    <a:lnTo>
                      <a:pt x="510" y="921"/>
                    </a:lnTo>
                    <a:lnTo>
                      <a:pt x="508" y="918"/>
                    </a:lnTo>
                    <a:lnTo>
                      <a:pt x="508" y="918"/>
                    </a:lnTo>
                    <a:lnTo>
                      <a:pt x="508" y="918"/>
                    </a:lnTo>
                    <a:lnTo>
                      <a:pt x="506" y="916"/>
                    </a:lnTo>
                    <a:lnTo>
                      <a:pt x="506" y="916"/>
                    </a:lnTo>
                    <a:lnTo>
                      <a:pt x="506" y="916"/>
                    </a:lnTo>
                    <a:lnTo>
                      <a:pt x="506" y="914"/>
                    </a:lnTo>
                    <a:lnTo>
                      <a:pt x="506" y="914"/>
                    </a:lnTo>
                    <a:lnTo>
                      <a:pt x="506" y="914"/>
                    </a:lnTo>
                    <a:lnTo>
                      <a:pt x="506" y="914"/>
                    </a:lnTo>
                    <a:lnTo>
                      <a:pt x="503" y="914"/>
                    </a:lnTo>
                    <a:lnTo>
                      <a:pt x="503" y="914"/>
                    </a:lnTo>
                    <a:lnTo>
                      <a:pt x="503" y="914"/>
                    </a:lnTo>
                    <a:lnTo>
                      <a:pt x="501" y="911"/>
                    </a:lnTo>
                    <a:lnTo>
                      <a:pt x="501" y="909"/>
                    </a:lnTo>
                    <a:lnTo>
                      <a:pt x="501" y="909"/>
                    </a:lnTo>
                    <a:lnTo>
                      <a:pt x="499" y="907"/>
                    </a:lnTo>
                    <a:lnTo>
                      <a:pt x="501" y="904"/>
                    </a:lnTo>
                    <a:lnTo>
                      <a:pt x="496" y="902"/>
                    </a:lnTo>
                    <a:lnTo>
                      <a:pt x="499" y="902"/>
                    </a:lnTo>
                    <a:lnTo>
                      <a:pt x="499" y="902"/>
                    </a:lnTo>
                    <a:lnTo>
                      <a:pt x="499" y="900"/>
                    </a:lnTo>
                    <a:lnTo>
                      <a:pt x="501" y="900"/>
                    </a:lnTo>
                    <a:lnTo>
                      <a:pt x="501" y="900"/>
                    </a:lnTo>
                    <a:lnTo>
                      <a:pt x="499" y="897"/>
                    </a:lnTo>
                    <a:lnTo>
                      <a:pt x="496" y="897"/>
                    </a:lnTo>
                    <a:lnTo>
                      <a:pt x="496" y="897"/>
                    </a:lnTo>
                    <a:lnTo>
                      <a:pt x="496" y="895"/>
                    </a:lnTo>
                    <a:lnTo>
                      <a:pt x="496" y="892"/>
                    </a:lnTo>
                    <a:lnTo>
                      <a:pt x="496" y="890"/>
                    </a:lnTo>
                    <a:lnTo>
                      <a:pt x="494" y="888"/>
                    </a:lnTo>
                    <a:lnTo>
                      <a:pt x="496" y="888"/>
                    </a:lnTo>
                    <a:lnTo>
                      <a:pt x="496" y="885"/>
                    </a:lnTo>
                    <a:lnTo>
                      <a:pt x="496" y="883"/>
                    </a:lnTo>
                    <a:lnTo>
                      <a:pt x="496" y="881"/>
                    </a:lnTo>
                    <a:lnTo>
                      <a:pt x="494" y="881"/>
                    </a:lnTo>
                    <a:lnTo>
                      <a:pt x="494" y="878"/>
                    </a:lnTo>
                    <a:lnTo>
                      <a:pt x="491" y="878"/>
                    </a:lnTo>
                    <a:lnTo>
                      <a:pt x="491" y="878"/>
                    </a:lnTo>
                    <a:lnTo>
                      <a:pt x="491" y="876"/>
                    </a:lnTo>
                    <a:lnTo>
                      <a:pt x="487" y="876"/>
                    </a:lnTo>
                    <a:lnTo>
                      <a:pt x="487" y="874"/>
                    </a:lnTo>
                    <a:lnTo>
                      <a:pt x="484" y="871"/>
                    </a:lnTo>
                    <a:lnTo>
                      <a:pt x="487" y="866"/>
                    </a:lnTo>
                    <a:lnTo>
                      <a:pt x="487" y="862"/>
                    </a:lnTo>
                    <a:lnTo>
                      <a:pt x="487" y="859"/>
                    </a:lnTo>
                    <a:lnTo>
                      <a:pt x="487" y="859"/>
                    </a:lnTo>
                    <a:lnTo>
                      <a:pt x="489" y="857"/>
                    </a:lnTo>
                    <a:lnTo>
                      <a:pt x="489" y="857"/>
                    </a:lnTo>
                    <a:lnTo>
                      <a:pt x="491" y="855"/>
                    </a:lnTo>
                    <a:lnTo>
                      <a:pt x="491" y="852"/>
                    </a:lnTo>
                    <a:lnTo>
                      <a:pt x="491" y="852"/>
                    </a:lnTo>
                    <a:lnTo>
                      <a:pt x="491" y="850"/>
                    </a:lnTo>
                    <a:lnTo>
                      <a:pt x="494" y="848"/>
                    </a:lnTo>
                    <a:lnTo>
                      <a:pt x="494" y="848"/>
                    </a:lnTo>
                    <a:lnTo>
                      <a:pt x="494" y="848"/>
                    </a:lnTo>
                    <a:lnTo>
                      <a:pt x="496" y="848"/>
                    </a:lnTo>
                    <a:lnTo>
                      <a:pt x="501" y="848"/>
                    </a:lnTo>
                    <a:lnTo>
                      <a:pt x="501" y="848"/>
                    </a:lnTo>
                    <a:lnTo>
                      <a:pt x="501" y="845"/>
                    </a:lnTo>
                    <a:lnTo>
                      <a:pt x="501" y="843"/>
                    </a:lnTo>
                    <a:lnTo>
                      <a:pt x="501" y="843"/>
                    </a:lnTo>
                    <a:lnTo>
                      <a:pt x="503" y="840"/>
                    </a:lnTo>
                    <a:lnTo>
                      <a:pt x="503" y="840"/>
                    </a:lnTo>
                    <a:lnTo>
                      <a:pt x="503" y="838"/>
                    </a:lnTo>
                    <a:lnTo>
                      <a:pt x="501" y="838"/>
                    </a:lnTo>
                    <a:lnTo>
                      <a:pt x="501" y="836"/>
                    </a:lnTo>
                    <a:lnTo>
                      <a:pt x="501" y="836"/>
                    </a:lnTo>
                    <a:lnTo>
                      <a:pt x="499" y="833"/>
                    </a:lnTo>
                    <a:lnTo>
                      <a:pt x="499" y="833"/>
                    </a:lnTo>
                    <a:lnTo>
                      <a:pt x="499" y="833"/>
                    </a:lnTo>
                    <a:lnTo>
                      <a:pt x="499" y="831"/>
                    </a:lnTo>
                    <a:lnTo>
                      <a:pt x="499" y="831"/>
                    </a:lnTo>
                    <a:lnTo>
                      <a:pt x="496" y="829"/>
                    </a:lnTo>
                    <a:lnTo>
                      <a:pt x="496" y="829"/>
                    </a:lnTo>
                    <a:lnTo>
                      <a:pt x="496" y="826"/>
                    </a:lnTo>
                    <a:lnTo>
                      <a:pt x="496" y="824"/>
                    </a:lnTo>
                    <a:lnTo>
                      <a:pt x="496" y="824"/>
                    </a:lnTo>
                    <a:lnTo>
                      <a:pt x="494" y="822"/>
                    </a:lnTo>
                    <a:lnTo>
                      <a:pt x="491" y="822"/>
                    </a:lnTo>
                    <a:lnTo>
                      <a:pt x="489" y="822"/>
                    </a:lnTo>
                    <a:lnTo>
                      <a:pt x="487" y="822"/>
                    </a:lnTo>
                    <a:lnTo>
                      <a:pt x="484" y="819"/>
                    </a:lnTo>
                    <a:lnTo>
                      <a:pt x="482" y="817"/>
                    </a:lnTo>
                    <a:lnTo>
                      <a:pt x="482" y="815"/>
                    </a:lnTo>
                    <a:lnTo>
                      <a:pt x="480" y="815"/>
                    </a:lnTo>
                    <a:lnTo>
                      <a:pt x="477" y="815"/>
                    </a:lnTo>
                    <a:lnTo>
                      <a:pt x="477" y="812"/>
                    </a:lnTo>
                    <a:lnTo>
                      <a:pt x="477" y="812"/>
                    </a:lnTo>
                    <a:lnTo>
                      <a:pt x="477" y="812"/>
                    </a:lnTo>
                    <a:lnTo>
                      <a:pt x="477" y="812"/>
                    </a:lnTo>
                    <a:lnTo>
                      <a:pt x="477" y="810"/>
                    </a:lnTo>
                    <a:lnTo>
                      <a:pt x="477" y="810"/>
                    </a:lnTo>
                    <a:lnTo>
                      <a:pt x="477" y="810"/>
                    </a:lnTo>
                    <a:lnTo>
                      <a:pt x="477" y="807"/>
                    </a:lnTo>
                    <a:lnTo>
                      <a:pt x="477" y="807"/>
                    </a:lnTo>
                    <a:lnTo>
                      <a:pt x="477" y="807"/>
                    </a:lnTo>
                    <a:lnTo>
                      <a:pt x="477" y="807"/>
                    </a:lnTo>
                    <a:lnTo>
                      <a:pt x="477" y="805"/>
                    </a:lnTo>
                    <a:lnTo>
                      <a:pt x="477" y="805"/>
                    </a:lnTo>
                    <a:lnTo>
                      <a:pt x="477" y="805"/>
                    </a:lnTo>
                    <a:lnTo>
                      <a:pt x="477" y="803"/>
                    </a:lnTo>
                    <a:lnTo>
                      <a:pt x="477" y="803"/>
                    </a:lnTo>
                    <a:lnTo>
                      <a:pt x="477" y="800"/>
                    </a:lnTo>
                    <a:lnTo>
                      <a:pt x="477" y="798"/>
                    </a:lnTo>
                    <a:lnTo>
                      <a:pt x="477" y="798"/>
                    </a:lnTo>
                    <a:lnTo>
                      <a:pt x="477" y="798"/>
                    </a:lnTo>
                    <a:lnTo>
                      <a:pt x="477" y="798"/>
                    </a:lnTo>
                    <a:lnTo>
                      <a:pt x="477" y="796"/>
                    </a:lnTo>
                    <a:lnTo>
                      <a:pt x="480" y="796"/>
                    </a:lnTo>
                    <a:lnTo>
                      <a:pt x="480" y="793"/>
                    </a:lnTo>
                    <a:lnTo>
                      <a:pt x="480" y="791"/>
                    </a:lnTo>
                    <a:lnTo>
                      <a:pt x="480" y="791"/>
                    </a:lnTo>
                    <a:lnTo>
                      <a:pt x="482" y="789"/>
                    </a:lnTo>
                    <a:lnTo>
                      <a:pt x="484" y="789"/>
                    </a:lnTo>
                    <a:lnTo>
                      <a:pt x="484" y="784"/>
                    </a:lnTo>
                    <a:lnTo>
                      <a:pt x="484" y="784"/>
                    </a:lnTo>
                    <a:lnTo>
                      <a:pt x="484" y="781"/>
                    </a:lnTo>
                    <a:lnTo>
                      <a:pt x="482" y="779"/>
                    </a:lnTo>
                    <a:lnTo>
                      <a:pt x="482" y="779"/>
                    </a:lnTo>
                    <a:lnTo>
                      <a:pt x="482" y="777"/>
                    </a:lnTo>
                    <a:lnTo>
                      <a:pt x="480" y="774"/>
                    </a:lnTo>
                    <a:lnTo>
                      <a:pt x="480" y="774"/>
                    </a:lnTo>
                    <a:lnTo>
                      <a:pt x="477" y="774"/>
                    </a:lnTo>
                    <a:lnTo>
                      <a:pt x="475" y="770"/>
                    </a:lnTo>
                    <a:lnTo>
                      <a:pt x="473" y="770"/>
                    </a:lnTo>
                    <a:lnTo>
                      <a:pt x="470" y="767"/>
                    </a:lnTo>
                    <a:lnTo>
                      <a:pt x="468" y="767"/>
                    </a:lnTo>
                    <a:lnTo>
                      <a:pt x="468" y="765"/>
                    </a:lnTo>
                    <a:lnTo>
                      <a:pt x="463" y="765"/>
                    </a:lnTo>
                    <a:lnTo>
                      <a:pt x="463" y="765"/>
                    </a:lnTo>
                    <a:lnTo>
                      <a:pt x="461" y="763"/>
                    </a:lnTo>
                    <a:lnTo>
                      <a:pt x="458" y="760"/>
                    </a:lnTo>
                    <a:lnTo>
                      <a:pt x="458" y="760"/>
                    </a:lnTo>
                    <a:lnTo>
                      <a:pt x="458" y="758"/>
                    </a:lnTo>
                    <a:lnTo>
                      <a:pt x="461" y="758"/>
                    </a:lnTo>
                    <a:lnTo>
                      <a:pt x="461" y="758"/>
                    </a:lnTo>
                    <a:lnTo>
                      <a:pt x="461" y="755"/>
                    </a:lnTo>
                    <a:lnTo>
                      <a:pt x="458" y="755"/>
                    </a:lnTo>
                    <a:lnTo>
                      <a:pt x="458" y="753"/>
                    </a:lnTo>
                    <a:lnTo>
                      <a:pt x="456" y="751"/>
                    </a:lnTo>
                    <a:lnTo>
                      <a:pt x="456" y="748"/>
                    </a:lnTo>
                    <a:lnTo>
                      <a:pt x="454" y="751"/>
                    </a:lnTo>
                    <a:lnTo>
                      <a:pt x="454" y="751"/>
                    </a:lnTo>
                    <a:lnTo>
                      <a:pt x="451" y="751"/>
                    </a:lnTo>
                    <a:lnTo>
                      <a:pt x="449" y="753"/>
                    </a:lnTo>
                    <a:lnTo>
                      <a:pt x="447" y="753"/>
                    </a:lnTo>
                    <a:lnTo>
                      <a:pt x="444" y="753"/>
                    </a:lnTo>
                    <a:lnTo>
                      <a:pt x="444" y="755"/>
                    </a:lnTo>
                    <a:lnTo>
                      <a:pt x="442" y="755"/>
                    </a:lnTo>
                    <a:lnTo>
                      <a:pt x="439" y="755"/>
                    </a:lnTo>
                    <a:lnTo>
                      <a:pt x="439" y="758"/>
                    </a:lnTo>
                    <a:lnTo>
                      <a:pt x="437" y="760"/>
                    </a:lnTo>
                    <a:lnTo>
                      <a:pt x="435" y="760"/>
                    </a:lnTo>
                    <a:lnTo>
                      <a:pt x="432" y="760"/>
                    </a:lnTo>
                    <a:lnTo>
                      <a:pt x="432" y="760"/>
                    </a:lnTo>
                    <a:lnTo>
                      <a:pt x="430" y="758"/>
                    </a:lnTo>
                    <a:lnTo>
                      <a:pt x="430" y="758"/>
                    </a:lnTo>
                    <a:lnTo>
                      <a:pt x="430" y="755"/>
                    </a:lnTo>
                    <a:lnTo>
                      <a:pt x="430" y="755"/>
                    </a:lnTo>
                    <a:lnTo>
                      <a:pt x="425" y="751"/>
                    </a:lnTo>
                    <a:lnTo>
                      <a:pt x="423" y="751"/>
                    </a:lnTo>
                    <a:lnTo>
                      <a:pt x="421" y="753"/>
                    </a:lnTo>
                    <a:lnTo>
                      <a:pt x="421" y="753"/>
                    </a:lnTo>
                    <a:lnTo>
                      <a:pt x="418" y="753"/>
                    </a:lnTo>
                    <a:lnTo>
                      <a:pt x="413" y="753"/>
                    </a:lnTo>
                    <a:lnTo>
                      <a:pt x="409" y="755"/>
                    </a:lnTo>
                    <a:lnTo>
                      <a:pt x="406" y="753"/>
                    </a:lnTo>
                    <a:lnTo>
                      <a:pt x="406" y="753"/>
                    </a:lnTo>
                    <a:lnTo>
                      <a:pt x="404" y="755"/>
                    </a:lnTo>
                    <a:lnTo>
                      <a:pt x="404" y="758"/>
                    </a:lnTo>
                    <a:lnTo>
                      <a:pt x="404" y="758"/>
                    </a:lnTo>
                    <a:lnTo>
                      <a:pt x="404" y="758"/>
                    </a:lnTo>
                    <a:lnTo>
                      <a:pt x="404" y="760"/>
                    </a:lnTo>
                    <a:lnTo>
                      <a:pt x="404" y="760"/>
                    </a:lnTo>
                    <a:lnTo>
                      <a:pt x="404" y="760"/>
                    </a:lnTo>
                    <a:lnTo>
                      <a:pt x="404" y="760"/>
                    </a:lnTo>
                    <a:lnTo>
                      <a:pt x="404" y="763"/>
                    </a:lnTo>
                    <a:lnTo>
                      <a:pt x="404" y="765"/>
                    </a:lnTo>
                    <a:lnTo>
                      <a:pt x="404" y="767"/>
                    </a:lnTo>
                    <a:lnTo>
                      <a:pt x="404" y="767"/>
                    </a:lnTo>
                    <a:lnTo>
                      <a:pt x="402" y="770"/>
                    </a:lnTo>
                    <a:lnTo>
                      <a:pt x="399" y="770"/>
                    </a:lnTo>
                    <a:lnTo>
                      <a:pt x="397" y="770"/>
                    </a:lnTo>
                    <a:lnTo>
                      <a:pt x="395" y="767"/>
                    </a:lnTo>
                    <a:lnTo>
                      <a:pt x="395" y="763"/>
                    </a:lnTo>
                    <a:lnTo>
                      <a:pt x="390" y="760"/>
                    </a:lnTo>
                    <a:lnTo>
                      <a:pt x="390" y="760"/>
                    </a:lnTo>
                    <a:lnTo>
                      <a:pt x="387" y="760"/>
                    </a:lnTo>
                    <a:lnTo>
                      <a:pt x="387" y="765"/>
                    </a:lnTo>
                    <a:lnTo>
                      <a:pt x="387" y="767"/>
                    </a:lnTo>
                    <a:lnTo>
                      <a:pt x="387" y="767"/>
                    </a:lnTo>
                    <a:lnTo>
                      <a:pt x="385" y="770"/>
                    </a:lnTo>
                    <a:lnTo>
                      <a:pt x="383" y="770"/>
                    </a:lnTo>
                    <a:lnTo>
                      <a:pt x="383" y="772"/>
                    </a:lnTo>
                    <a:lnTo>
                      <a:pt x="378" y="774"/>
                    </a:lnTo>
                    <a:lnTo>
                      <a:pt x="376" y="774"/>
                    </a:lnTo>
                    <a:lnTo>
                      <a:pt x="373" y="774"/>
                    </a:lnTo>
                    <a:lnTo>
                      <a:pt x="371" y="772"/>
                    </a:lnTo>
                    <a:lnTo>
                      <a:pt x="369" y="770"/>
                    </a:lnTo>
                    <a:lnTo>
                      <a:pt x="369" y="767"/>
                    </a:lnTo>
                    <a:lnTo>
                      <a:pt x="366" y="767"/>
                    </a:lnTo>
                    <a:lnTo>
                      <a:pt x="366" y="767"/>
                    </a:lnTo>
                    <a:lnTo>
                      <a:pt x="366" y="767"/>
                    </a:lnTo>
                    <a:lnTo>
                      <a:pt x="364" y="765"/>
                    </a:lnTo>
                    <a:lnTo>
                      <a:pt x="361" y="760"/>
                    </a:lnTo>
                    <a:lnTo>
                      <a:pt x="359" y="760"/>
                    </a:lnTo>
                    <a:lnTo>
                      <a:pt x="359" y="758"/>
                    </a:lnTo>
                    <a:lnTo>
                      <a:pt x="357" y="758"/>
                    </a:lnTo>
                    <a:lnTo>
                      <a:pt x="357" y="760"/>
                    </a:lnTo>
                    <a:lnTo>
                      <a:pt x="357" y="760"/>
                    </a:lnTo>
                    <a:lnTo>
                      <a:pt x="357" y="765"/>
                    </a:lnTo>
                    <a:lnTo>
                      <a:pt x="357" y="765"/>
                    </a:lnTo>
                    <a:lnTo>
                      <a:pt x="359" y="770"/>
                    </a:lnTo>
                    <a:lnTo>
                      <a:pt x="359" y="770"/>
                    </a:lnTo>
                    <a:lnTo>
                      <a:pt x="359" y="772"/>
                    </a:lnTo>
                    <a:lnTo>
                      <a:pt x="359" y="772"/>
                    </a:lnTo>
                    <a:lnTo>
                      <a:pt x="357" y="774"/>
                    </a:lnTo>
                    <a:lnTo>
                      <a:pt x="354" y="774"/>
                    </a:lnTo>
                    <a:lnTo>
                      <a:pt x="354" y="774"/>
                    </a:lnTo>
                    <a:lnTo>
                      <a:pt x="352" y="774"/>
                    </a:lnTo>
                    <a:lnTo>
                      <a:pt x="352" y="772"/>
                    </a:lnTo>
                    <a:lnTo>
                      <a:pt x="350" y="770"/>
                    </a:lnTo>
                    <a:lnTo>
                      <a:pt x="347" y="770"/>
                    </a:lnTo>
                    <a:lnTo>
                      <a:pt x="345" y="770"/>
                    </a:lnTo>
                    <a:lnTo>
                      <a:pt x="343" y="770"/>
                    </a:lnTo>
                    <a:lnTo>
                      <a:pt x="343" y="770"/>
                    </a:lnTo>
                    <a:lnTo>
                      <a:pt x="340" y="770"/>
                    </a:lnTo>
                    <a:lnTo>
                      <a:pt x="340" y="770"/>
                    </a:lnTo>
                    <a:lnTo>
                      <a:pt x="336" y="770"/>
                    </a:lnTo>
                    <a:lnTo>
                      <a:pt x="331" y="770"/>
                    </a:lnTo>
                    <a:lnTo>
                      <a:pt x="331" y="770"/>
                    </a:lnTo>
                    <a:lnTo>
                      <a:pt x="326" y="772"/>
                    </a:lnTo>
                    <a:lnTo>
                      <a:pt x="321" y="772"/>
                    </a:lnTo>
                    <a:lnTo>
                      <a:pt x="319" y="772"/>
                    </a:lnTo>
                    <a:lnTo>
                      <a:pt x="317" y="772"/>
                    </a:lnTo>
                    <a:lnTo>
                      <a:pt x="314" y="772"/>
                    </a:lnTo>
                    <a:lnTo>
                      <a:pt x="312" y="772"/>
                    </a:lnTo>
                    <a:lnTo>
                      <a:pt x="310" y="777"/>
                    </a:lnTo>
                    <a:lnTo>
                      <a:pt x="305" y="777"/>
                    </a:lnTo>
                    <a:lnTo>
                      <a:pt x="302" y="777"/>
                    </a:lnTo>
                    <a:lnTo>
                      <a:pt x="302" y="777"/>
                    </a:lnTo>
                    <a:lnTo>
                      <a:pt x="300" y="777"/>
                    </a:lnTo>
                    <a:lnTo>
                      <a:pt x="295" y="774"/>
                    </a:lnTo>
                    <a:lnTo>
                      <a:pt x="295" y="774"/>
                    </a:lnTo>
                    <a:lnTo>
                      <a:pt x="293" y="774"/>
                    </a:lnTo>
                    <a:lnTo>
                      <a:pt x="288" y="777"/>
                    </a:lnTo>
                    <a:lnTo>
                      <a:pt x="284" y="777"/>
                    </a:lnTo>
                    <a:lnTo>
                      <a:pt x="284" y="777"/>
                    </a:lnTo>
                    <a:lnTo>
                      <a:pt x="281" y="777"/>
                    </a:lnTo>
                    <a:lnTo>
                      <a:pt x="279" y="779"/>
                    </a:lnTo>
                    <a:lnTo>
                      <a:pt x="279" y="781"/>
                    </a:lnTo>
                    <a:lnTo>
                      <a:pt x="279" y="784"/>
                    </a:lnTo>
                    <a:lnTo>
                      <a:pt x="279" y="784"/>
                    </a:lnTo>
                    <a:lnTo>
                      <a:pt x="279" y="784"/>
                    </a:lnTo>
                    <a:lnTo>
                      <a:pt x="276" y="786"/>
                    </a:lnTo>
                    <a:lnTo>
                      <a:pt x="274" y="789"/>
                    </a:lnTo>
                    <a:lnTo>
                      <a:pt x="274" y="793"/>
                    </a:lnTo>
                    <a:lnTo>
                      <a:pt x="274" y="793"/>
                    </a:lnTo>
                    <a:lnTo>
                      <a:pt x="276" y="796"/>
                    </a:lnTo>
                    <a:lnTo>
                      <a:pt x="276" y="800"/>
                    </a:lnTo>
                    <a:lnTo>
                      <a:pt x="276" y="805"/>
                    </a:lnTo>
                    <a:lnTo>
                      <a:pt x="276" y="805"/>
                    </a:lnTo>
                    <a:lnTo>
                      <a:pt x="276" y="807"/>
                    </a:lnTo>
                    <a:lnTo>
                      <a:pt x="276" y="807"/>
                    </a:lnTo>
                    <a:lnTo>
                      <a:pt x="276" y="812"/>
                    </a:lnTo>
                    <a:lnTo>
                      <a:pt x="274" y="812"/>
                    </a:lnTo>
                    <a:lnTo>
                      <a:pt x="274" y="812"/>
                    </a:lnTo>
                    <a:lnTo>
                      <a:pt x="265" y="807"/>
                    </a:lnTo>
                    <a:lnTo>
                      <a:pt x="265" y="805"/>
                    </a:lnTo>
                    <a:lnTo>
                      <a:pt x="265" y="791"/>
                    </a:lnTo>
                    <a:lnTo>
                      <a:pt x="265" y="789"/>
                    </a:lnTo>
                    <a:lnTo>
                      <a:pt x="265" y="781"/>
                    </a:lnTo>
                    <a:lnTo>
                      <a:pt x="262" y="777"/>
                    </a:lnTo>
                    <a:lnTo>
                      <a:pt x="262" y="777"/>
                    </a:lnTo>
                    <a:lnTo>
                      <a:pt x="258" y="774"/>
                    </a:lnTo>
                    <a:lnTo>
                      <a:pt x="258" y="774"/>
                    </a:lnTo>
                    <a:lnTo>
                      <a:pt x="253" y="774"/>
                    </a:lnTo>
                    <a:lnTo>
                      <a:pt x="253" y="774"/>
                    </a:lnTo>
                    <a:lnTo>
                      <a:pt x="248" y="781"/>
                    </a:lnTo>
                    <a:lnTo>
                      <a:pt x="246" y="789"/>
                    </a:lnTo>
                    <a:lnTo>
                      <a:pt x="243" y="791"/>
                    </a:lnTo>
                    <a:lnTo>
                      <a:pt x="239" y="796"/>
                    </a:lnTo>
                    <a:lnTo>
                      <a:pt x="239" y="796"/>
                    </a:lnTo>
                    <a:lnTo>
                      <a:pt x="239" y="796"/>
                    </a:lnTo>
                    <a:lnTo>
                      <a:pt x="236" y="796"/>
                    </a:lnTo>
                    <a:lnTo>
                      <a:pt x="232" y="793"/>
                    </a:lnTo>
                    <a:lnTo>
                      <a:pt x="232" y="793"/>
                    </a:lnTo>
                    <a:lnTo>
                      <a:pt x="227" y="789"/>
                    </a:lnTo>
                    <a:lnTo>
                      <a:pt x="227" y="786"/>
                    </a:lnTo>
                    <a:lnTo>
                      <a:pt x="227" y="784"/>
                    </a:lnTo>
                    <a:lnTo>
                      <a:pt x="222" y="777"/>
                    </a:lnTo>
                    <a:lnTo>
                      <a:pt x="222" y="770"/>
                    </a:lnTo>
                    <a:lnTo>
                      <a:pt x="222" y="767"/>
                    </a:lnTo>
                    <a:lnTo>
                      <a:pt x="222" y="767"/>
                    </a:lnTo>
                    <a:lnTo>
                      <a:pt x="222" y="765"/>
                    </a:lnTo>
                    <a:lnTo>
                      <a:pt x="224" y="758"/>
                    </a:lnTo>
                    <a:lnTo>
                      <a:pt x="224" y="755"/>
                    </a:lnTo>
                    <a:lnTo>
                      <a:pt x="227" y="755"/>
                    </a:lnTo>
                    <a:lnTo>
                      <a:pt x="229" y="755"/>
                    </a:lnTo>
                    <a:lnTo>
                      <a:pt x="229" y="753"/>
                    </a:lnTo>
                    <a:lnTo>
                      <a:pt x="229" y="751"/>
                    </a:lnTo>
                    <a:lnTo>
                      <a:pt x="229" y="751"/>
                    </a:lnTo>
                    <a:lnTo>
                      <a:pt x="227" y="751"/>
                    </a:lnTo>
                    <a:lnTo>
                      <a:pt x="224" y="748"/>
                    </a:lnTo>
                    <a:lnTo>
                      <a:pt x="220" y="751"/>
                    </a:lnTo>
                    <a:lnTo>
                      <a:pt x="217" y="751"/>
                    </a:lnTo>
                    <a:lnTo>
                      <a:pt x="215" y="753"/>
                    </a:lnTo>
                    <a:lnTo>
                      <a:pt x="206" y="751"/>
                    </a:lnTo>
                    <a:lnTo>
                      <a:pt x="203" y="751"/>
                    </a:lnTo>
                    <a:lnTo>
                      <a:pt x="199" y="748"/>
                    </a:lnTo>
                    <a:lnTo>
                      <a:pt x="199" y="748"/>
                    </a:lnTo>
                    <a:lnTo>
                      <a:pt x="196" y="744"/>
                    </a:lnTo>
                    <a:lnTo>
                      <a:pt x="194" y="744"/>
                    </a:lnTo>
                    <a:lnTo>
                      <a:pt x="191" y="741"/>
                    </a:lnTo>
                    <a:lnTo>
                      <a:pt x="189" y="744"/>
                    </a:lnTo>
                    <a:lnTo>
                      <a:pt x="187" y="744"/>
                    </a:lnTo>
                    <a:lnTo>
                      <a:pt x="184" y="744"/>
                    </a:lnTo>
                    <a:lnTo>
                      <a:pt x="182" y="746"/>
                    </a:lnTo>
                    <a:lnTo>
                      <a:pt x="182" y="746"/>
                    </a:lnTo>
                    <a:lnTo>
                      <a:pt x="180" y="746"/>
                    </a:lnTo>
                    <a:lnTo>
                      <a:pt x="170" y="746"/>
                    </a:lnTo>
                    <a:lnTo>
                      <a:pt x="165" y="746"/>
                    </a:lnTo>
                    <a:lnTo>
                      <a:pt x="165" y="746"/>
                    </a:lnTo>
                    <a:lnTo>
                      <a:pt x="161" y="746"/>
                    </a:lnTo>
                    <a:lnTo>
                      <a:pt x="161" y="746"/>
                    </a:lnTo>
                    <a:lnTo>
                      <a:pt x="156" y="746"/>
                    </a:lnTo>
                    <a:lnTo>
                      <a:pt x="154" y="748"/>
                    </a:lnTo>
                    <a:lnTo>
                      <a:pt x="151" y="748"/>
                    </a:lnTo>
                    <a:lnTo>
                      <a:pt x="147" y="748"/>
                    </a:lnTo>
                    <a:lnTo>
                      <a:pt x="147" y="746"/>
                    </a:lnTo>
                    <a:lnTo>
                      <a:pt x="139" y="744"/>
                    </a:lnTo>
                    <a:lnTo>
                      <a:pt x="132" y="746"/>
                    </a:lnTo>
                    <a:lnTo>
                      <a:pt x="130" y="744"/>
                    </a:lnTo>
                    <a:lnTo>
                      <a:pt x="128" y="744"/>
                    </a:lnTo>
                    <a:lnTo>
                      <a:pt x="128" y="744"/>
                    </a:lnTo>
                    <a:lnTo>
                      <a:pt x="125" y="739"/>
                    </a:lnTo>
                    <a:lnTo>
                      <a:pt x="123" y="739"/>
                    </a:lnTo>
                    <a:lnTo>
                      <a:pt x="121" y="739"/>
                    </a:lnTo>
                    <a:lnTo>
                      <a:pt x="121" y="739"/>
                    </a:lnTo>
                    <a:lnTo>
                      <a:pt x="116" y="739"/>
                    </a:lnTo>
                    <a:lnTo>
                      <a:pt x="113" y="739"/>
                    </a:lnTo>
                    <a:lnTo>
                      <a:pt x="113" y="739"/>
                    </a:lnTo>
                    <a:lnTo>
                      <a:pt x="111" y="739"/>
                    </a:lnTo>
                    <a:lnTo>
                      <a:pt x="109" y="737"/>
                    </a:lnTo>
                    <a:lnTo>
                      <a:pt x="106" y="737"/>
                    </a:lnTo>
                    <a:lnTo>
                      <a:pt x="102" y="739"/>
                    </a:lnTo>
                    <a:lnTo>
                      <a:pt x="97" y="737"/>
                    </a:lnTo>
                    <a:lnTo>
                      <a:pt x="95" y="739"/>
                    </a:lnTo>
                    <a:lnTo>
                      <a:pt x="92" y="739"/>
                    </a:lnTo>
                    <a:lnTo>
                      <a:pt x="92" y="737"/>
                    </a:lnTo>
                    <a:lnTo>
                      <a:pt x="90" y="737"/>
                    </a:lnTo>
                    <a:lnTo>
                      <a:pt x="90" y="737"/>
                    </a:lnTo>
                    <a:lnTo>
                      <a:pt x="87" y="734"/>
                    </a:lnTo>
                    <a:lnTo>
                      <a:pt x="80" y="729"/>
                    </a:lnTo>
                    <a:lnTo>
                      <a:pt x="78" y="727"/>
                    </a:lnTo>
                    <a:lnTo>
                      <a:pt x="76" y="727"/>
                    </a:lnTo>
                    <a:lnTo>
                      <a:pt x="73" y="727"/>
                    </a:lnTo>
                    <a:lnTo>
                      <a:pt x="73" y="727"/>
                    </a:lnTo>
                    <a:lnTo>
                      <a:pt x="71" y="727"/>
                    </a:lnTo>
                    <a:lnTo>
                      <a:pt x="69" y="727"/>
                    </a:lnTo>
                    <a:lnTo>
                      <a:pt x="66" y="729"/>
                    </a:lnTo>
                    <a:lnTo>
                      <a:pt x="64" y="729"/>
                    </a:lnTo>
                    <a:lnTo>
                      <a:pt x="61" y="729"/>
                    </a:lnTo>
                    <a:lnTo>
                      <a:pt x="61" y="729"/>
                    </a:lnTo>
                    <a:lnTo>
                      <a:pt x="59" y="732"/>
                    </a:lnTo>
                    <a:lnTo>
                      <a:pt x="57" y="737"/>
                    </a:lnTo>
                    <a:lnTo>
                      <a:pt x="54" y="737"/>
                    </a:lnTo>
                    <a:lnTo>
                      <a:pt x="54" y="739"/>
                    </a:lnTo>
                    <a:lnTo>
                      <a:pt x="52" y="741"/>
                    </a:lnTo>
                    <a:lnTo>
                      <a:pt x="50" y="741"/>
                    </a:lnTo>
                    <a:lnTo>
                      <a:pt x="47" y="744"/>
                    </a:lnTo>
                    <a:lnTo>
                      <a:pt x="47" y="744"/>
                    </a:lnTo>
                    <a:lnTo>
                      <a:pt x="43" y="746"/>
                    </a:lnTo>
                    <a:lnTo>
                      <a:pt x="36" y="746"/>
                    </a:lnTo>
                    <a:lnTo>
                      <a:pt x="33" y="746"/>
                    </a:lnTo>
                    <a:lnTo>
                      <a:pt x="33" y="748"/>
                    </a:lnTo>
                    <a:lnTo>
                      <a:pt x="31" y="748"/>
                    </a:lnTo>
                    <a:lnTo>
                      <a:pt x="26" y="751"/>
                    </a:lnTo>
                    <a:lnTo>
                      <a:pt x="26" y="751"/>
                    </a:lnTo>
                    <a:lnTo>
                      <a:pt x="24" y="753"/>
                    </a:lnTo>
                    <a:lnTo>
                      <a:pt x="21" y="753"/>
                    </a:lnTo>
                    <a:lnTo>
                      <a:pt x="19" y="753"/>
                    </a:lnTo>
                    <a:lnTo>
                      <a:pt x="19" y="753"/>
                    </a:lnTo>
                    <a:lnTo>
                      <a:pt x="19" y="755"/>
                    </a:lnTo>
                    <a:lnTo>
                      <a:pt x="17" y="758"/>
                    </a:lnTo>
                    <a:lnTo>
                      <a:pt x="14" y="758"/>
                    </a:lnTo>
                    <a:lnTo>
                      <a:pt x="14" y="758"/>
                    </a:lnTo>
                    <a:lnTo>
                      <a:pt x="12" y="758"/>
                    </a:lnTo>
                    <a:lnTo>
                      <a:pt x="12" y="760"/>
                    </a:lnTo>
                    <a:lnTo>
                      <a:pt x="7" y="765"/>
                    </a:lnTo>
                    <a:lnTo>
                      <a:pt x="7" y="765"/>
                    </a:lnTo>
                    <a:lnTo>
                      <a:pt x="5" y="760"/>
                    </a:lnTo>
                    <a:lnTo>
                      <a:pt x="5" y="760"/>
                    </a:lnTo>
                    <a:lnTo>
                      <a:pt x="7" y="758"/>
                    </a:lnTo>
                    <a:lnTo>
                      <a:pt x="7" y="755"/>
                    </a:lnTo>
                    <a:lnTo>
                      <a:pt x="5" y="751"/>
                    </a:lnTo>
                    <a:lnTo>
                      <a:pt x="7" y="744"/>
                    </a:lnTo>
                    <a:lnTo>
                      <a:pt x="7" y="744"/>
                    </a:lnTo>
                    <a:lnTo>
                      <a:pt x="7" y="741"/>
                    </a:lnTo>
                    <a:lnTo>
                      <a:pt x="7" y="741"/>
                    </a:lnTo>
                    <a:lnTo>
                      <a:pt x="5" y="739"/>
                    </a:lnTo>
                    <a:lnTo>
                      <a:pt x="5" y="737"/>
                    </a:lnTo>
                    <a:lnTo>
                      <a:pt x="5" y="734"/>
                    </a:lnTo>
                    <a:lnTo>
                      <a:pt x="5" y="729"/>
                    </a:lnTo>
                    <a:lnTo>
                      <a:pt x="2" y="727"/>
                    </a:lnTo>
                    <a:lnTo>
                      <a:pt x="2" y="727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7" name="Freeform 29"/>
              <p:cNvSpPr>
                <a:spLocks noEditPoints="1"/>
              </p:cNvSpPr>
              <p:nvPr/>
            </p:nvSpPr>
            <p:spPr bwMode="auto">
              <a:xfrm>
                <a:off x="5654748" y="4720889"/>
                <a:ext cx="529166" cy="361278"/>
              </a:xfrm>
              <a:custGeom>
                <a:avLst/>
                <a:gdLst/>
                <a:ahLst/>
                <a:cxnLst>
                  <a:cxn ang="0">
                    <a:pos x="12" y="295"/>
                  </a:cxn>
                  <a:cxn ang="0">
                    <a:pos x="45" y="274"/>
                  </a:cxn>
                  <a:cxn ang="0">
                    <a:pos x="83" y="267"/>
                  </a:cxn>
                  <a:cxn ang="0">
                    <a:pos x="85" y="241"/>
                  </a:cxn>
                  <a:cxn ang="0">
                    <a:pos x="61" y="241"/>
                  </a:cxn>
                  <a:cxn ang="0">
                    <a:pos x="35" y="243"/>
                  </a:cxn>
                  <a:cxn ang="0">
                    <a:pos x="12" y="212"/>
                  </a:cxn>
                  <a:cxn ang="0">
                    <a:pos x="54" y="198"/>
                  </a:cxn>
                  <a:cxn ang="0">
                    <a:pos x="85" y="196"/>
                  </a:cxn>
                  <a:cxn ang="0">
                    <a:pos x="111" y="182"/>
                  </a:cxn>
                  <a:cxn ang="0">
                    <a:pos x="149" y="172"/>
                  </a:cxn>
                  <a:cxn ang="0">
                    <a:pos x="177" y="170"/>
                  </a:cxn>
                  <a:cxn ang="0">
                    <a:pos x="220" y="165"/>
                  </a:cxn>
                  <a:cxn ang="0">
                    <a:pos x="269" y="151"/>
                  </a:cxn>
                  <a:cxn ang="0">
                    <a:pos x="328" y="115"/>
                  </a:cxn>
                  <a:cxn ang="0">
                    <a:pos x="331" y="87"/>
                  </a:cxn>
                  <a:cxn ang="0">
                    <a:pos x="340" y="59"/>
                  </a:cxn>
                  <a:cxn ang="0">
                    <a:pos x="350" y="30"/>
                  </a:cxn>
                  <a:cxn ang="0">
                    <a:pos x="376" y="9"/>
                  </a:cxn>
                  <a:cxn ang="0">
                    <a:pos x="399" y="11"/>
                  </a:cxn>
                  <a:cxn ang="0">
                    <a:pos x="402" y="40"/>
                  </a:cxn>
                  <a:cxn ang="0">
                    <a:pos x="428" y="56"/>
                  </a:cxn>
                  <a:cxn ang="0">
                    <a:pos x="458" y="61"/>
                  </a:cxn>
                  <a:cxn ang="0">
                    <a:pos x="484" y="61"/>
                  </a:cxn>
                  <a:cxn ang="0">
                    <a:pos x="487" y="108"/>
                  </a:cxn>
                  <a:cxn ang="0">
                    <a:pos x="394" y="208"/>
                  </a:cxn>
                  <a:cxn ang="0">
                    <a:pos x="373" y="257"/>
                  </a:cxn>
                  <a:cxn ang="0">
                    <a:pos x="373" y="269"/>
                  </a:cxn>
                  <a:cxn ang="0">
                    <a:pos x="364" y="290"/>
                  </a:cxn>
                  <a:cxn ang="0">
                    <a:pos x="236" y="288"/>
                  </a:cxn>
                  <a:cxn ang="0">
                    <a:pos x="227" y="274"/>
                  </a:cxn>
                  <a:cxn ang="0">
                    <a:pos x="224" y="252"/>
                  </a:cxn>
                  <a:cxn ang="0">
                    <a:pos x="210" y="274"/>
                  </a:cxn>
                  <a:cxn ang="0">
                    <a:pos x="215" y="269"/>
                  </a:cxn>
                  <a:cxn ang="0">
                    <a:pos x="217" y="278"/>
                  </a:cxn>
                  <a:cxn ang="0">
                    <a:pos x="203" y="293"/>
                  </a:cxn>
                  <a:cxn ang="0">
                    <a:pos x="198" y="293"/>
                  </a:cxn>
                  <a:cxn ang="0">
                    <a:pos x="111" y="304"/>
                  </a:cxn>
                  <a:cxn ang="0">
                    <a:pos x="168" y="300"/>
                  </a:cxn>
                  <a:cxn ang="0">
                    <a:pos x="137" y="281"/>
                  </a:cxn>
                  <a:cxn ang="0">
                    <a:pos x="128" y="283"/>
                  </a:cxn>
                  <a:cxn ang="0">
                    <a:pos x="102" y="293"/>
                  </a:cxn>
                  <a:cxn ang="0">
                    <a:pos x="80" y="290"/>
                  </a:cxn>
                  <a:cxn ang="0">
                    <a:pos x="73" y="288"/>
                  </a:cxn>
                  <a:cxn ang="0">
                    <a:pos x="66" y="288"/>
                  </a:cxn>
                  <a:cxn ang="0">
                    <a:pos x="54" y="293"/>
                  </a:cxn>
                  <a:cxn ang="0">
                    <a:pos x="26" y="302"/>
                  </a:cxn>
                  <a:cxn ang="0">
                    <a:pos x="24" y="323"/>
                  </a:cxn>
                  <a:cxn ang="0">
                    <a:pos x="33" y="321"/>
                  </a:cxn>
                  <a:cxn ang="0">
                    <a:pos x="31" y="330"/>
                  </a:cxn>
                  <a:cxn ang="0">
                    <a:pos x="43" y="335"/>
                  </a:cxn>
                  <a:cxn ang="0">
                    <a:pos x="19" y="340"/>
                  </a:cxn>
                  <a:cxn ang="0">
                    <a:pos x="406" y="215"/>
                  </a:cxn>
                  <a:cxn ang="0">
                    <a:pos x="206" y="297"/>
                  </a:cxn>
                  <a:cxn ang="0">
                    <a:pos x="43" y="300"/>
                  </a:cxn>
                  <a:cxn ang="0">
                    <a:pos x="118" y="295"/>
                  </a:cxn>
                  <a:cxn ang="0">
                    <a:pos x="38" y="319"/>
                  </a:cxn>
                  <a:cxn ang="0">
                    <a:pos x="220" y="300"/>
                  </a:cxn>
                  <a:cxn ang="0">
                    <a:pos x="106" y="293"/>
                  </a:cxn>
                  <a:cxn ang="0">
                    <a:pos x="73" y="316"/>
                  </a:cxn>
                  <a:cxn ang="0">
                    <a:pos x="76" y="309"/>
                  </a:cxn>
                  <a:cxn ang="0">
                    <a:pos x="92" y="309"/>
                  </a:cxn>
                  <a:cxn ang="0">
                    <a:pos x="87" y="316"/>
                  </a:cxn>
                </a:cxnLst>
                <a:rect l="0" t="0" r="r" b="b"/>
                <a:pathLst>
                  <a:path w="498" h="340">
                    <a:moveTo>
                      <a:pt x="0" y="319"/>
                    </a:moveTo>
                    <a:lnTo>
                      <a:pt x="2" y="319"/>
                    </a:lnTo>
                    <a:lnTo>
                      <a:pt x="2" y="316"/>
                    </a:lnTo>
                    <a:lnTo>
                      <a:pt x="2" y="316"/>
                    </a:lnTo>
                    <a:lnTo>
                      <a:pt x="5" y="316"/>
                    </a:lnTo>
                    <a:lnTo>
                      <a:pt x="5" y="316"/>
                    </a:lnTo>
                    <a:lnTo>
                      <a:pt x="5" y="314"/>
                    </a:lnTo>
                    <a:lnTo>
                      <a:pt x="5" y="314"/>
                    </a:lnTo>
                    <a:lnTo>
                      <a:pt x="7" y="314"/>
                    </a:lnTo>
                    <a:lnTo>
                      <a:pt x="7" y="314"/>
                    </a:lnTo>
                    <a:lnTo>
                      <a:pt x="9" y="314"/>
                    </a:lnTo>
                    <a:lnTo>
                      <a:pt x="7" y="311"/>
                    </a:lnTo>
                    <a:lnTo>
                      <a:pt x="9" y="309"/>
                    </a:lnTo>
                    <a:lnTo>
                      <a:pt x="9" y="309"/>
                    </a:lnTo>
                    <a:lnTo>
                      <a:pt x="9" y="309"/>
                    </a:lnTo>
                    <a:lnTo>
                      <a:pt x="9" y="307"/>
                    </a:lnTo>
                    <a:lnTo>
                      <a:pt x="9" y="307"/>
                    </a:lnTo>
                    <a:lnTo>
                      <a:pt x="9" y="307"/>
                    </a:lnTo>
                    <a:lnTo>
                      <a:pt x="9" y="304"/>
                    </a:lnTo>
                    <a:lnTo>
                      <a:pt x="9" y="304"/>
                    </a:lnTo>
                    <a:lnTo>
                      <a:pt x="9" y="304"/>
                    </a:lnTo>
                    <a:lnTo>
                      <a:pt x="9" y="304"/>
                    </a:lnTo>
                    <a:lnTo>
                      <a:pt x="9" y="304"/>
                    </a:lnTo>
                    <a:lnTo>
                      <a:pt x="9" y="302"/>
                    </a:lnTo>
                    <a:lnTo>
                      <a:pt x="9" y="302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9" y="300"/>
                    </a:lnTo>
                    <a:lnTo>
                      <a:pt x="12" y="297"/>
                    </a:lnTo>
                    <a:lnTo>
                      <a:pt x="12" y="297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12" y="293"/>
                    </a:lnTo>
                    <a:lnTo>
                      <a:pt x="12" y="293"/>
                    </a:lnTo>
                    <a:lnTo>
                      <a:pt x="12" y="290"/>
                    </a:lnTo>
                    <a:lnTo>
                      <a:pt x="12" y="290"/>
                    </a:lnTo>
                    <a:lnTo>
                      <a:pt x="12" y="290"/>
                    </a:lnTo>
                    <a:lnTo>
                      <a:pt x="14" y="290"/>
                    </a:lnTo>
                    <a:lnTo>
                      <a:pt x="14" y="290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88"/>
                    </a:lnTo>
                    <a:lnTo>
                      <a:pt x="19" y="288"/>
                    </a:lnTo>
                    <a:lnTo>
                      <a:pt x="17" y="288"/>
                    </a:lnTo>
                    <a:lnTo>
                      <a:pt x="19" y="285"/>
                    </a:lnTo>
                    <a:lnTo>
                      <a:pt x="21" y="283"/>
                    </a:lnTo>
                    <a:lnTo>
                      <a:pt x="24" y="283"/>
                    </a:lnTo>
                    <a:lnTo>
                      <a:pt x="24" y="283"/>
                    </a:lnTo>
                    <a:lnTo>
                      <a:pt x="24" y="283"/>
                    </a:lnTo>
                    <a:lnTo>
                      <a:pt x="26" y="283"/>
                    </a:lnTo>
                    <a:lnTo>
                      <a:pt x="26" y="283"/>
                    </a:lnTo>
                    <a:lnTo>
                      <a:pt x="28" y="281"/>
                    </a:lnTo>
                    <a:lnTo>
                      <a:pt x="28" y="283"/>
                    </a:lnTo>
                    <a:lnTo>
                      <a:pt x="33" y="281"/>
                    </a:lnTo>
                    <a:lnTo>
                      <a:pt x="33" y="281"/>
                    </a:lnTo>
                    <a:lnTo>
                      <a:pt x="33" y="278"/>
                    </a:lnTo>
                    <a:lnTo>
                      <a:pt x="35" y="278"/>
                    </a:lnTo>
                    <a:lnTo>
                      <a:pt x="38" y="278"/>
                    </a:lnTo>
                    <a:lnTo>
                      <a:pt x="40" y="276"/>
                    </a:lnTo>
                    <a:lnTo>
                      <a:pt x="43" y="278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7" y="274"/>
                    </a:lnTo>
                    <a:lnTo>
                      <a:pt x="50" y="271"/>
                    </a:lnTo>
                    <a:lnTo>
                      <a:pt x="50" y="271"/>
                    </a:lnTo>
                    <a:lnTo>
                      <a:pt x="52" y="271"/>
                    </a:lnTo>
                    <a:lnTo>
                      <a:pt x="52" y="274"/>
                    </a:lnTo>
                    <a:lnTo>
                      <a:pt x="52" y="274"/>
                    </a:lnTo>
                    <a:lnTo>
                      <a:pt x="52" y="274"/>
                    </a:lnTo>
                    <a:lnTo>
                      <a:pt x="52" y="276"/>
                    </a:lnTo>
                    <a:lnTo>
                      <a:pt x="54" y="276"/>
                    </a:lnTo>
                    <a:lnTo>
                      <a:pt x="54" y="276"/>
                    </a:lnTo>
                    <a:lnTo>
                      <a:pt x="57" y="276"/>
                    </a:lnTo>
                    <a:lnTo>
                      <a:pt x="57" y="276"/>
                    </a:lnTo>
                    <a:lnTo>
                      <a:pt x="59" y="274"/>
                    </a:lnTo>
                    <a:lnTo>
                      <a:pt x="59" y="274"/>
                    </a:lnTo>
                    <a:lnTo>
                      <a:pt x="59" y="271"/>
                    </a:lnTo>
                    <a:lnTo>
                      <a:pt x="61" y="271"/>
                    </a:lnTo>
                    <a:lnTo>
                      <a:pt x="61" y="271"/>
                    </a:lnTo>
                    <a:lnTo>
                      <a:pt x="61" y="274"/>
                    </a:lnTo>
                    <a:lnTo>
                      <a:pt x="64" y="274"/>
                    </a:lnTo>
                    <a:lnTo>
                      <a:pt x="64" y="274"/>
                    </a:lnTo>
                    <a:lnTo>
                      <a:pt x="66" y="274"/>
                    </a:lnTo>
                    <a:lnTo>
                      <a:pt x="71" y="271"/>
                    </a:lnTo>
                    <a:lnTo>
                      <a:pt x="73" y="271"/>
                    </a:lnTo>
                    <a:lnTo>
                      <a:pt x="71" y="271"/>
                    </a:lnTo>
                    <a:lnTo>
                      <a:pt x="73" y="271"/>
                    </a:lnTo>
                    <a:lnTo>
                      <a:pt x="73" y="271"/>
                    </a:lnTo>
                    <a:lnTo>
                      <a:pt x="76" y="269"/>
                    </a:lnTo>
                    <a:lnTo>
                      <a:pt x="78" y="269"/>
                    </a:lnTo>
                    <a:lnTo>
                      <a:pt x="78" y="271"/>
                    </a:lnTo>
                    <a:lnTo>
                      <a:pt x="78" y="269"/>
                    </a:lnTo>
                    <a:lnTo>
                      <a:pt x="80" y="267"/>
                    </a:lnTo>
                    <a:lnTo>
                      <a:pt x="83" y="267"/>
                    </a:lnTo>
                    <a:lnTo>
                      <a:pt x="83" y="264"/>
                    </a:lnTo>
                    <a:lnTo>
                      <a:pt x="83" y="264"/>
                    </a:lnTo>
                    <a:lnTo>
                      <a:pt x="80" y="264"/>
                    </a:lnTo>
                    <a:lnTo>
                      <a:pt x="80" y="264"/>
                    </a:lnTo>
                    <a:lnTo>
                      <a:pt x="80" y="262"/>
                    </a:lnTo>
                    <a:lnTo>
                      <a:pt x="80" y="262"/>
                    </a:lnTo>
                    <a:lnTo>
                      <a:pt x="80" y="260"/>
                    </a:lnTo>
                    <a:lnTo>
                      <a:pt x="83" y="260"/>
                    </a:lnTo>
                    <a:lnTo>
                      <a:pt x="83" y="260"/>
                    </a:lnTo>
                    <a:lnTo>
                      <a:pt x="85" y="257"/>
                    </a:lnTo>
                    <a:lnTo>
                      <a:pt x="87" y="257"/>
                    </a:lnTo>
                    <a:lnTo>
                      <a:pt x="87" y="255"/>
                    </a:lnTo>
                    <a:lnTo>
                      <a:pt x="87" y="255"/>
                    </a:lnTo>
                    <a:lnTo>
                      <a:pt x="87" y="255"/>
                    </a:lnTo>
                    <a:lnTo>
                      <a:pt x="87" y="255"/>
                    </a:lnTo>
                    <a:lnTo>
                      <a:pt x="90" y="255"/>
                    </a:lnTo>
                    <a:lnTo>
                      <a:pt x="90" y="252"/>
                    </a:lnTo>
                    <a:lnTo>
                      <a:pt x="90" y="252"/>
                    </a:lnTo>
                    <a:lnTo>
                      <a:pt x="92" y="252"/>
                    </a:lnTo>
                    <a:lnTo>
                      <a:pt x="92" y="250"/>
                    </a:lnTo>
                    <a:lnTo>
                      <a:pt x="92" y="250"/>
                    </a:lnTo>
                    <a:lnTo>
                      <a:pt x="92" y="250"/>
                    </a:lnTo>
                    <a:lnTo>
                      <a:pt x="90" y="248"/>
                    </a:lnTo>
                    <a:lnTo>
                      <a:pt x="90" y="245"/>
                    </a:lnTo>
                    <a:lnTo>
                      <a:pt x="90" y="245"/>
                    </a:lnTo>
                    <a:lnTo>
                      <a:pt x="90" y="243"/>
                    </a:lnTo>
                    <a:lnTo>
                      <a:pt x="87" y="243"/>
                    </a:lnTo>
                    <a:lnTo>
                      <a:pt x="87" y="243"/>
                    </a:lnTo>
                    <a:lnTo>
                      <a:pt x="87" y="241"/>
                    </a:lnTo>
                    <a:lnTo>
                      <a:pt x="87" y="241"/>
                    </a:lnTo>
                    <a:lnTo>
                      <a:pt x="85" y="243"/>
                    </a:lnTo>
                    <a:lnTo>
                      <a:pt x="85" y="241"/>
                    </a:lnTo>
                    <a:lnTo>
                      <a:pt x="83" y="241"/>
                    </a:lnTo>
                    <a:lnTo>
                      <a:pt x="83" y="241"/>
                    </a:lnTo>
                    <a:lnTo>
                      <a:pt x="80" y="241"/>
                    </a:lnTo>
                    <a:lnTo>
                      <a:pt x="78" y="241"/>
                    </a:lnTo>
                    <a:lnTo>
                      <a:pt x="78" y="241"/>
                    </a:lnTo>
                    <a:lnTo>
                      <a:pt x="78" y="241"/>
                    </a:lnTo>
                    <a:lnTo>
                      <a:pt x="76" y="241"/>
                    </a:lnTo>
                    <a:lnTo>
                      <a:pt x="76" y="241"/>
                    </a:lnTo>
                    <a:lnTo>
                      <a:pt x="73" y="241"/>
                    </a:lnTo>
                    <a:lnTo>
                      <a:pt x="73" y="238"/>
                    </a:lnTo>
                    <a:lnTo>
                      <a:pt x="73" y="241"/>
                    </a:lnTo>
                    <a:lnTo>
                      <a:pt x="71" y="238"/>
                    </a:lnTo>
                    <a:lnTo>
                      <a:pt x="71" y="238"/>
                    </a:lnTo>
                    <a:lnTo>
                      <a:pt x="68" y="238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8" y="241"/>
                    </a:lnTo>
                    <a:lnTo>
                      <a:pt x="68" y="241"/>
                    </a:lnTo>
                    <a:lnTo>
                      <a:pt x="68" y="241"/>
                    </a:lnTo>
                    <a:lnTo>
                      <a:pt x="68" y="238"/>
                    </a:lnTo>
                    <a:lnTo>
                      <a:pt x="66" y="238"/>
                    </a:lnTo>
                    <a:lnTo>
                      <a:pt x="68" y="236"/>
                    </a:lnTo>
                    <a:lnTo>
                      <a:pt x="66" y="236"/>
                    </a:lnTo>
                    <a:lnTo>
                      <a:pt x="66" y="236"/>
                    </a:lnTo>
                    <a:lnTo>
                      <a:pt x="64" y="236"/>
                    </a:lnTo>
                    <a:lnTo>
                      <a:pt x="64" y="236"/>
                    </a:lnTo>
                    <a:lnTo>
                      <a:pt x="64" y="236"/>
                    </a:lnTo>
                    <a:lnTo>
                      <a:pt x="61" y="238"/>
                    </a:lnTo>
                    <a:lnTo>
                      <a:pt x="61" y="238"/>
                    </a:lnTo>
                    <a:lnTo>
                      <a:pt x="61" y="241"/>
                    </a:lnTo>
                    <a:lnTo>
                      <a:pt x="61" y="241"/>
                    </a:lnTo>
                    <a:lnTo>
                      <a:pt x="61" y="241"/>
                    </a:lnTo>
                    <a:lnTo>
                      <a:pt x="61" y="241"/>
                    </a:lnTo>
                    <a:lnTo>
                      <a:pt x="59" y="241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54" y="241"/>
                    </a:lnTo>
                    <a:lnTo>
                      <a:pt x="54" y="243"/>
                    </a:lnTo>
                    <a:lnTo>
                      <a:pt x="52" y="241"/>
                    </a:lnTo>
                    <a:lnTo>
                      <a:pt x="52" y="241"/>
                    </a:lnTo>
                    <a:lnTo>
                      <a:pt x="52" y="241"/>
                    </a:lnTo>
                    <a:lnTo>
                      <a:pt x="52" y="241"/>
                    </a:lnTo>
                    <a:lnTo>
                      <a:pt x="50" y="245"/>
                    </a:lnTo>
                    <a:lnTo>
                      <a:pt x="50" y="245"/>
                    </a:lnTo>
                    <a:lnTo>
                      <a:pt x="47" y="243"/>
                    </a:lnTo>
                    <a:lnTo>
                      <a:pt x="45" y="243"/>
                    </a:lnTo>
                    <a:lnTo>
                      <a:pt x="45" y="243"/>
                    </a:lnTo>
                    <a:lnTo>
                      <a:pt x="45" y="245"/>
                    </a:lnTo>
                    <a:lnTo>
                      <a:pt x="45" y="245"/>
                    </a:lnTo>
                    <a:lnTo>
                      <a:pt x="45" y="243"/>
                    </a:lnTo>
                    <a:lnTo>
                      <a:pt x="47" y="243"/>
                    </a:lnTo>
                    <a:lnTo>
                      <a:pt x="45" y="243"/>
                    </a:lnTo>
                    <a:lnTo>
                      <a:pt x="45" y="243"/>
                    </a:lnTo>
                    <a:lnTo>
                      <a:pt x="43" y="241"/>
                    </a:lnTo>
                    <a:lnTo>
                      <a:pt x="43" y="241"/>
                    </a:lnTo>
                    <a:lnTo>
                      <a:pt x="40" y="241"/>
                    </a:lnTo>
                    <a:lnTo>
                      <a:pt x="38" y="243"/>
                    </a:lnTo>
                    <a:lnTo>
                      <a:pt x="38" y="243"/>
                    </a:lnTo>
                    <a:lnTo>
                      <a:pt x="38" y="241"/>
                    </a:lnTo>
                    <a:lnTo>
                      <a:pt x="35" y="241"/>
                    </a:lnTo>
                    <a:lnTo>
                      <a:pt x="35" y="241"/>
                    </a:lnTo>
                    <a:lnTo>
                      <a:pt x="35" y="243"/>
                    </a:lnTo>
                    <a:lnTo>
                      <a:pt x="33" y="241"/>
                    </a:lnTo>
                    <a:lnTo>
                      <a:pt x="33" y="241"/>
                    </a:lnTo>
                    <a:lnTo>
                      <a:pt x="33" y="241"/>
                    </a:lnTo>
                    <a:lnTo>
                      <a:pt x="31" y="241"/>
                    </a:lnTo>
                    <a:lnTo>
                      <a:pt x="31" y="238"/>
                    </a:lnTo>
                    <a:lnTo>
                      <a:pt x="31" y="236"/>
                    </a:lnTo>
                    <a:lnTo>
                      <a:pt x="33" y="234"/>
                    </a:lnTo>
                    <a:lnTo>
                      <a:pt x="31" y="234"/>
                    </a:lnTo>
                    <a:lnTo>
                      <a:pt x="31" y="234"/>
                    </a:lnTo>
                    <a:lnTo>
                      <a:pt x="28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8" y="231"/>
                    </a:lnTo>
                    <a:lnTo>
                      <a:pt x="26" y="231"/>
                    </a:lnTo>
                    <a:lnTo>
                      <a:pt x="26" y="229"/>
                    </a:lnTo>
                    <a:lnTo>
                      <a:pt x="26" y="229"/>
                    </a:lnTo>
                    <a:lnTo>
                      <a:pt x="24" y="229"/>
                    </a:lnTo>
                    <a:lnTo>
                      <a:pt x="24" y="229"/>
                    </a:lnTo>
                    <a:lnTo>
                      <a:pt x="24" y="226"/>
                    </a:lnTo>
                    <a:lnTo>
                      <a:pt x="24" y="226"/>
                    </a:lnTo>
                    <a:lnTo>
                      <a:pt x="21" y="226"/>
                    </a:lnTo>
                    <a:lnTo>
                      <a:pt x="21" y="224"/>
                    </a:lnTo>
                    <a:lnTo>
                      <a:pt x="21" y="224"/>
                    </a:lnTo>
                    <a:lnTo>
                      <a:pt x="21" y="222"/>
                    </a:lnTo>
                    <a:lnTo>
                      <a:pt x="21" y="219"/>
                    </a:lnTo>
                    <a:lnTo>
                      <a:pt x="19" y="217"/>
                    </a:lnTo>
                    <a:lnTo>
                      <a:pt x="17" y="215"/>
                    </a:lnTo>
                    <a:lnTo>
                      <a:pt x="17" y="215"/>
                    </a:lnTo>
                    <a:lnTo>
                      <a:pt x="14" y="215"/>
                    </a:lnTo>
                    <a:lnTo>
                      <a:pt x="9" y="215"/>
                    </a:lnTo>
                    <a:lnTo>
                      <a:pt x="12" y="212"/>
                    </a:lnTo>
                    <a:lnTo>
                      <a:pt x="12" y="212"/>
                    </a:lnTo>
                    <a:lnTo>
                      <a:pt x="14" y="212"/>
                    </a:lnTo>
                    <a:lnTo>
                      <a:pt x="14" y="210"/>
                    </a:lnTo>
                    <a:lnTo>
                      <a:pt x="14" y="210"/>
                    </a:lnTo>
                    <a:lnTo>
                      <a:pt x="17" y="210"/>
                    </a:lnTo>
                    <a:lnTo>
                      <a:pt x="19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8" y="210"/>
                    </a:lnTo>
                    <a:lnTo>
                      <a:pt x="28" y="210"/>
                    </a:lnTo>
                    <a:lnTo>
                      <a:pt x="28" y="210"/>
                    </a:lnTo>
                    <a:lnTo>
                      <a:pt x="31" y="208"/>
                    </a:lnTo>
                    <a:lnTo>
                      <a:pt x="31" y="208"/>
                    </a:lnTo>
                    <a:lnTo>
                      <a:pt x="33" y="208"/>
                    </a:lnTo>
                    <a:lnTo>
                      <a:pt x="33" y="205"/>
                    </a:lnTo>
                    <a:lnTo>
                      <a:pt x="35" y="205"/>
                    </a:lnTo>
                    <a:lnTo>
                      <a:pt x="38" y="203"/>
                    </a:lnTo>
                    <a:lnTo>
                      <a:pt x="38" y="203"/>
                    </a:lnTo>
                    <a:lnTo>
                      <a:pt x="38" y="205"/>
                    </a:lnTo>
                    <a:lnTo>
                      <a:pt x="40" y="203"/>
                    </a:lnTo>
                    <a:lnTo>
                      <a:pt x="43" y="205"/>
                    </a:lnTo>
                    <a:lnTo>
                      <a:pt x="45" y="203"/>
                    </a:lnTo>
                    <a:lnTo>
                      <a:pt x="45" y="205"/>
                    </a:lnTo>
                    <a:lnTo>
                      <a:pt x="45" y="205"/>
                    </a:lnTo>
                    <a:lnTo>
                      <a:pt x="45" y="203"/>
                    </a:lnTo>
                    <a:lnTo>
                      <a:pt x="47" y="203"/>
                    </a:lnTo>
                    <a:lnTo>
                      <a:pt x="47" y="200"/>
                    </a:lnTo>
                    <a:lnTo>
                      <a:pt x="50" y="200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4" y="196"/>
                    </a:lnTo>
                    <a:lnTo>
                      <a:pt x="57" y="196"/>
                    </a:lnTo>
                    <a:lnTo>
                      <a:pt x="57" y="196"/>
                    </a:lnTo>
                    <a:lnTo>
                      <a:pt x="59" y="193"/>
                    </a:lnTo>
                    <a:lnTo>
                      <a:pt x="59" y="196"/>
                    </a:lnTo>
                    <a:lnTo>
                      <a:pt x="61" y="196"/>
                    </a:lnTo>
                    <a:lnTo>
                      <a:pt x="64" y="196"/>
                    </a:lnTo>
                    <a:lnTo>
                      <a:pt x="64" y="196"/>
                    </a:lnTo>
                    <a:lnTo>
                      <a:pt x="64" y="196"/>
                    </a:lnTo>
                    <a:lnTo>
                      <a:pt x="64" y="196"/>
                    </a:lnTo>
                    <a:lnTo>
                      <a:pt x="66" y="196"/>
                    </a:lnTo>
                    <a:lnTo>
                      <a:pt x="68" y="193"/>
                    </a:lnTo>
                    <a:lnTo>
                      <a:pt x="68" y="196"/>
                    </a:lnTo>
                    <a:lnTo>
                      <a:pt x="71" y="196"/>
                    </a:lnTo>
                    <a:lnTo>
                      <a:pt x="71" y="196"/>
                    </a:lnTo>
                    <a:lnTo>
                      <a:pt x="73" y="196"/>
                    </a:lnTo>
                    <a:lnTo>
                      <a:pt x="73" y="196"/>
                    </a:lnTo>
                    <a:lnTo>
                      <a:pt x="76" y="196"/>
                    </a:lnTo>
                    <a:lnTo>
                      <a:pt x="76" y="193"/>
                    </a:lnTo>
                    <a:lnTo>
                      <a:pt x="76" y="193"/>
                    </a:lnTo>
                    <a:lnTo>
                      <a:pt x="78" y="193"/>
                    </a:lnTo>
                    <a:lnTo>
                      <a:pt x="78" y="193"/>
                    </a:lnTo>
                    <a:lnTo>
                      <a:pt x="78" y="193"/>
                    </a:lnTo>
                    <a:lnTo>
                      <a:pt x="80" y="193"/>
                    </a:lnTo>
                    <a:lnTo>
                      <a:pt x="80" y="193"/>
                    </a:lnTo>
                    <a:lnTo>
                      <a:pt x="80" y="196"/>
                    </a:lnTo>
                    <a:lnTo>
                      <a:pt x="80" y="196"/>
                    </a:lnTo>
                    <a:lnTo>
                      <a:pt x="83" y="196"/>
                    </a:lnTo>
                    <a:lnTo>
                      <a:pt x="83" y="196"/>
                    </a:lnTo>
                    <a:lnTo>
                      <a:pt x="85" y="196"/>
                    </a:lnTo>
                    <a:lnTo>
                      <a:pt x="85" y="193"/>
                    </a:lnTo>
                    <a:lnTo>
                      <a:pt x="87" y="193"/>
                    </a:lnTo>
                    <a:lnTo>
                      <a:pt x="87" y="193"/>
                    </a:lnTo>
                    <a:lnTo>
                      <a:pt x="87" y="193"/>
                    </a:lnTo>
                    <a:lnTo>
                      <a:pt x="90" y="193"/>
                    </a:lnTo>
                    <a:lnTo>
                      <a:pt x="90" y="191"/>
                    </a:lnTo>
                    <a:lnTo>
                      <a:pt x="90" y="191"/>
                    </a:lnTo>
                    <a:lnTo>
                      <a:pt x="92" y="191"/>
                    </a:lnTo>
                    <a:lnTo>
                      <a:pt x="92" y="191"/>
                    </a:lnTo>
                    <a:lnTo>
                      <a:pt x="92" y="191"/>
                    </a:lnTo>
                    <a:lnTo>
                      <a:pt x="94" y="189"/>
                    </a:lnTo>
                    <a:lnTo>
                      <a:pt x="94" y="189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7" y="186"/>
                    </a:lnTo>
                    <a:lnTo>
                      <a:pt x="97" y="186"/>
                    </a:lnTo>
                    <a:lnTo>
                      <a:pt x="97" y="186"/>
                    </a:lnTo>
                    <a:lnTo>
                      <a:pt x="99" y="186"/>
                    </a:lnTo>
                    <a:lnTo>
                      <a:pt x="99" y="186"/>
                    </a:lnTo>
                    <a:lnTo>
                      <a:pt x="99" y="184"/>
                    </a:lnTo>
                    <a:lnTo>
                      <a:pt x="99" y="184"/>
                    </a:lnTo>
                    <a:lnTo>
                      <a:pt x="102" y="184"/>
                    </a:lnTo>
                    <a:lnTo>
                      <a:pt x="102" y="186"/>
                    </a:lnTo>
                    <a:lnTo>
                      <a:pt x="102" y="184"/>
                    </a:lnTo>
                    <a:lnTo>
                      <a:pt x="104" y="184"/>
                    </a:lnTo>
                    <a:lnTo>
                      <a:pt x="104" y="182"/>
                    </a:lnTo>
                    <a:lnTo>
                      <a:pt x="104" y="182"/>
                    </a:lnTo>
                    <a:lnTo>
                      <a:pt x="109" y="182"/>
                    </a:lnTo>
                    <a:lnTo>
                      <a:pt x="109" y="182"/>
                    </a:lnTo>
                    <a:lnTo>
                      <a:pt x="111" y="182"/>
                    </a:lnTo>
                    <a:lnTo>
                      <a:pt x="111" y="182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6" y="182"/>
                    </a:lnTo>
                    <a:lnTo>
                      <a:pt x="116" y="182"/>
                    </a:lnTo>
                    <a:lnTo>
                      <a:pt x="116" y="179"/>
                    </a:lnTo>
                    <a:lnTo>
                      <a:pt x="118" y="179"/>
                    </a:lnTo>
                    <a:lnTo>
                      <a:pt x="118" y="179"/>
                    </a:lnTo>
                    <a:lnTo>
                      <a:pt x="120" y="179"/>
                    </a:lnTo>
                    <a:lnTo>
                      <a:pt x="125" y="177"/>
                    </a:lnTo>
                    <a:lnTo>
                      <a:pt x="128" y="177"/>
                    </a:lnTo>
                    <a:lnTo>
                      <a:pt x="128" y="177"/>
                    </a:lnTo>
                    <a:lnTo>
                      <a:pt x="128" y="174"/>
                    </a:lnTo>
                    <a:lnTo>
                      <a:pt x="130" y="174"/>
                    </a:lnTo>
                    <a:lnTo>
                      <a:pt x="130" y="174"/>
                    </a:lnTo>
                    <a:lnTo>
                      <a:pt x="130" y="174"/>
                    </a:lnTo>
                    <a:lnTo>
                      <a:pt x="132" y="172"/>
                    </a:lnTo>
                    <a:lnTo>
                      <a:pt x="132" y="174"/>
                    </a:lnTo>
                    <a:lnTo>
                      <a:pt x="135" y="172"/>
                    </a:lnTo>
                    <a:lnTo>
                      <a:pt x="137" y="172"/>
                    </a:lnTo>
                    <a:lnTo>
                      <a:pt x="137" y="172"/>
                    </a:lnTo>
                    <a:lnTo>
                      <a:pt x="137" y="172"/>
                    </a:lnTo>
                    <a:lnTo>
                      <a:pt x="142" y="170"/>
                    </a:lnTo>
                    <a:lnTo>
                      <a:pt x="142" y="170"/>
                    </a:lnTo>
                    <a:lnTo>
                      <a:pt x="144" y="170"/>
                    </a:lnTo>
                    <a:lnTo>
                      <a:pt x="144" y="170"/>
                    </a:lnTo>
                    <a:lnTo>
                      <a:pt x="144" y="172"/>
                    </a:lnTo>
                    <a:lnTo>
                      <a:pt x="144" y="172"/>
                    </a:lnTo>
                    <a:lnTo>
                      <a:pt x="144" y="172"/>
                    </a:lnTo>
                    <a:lnTo>
                      <a:pt x="144" y="172"/>
                    </a:lnTo>
                    <a:lnTo>
                      <a:pt x="146" y="172"/>
                    </a:lnTo>
                    <a:lnTo>
                      <a:pt x="146" y="174"/>
                    </a:lnTo>
                    <a:lnTo>
                      <a:pt x="149" y="172"/>
                    </a:lnTo>
                    <a:lnTo>
                      <a:pt x="151" y="172"/>
                    </a:lnTo>
                    <a:lnTo>
                      <a:pt x="151" y="172"/>
                    </a:lnTo>
                    <a:lnTo>
                      <a:pt x="151" y="170"/>
                    </a:lnTo>
                    <a:lnTo>
                      <a:pt x="154" y="170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6" y="172"/>
                    </a:lnTo>
                    <a:lnTo>
                      <a:pt x="156" y="170"/>
                    </a:lnTo>
                    <a:lnTo>
                      <a:pt x="156" y="170"/>
                    </a:lnTo>
                    <a:lnTo>
                      <a:pt x="156" y="170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61" y="172"/>
                    </a:lnTo>
                    <a:lnTo>
                      <a:pt x="161" y="170"/>
                    </a:lnTo>
                    <a:lnTo>
                      <a:pt x="161" y="172"/>
                    </a:lnTo>
                    <a:lnTo>
                      <a:pt x="163" y="172"/>
                    </a:lnTo>
                    <a:lnTo>
                      <a:pt x="163" y="172"/>
                    </a:lnTo>
                    <a:lnTo>
                      <a:pt x="163" y="170"/>
                    </a:lnTo>
                    <a:lnTo>
                      <a:pt x="163" y="170"/>
                    </a:lnTo>
                    <a:lnTo>
                      <a:pt x="163" y="170"/>
                    </a:lnTo>
                    <a:lnTo>
                      <a:pt x="165" y="170"/>
                    </a:lnTo>
                    <a:lnTo>
                      <a:pt x="165" y="167"/>
                    </a:lnTo>
                    <a:lnTo>
                      <a:pt x="165" y="170"/>
                    </a:lnTo>
                    <a:lnTo>
                      <a:pt x="168" y="172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72" y="170"/>
                    </a:lnTo>
                    <a:lnTo>
                      <a:pt x="175" y="170"/>
                    </a:lnTo>
                    <a:lnTo>
                      <a:pt x="175" y="170"/>
                    </a:lnTo>
                    <a:lnTo>
                      <a:pt x="175" y="170"/>
                    </a:lnTo>
                    <a:lnTo>
                      <a:pt x="175" y="170"/>
                    </a:lnTo>
                    <a:lnTo>
                      <a:pt x="177" y="170"/>
                    </a:lnTo>
                    <a:lnTo>
                      <a:pt x="180" y="170"/>
                    </a:lnTo>
                    <a:lnTo>
                      <a:pt x="182" y="170"/>
                    </a:lnTo>
                    <a:lnTo>
                      <a:pt x="184" y="170"/>
                    </a:lnTo>
                    <a:lnTo>
                      <a:pt x="184" y="167"/>
                    </a:lnTo>
                    <a:lnTo>
                      <a:pt x="187" y="167"/>
                    </a:lnTo>
                    <a:lnTo>
                      <a:pt x="191" y="165"/>
                    </a:lnTo>
                    <a:lnTo>
                      <a:pt x="194" y="163"/>
                    </a:lnTo>
                    <a:lnTo>
                      <a:pt x="194" y="163"/>
                    </a:lnTo>
                    <a:lnTo>
                      <a:pt x="194" y="163"/>
                    </a:lnTo>
                    <a:lnTo>
                      <a:pt x="196" y="163"/>
                    </a:lnTo>
                    <a:lnTo>
                      <a:pt x="196" y="163"/>
                    </a:lnTo>
                    <a:lnTo>
                      <a:pt x="198" y="163"/>
                    </a:lnTo>
                    <a:lnTo>
                      <a:pt x="198" y="163"/>
                    </a:lnTo>
                    <a:lnTo>
                      <a:pt x="201" y="163"/>
                    </a:lnTo>
                    <a:lnTo>
                      <a:pt x="201" y="163"/>
                    </a:lnTo>
                    <a:lnTo>
                      <a:pt x="203" y="163"/>
                    </a:lnTo>
                    <a:lnTo>
                      <a:pt x="206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10" y="163"/>
                    </a:lnTo>
                    <a:lnTo>
                      <a:pt x="210" y="163"/>
                    </a:lnTo>
                    <a:lnTo>
                      <a:pt x="210" y="165"/>
                    </a:lnTo>
                    <a:lnTo>
                      <a:pt x="210" y="165"/>
                    </a:lnTo>
                    <a:lnTo>
                      <a:pt x="213" y="165"/>
                    </a:lnTo>
                    <a:lnTo>
                      <a:pt x="213" y="165"/>
                    </a:lnTo>
                    <a:lnTo>
                      <a:pt x="215" y="165"/>
                    </a:lnTo>
                    <a:lnTo>
                      <a:pt x="215" y="165"/>
                    </a:lnTo>
                    <a:lnTo>
                      <a:pt x="215" y="167"/>
                    </a:lnTo>
                    <a:lnTo>
                      <a:pt x="217" y="163"/>
                    </a:lnTo>
                    <a:lnTo>
                      <a:pt x="220" y="163"/>
                    </a:lnTo>
                    <a:lnTo>
                      <a:pt x="220" y="165"/>
                    </a:lnTo>
                    <a:lnTo>
                      <a:pt x="220" y="165"/>
                    </a:lnTo>
                    <a:lnTo>
                      <a:pt x="222" y="165"/>
                    </a:lnTo>
                    <a:lnTo>
                      <a:pt x="224" y="165"/>
                    </a:lnTo>
                    <a:lnTo>
                      <a:pt x="224" y="167"/>
                    </a:lnTo>
                    <a:lnTo>
                      <a:pt x="224" y="170"/>
                    </a:lnTo>
                    <a:lnTo>
                      <a:pt x="220" y="170"/>
                    </a:lnTo>
                    <a:lnTo>
                      <a:pt x="220" y="172"/>
                    </a:lnTo>
                    <a:lnTo>
                      <a:pt x="222" y="174"/>
                    </a:lnTo>
                    <a:lnTo>
                      <a:pt x="222" y="177"/>
                    </a:lnTo>
                    <a:lnTo>
                      <a:pt x="224" y="174"/>
                    </a:lnTo>
                    <a:lnTo>
                      <a:pt x="224" y="172"/>
                    </a:lnTo>
                    <a:lnTo>
                      <a:pt x="227" y="172"/>
                    </a:lnTo>
                    <a:lnTo>
                      <a:pt x="229" y="172"/>
                    </a:lnTo>
                    <a:lnTo>
                      <a:pt x="229" y="172"/>
                    </a:lnTo>
                    <a:lnTo>
                      <a:pt x="229" y="172"/>
                    </a:lnTo>
                    <a:lnTo>
                      <a:pt x="234" y="172"/>
                    </a:lnTo>
                    <a:lnTo>
                      <a:pt x="236" y="170"/>
                    </a:lnTo>
                    <a:lnTo>
                      <a:pt x="236" y="170"/>
                    </a:lnTo>
                    <a:lnTo>
                      <a:pt x="236" y="167"/>
                    </a:lnTo>
                    <a:lnTo>
                      <a:pt x="236" y="167"/>
                    </a:lnTo>
                    <a:lnTo>
                      <a:pt x="236" y="167"/>
                    </a:lnTo>
                    <a:lnTo>
                      <a:pt x="239" y="165"/>
                    </a:lnTo>
                    <a:lnTo>
                      <a:pt x="241" y="165"/>
                    </a:lnTo>
                    <a:lnTo>
                      <a:pt x="243" y="163"/>
                    </a:lnTo>
                    <a:lnTo>
                      <a:pt x="246" y="163"/>
                    </a:lnTo>
                    <a:lnTo>
                      <a:pt x="246" y="163"/>
                    </a:lnTo>
                    <a:lnTo>
                      <a:pt x="253" y="160"/>
                    </a:lnTo>
                    <a:lnTo>
                      <a:pt x="255" y="158"/>
                    </a:lnTo>
                    <a:lnTo>
                      <a:pt x="255" y="156"/>
                    </a:lnTo>
                    <a:lnTo>
                      <a:pt x="260" y="153"/>
                    </a:lnTo>
                    <a:lnTo>
                      <a:pt x="267" y="153"/>
                    </a:lnTo>
                    <a:lnTo>
                      <a:pt x="269" y="151"/>
                    </a:lnTo>
                    <a:lnTo>
                      <a:pt x="272" y="151"/>
                    </a:lnTo>
                    <a:lnTo>
                      <a:pt x="276" y="148"/>
                    </a:lnTo>
                    <a:lnTo>
                      <a:pt x="281" y="146"/>
                    </a:lnTo>
                    <a:lnTo>
                      <a:pt x="281" y="144"/>
                    </a:lnTo>
                    <a:lnTo>
                      <a:pt x="283" y="144"/>
                    </a:lnTo>
                    <a:lnTo>
                      <a:pt x="288" y="144"/>
                    </a:lnTo>
                    <a:lnTo>
                      <a:pt x="291" y="141"/>
                    </a:lnTo>
                    <a:lnTo>
                      <a:pt x="291" y="141"/>
                    </a:lnTo>
                    <a:lnTo>
                      <a:pt x="291" y="141"/>
                    </a:lnTo>
                    <a:lnTo>
                      <a:pt x="293" y="141"/>
                    </a:lnTo>
                    <a:lnTo>
                      <a:pt x="293" y="139"/>
                    </a:lnTo>
                    <a:lnTo>
                      <a:pt x="300" y="137"/>
                    </a:lnTo>
                    <a:lnTo>
                      <a:pt x="307" y="134"/>
                    </a:lnTo>
                    <a:lnTo>
                      <a:pt x="309" y="132"/>
                    </a:lnTo>
                    <a:lnTo>
                      <a:pt x="317" y="130"/>
                    </a:lnTo>
                    <a:lnTo>
                      <a:pt x="319" y="127"/>
                    </a:lnTo>
                    <a:lnTo>
                      <a:pt x="319" y="127"/>
                    </a:lnTo>
                    <a:lnTo>
                      <a:pt x="321" y="127"/>
                    </a:lnTo>
                    <a:lnTo>
                      <a:pt x="324" y="127"/>
                    </a:lnTo>
                    <a:lnTo>
                      <a:pt x="328" y="127"/>
                    </a:lnTo>
                    <a:lnTo>
                      <a:pt x="328" y="125"/>
                    </a:lnTo>
                    <a:lnTo>
                      <a:pt x="333" y="125"/>
                    </a:lnTo>
                    <a:lnTo>
                      <a:pt x="333" y="123"/>
                    </a:lnTo>
                    <a:lnTo>
                      <a:pt x="333" y="123"/>
                    </a:lnTo>
                    <a:lnTo>
                      <a:pt x="333" y="123"/>
                    </a:lnTo>
                    <a:lnTo>
                      <a:pt x="333" y="120"/>
                    </a:lnTo>
                    <a:lnTo>
                      <a:pt x="331" y="118"/>
                    </a:lnTo>
                    <a:lnTo>
                      <a:pt x="331" y="120"/>
                    </a:lnTo>
                    <a:lnTo>
                      <a:pt x="331" y="118"/>
                    </a:lnTo>
                    <a:lnTo>
                      <a:pt x="331" y="118"/>
                    </a:lnTo>
                    <a:lnTo>
                      <a:pt x="331" y="118"/>
                    </a:lnTo>
                    <a:lnTo>
                      <a:pt x="328" y="115"/>
                    </a:lnTo>
                    <a:lnTo>
                      <a:pt x="328" y="115"/>
                    </a:lnTo>
                    <a:lnTo>
                      <a:pt x="326" y="115"/>
                    </a:lnTo>
                    <a:lnTo>
                      <a:pt x="326" y="115"/>
                    </a:lnTo>
                    <a:lnTo>
                      <a:pt x="326" y="118"/>
                    </a:lnTo>
                    <a:lnTo>
                      <a:pt x="324" y="118"/>
                    </a:lnTo>
                    <a:lnTo>
                      <a:pt x="324" y="115"/>
                    </a:lnTo>
                    <a:lnTo>
                      <a:pt x="324" y="115"/>
                    </a:lnTo>
                    <a:lnTo>
                      <a:pt x="321" y="115"/>
                    </a:lnTo>
                    <a:lnTo>
                      <a:pt x="321" y="115"/>
                    </a:lnTo>
                    <a:lnTo>
                      <a:pt x="319" y="113"/>
                    </a:lnTo>
                    <a:lnTo>
                      <a:pt x="321" y="113"/>
                    </a:lnTo>
                    <a:lnTo>
                      <a:pt x="321" y="113"/>
                    </a:lnTo>
                    <a:lnTo>
                      <a:pt x="319" y="111"/>
                    </a:lnTo>
                    <a:lnTo>
                      <a:pt x="321" y="108"/>
                    </a:lnTo>
                    <a:lnTo>
                      <a:pt x="324" y="106"/>
                    </a:lnTo>
                    <a:lnTo>
                      <a:pt x="326" y="106"/>
                    </a:lnTo>
                    <a:lnTo>
                      <a:pt x="326" y="104"/>
                    </a:lnTo>
                    <a:lnTo>
                      <a:pt x="326" y="104"/>
                    </a:lnTo>
                    <a:lnTo>
                      <a:pt x="328" y="104"/>
                    </a:lnTo>
                    <a:lnTo>
                      <a:pt x="328" y="101"/>
                    </a:lnTo>
                    <a:lnTo>
                      <a:pt x="328" y="101"/>
                    </a:lnTo>
                    <a:lnTo>
                      <a:pt x="328" y="99"/>
                    </a:lnTo>
                    <a:lnTo>
                      <a:pt x="328" y="99"/>
                    </a:lnTo>
                    <a:lnTo>
                      <a:pt x="331" y="99"/>
                    </a:lnTo>
                    <a:lnTo>
                      <a:pt x="331" y="97"/>
                    </a:lnTo>
                    <a:lnTo>
                      <a:pt x="333" y="97"/>
                    </a:lnTo>
                    <a:lnTo>
                      <a:pt x="335" y="94"/>
                    </a:lnTo>
                    <a:lnTo>
                      <a:pt x="333" y="92"/>
                    </a:lnTo>
                    <a:lnTo>
                      <a:pt x="333" y="92"/>
                    </a:lnTo>
                    <a:lnTo>
                      <a:pt x="331" y="89"/>
                    </a:lnTo>
                    <a:lnTo>
                      <a:pt x="331" y="89"/>
                    </a:lnTo>
                    <a:lnTo>
                      <a:pt x="331" y="87"/>
                    </a:lnTo>
                    <a:lnTo>
                      <a:pt x="331" y="87"/>
                    </a:lnTo>
                    <a:lnTo>
                      <a:pt x="331" y="87"/>
                    </a:lnTo>
                    <a:lnTo>
                      <a:pt x="331" y="85"/>
                    </a:lnTo>
                    <a:lnTo>
                      <a:pt x="333" y="82"/>
                    </a:lnTo>
                    <a:lnTo>
                      <a:pt x="333" y="85"/>
                    </a:lnTo>
                    <a:lnTo>
                      <a:pt x="335" y="85"/>
                    </a:lnTo>
                    <a:lnTo>
                      <a:pt x="335" y="82"/>
                    </a:lnTo>
                    <a:lnTo>
                      <a:pt x="338" y="82"/>
                    </a:lnTo>
                    <a:lnTo>
                      <a:pt x="335" y="80"/>
                    </a:lnTo>
                    <a:lnTo>
                      <a:pt x="335" y="80"/>
                    </a:lnTo>
                    <a:lnTo>
                      <a:pt x="335" y="80"/>
                    </a:lnTo>
                    <a:lnTo>
                      <a:pt x="335" y="80"/>
                    </a:lnTo>
                    <a:lnTo>
                      <a:pt x="338" y="78"/>
                    </a:lnTo>
                    <a:lnTo>
                      <a:pt x="338" y="78"/>
                    </a:lnTo>
                    <a:lnTo>
                      <a:pt x="338" y="75"/>
                    </a:lnTo>
                    <a:lnTo>
                      <a:pt x="338" y="75"/>
                    </a:lnTo>
                    <a:lnTo>
                      <a:pt x="338" y="75"/>
                    </a:lnTo>
                    <a:lnTo>
                      <a:pt x="338" y="73"/>
                    </a:lnTo>
                    <a:lnTo>
                      <a:pt x="338" y="73"/>
                    </a:lnTo>
                    <a:lnTo>
                      <a:pt x="338" y="73"/>
                    </a:lnTo>
                    <a:lnTo>
                      <a:pt x="338" y="71"/>
                    </a:lnTo>
                    <a:lnTo>
                      <a:pt x="338" y="68"/>
                    </a:lnTo>
                    <a:lnTo>
                      <a:pt x="338" y="66"/>
                    </a:lnTo>
                    <a:lnTo>
                      <a:pt x="340" y="66"/>
                    </a:lnTo>
                    <a:lnTo>
                      <a:pt x="340" y="66"/>
                    </a:lnTo>
                    <a:lnTo>
                      <a:pt x="343" y="63"/>
                    </a:lnTo>
                    <a:lnTo>
                      <a:pt x="343" y="63"/>
                    </a:lnTo>
                    <a:lnTo>
                      <a:pt x="343" y="61"/>
                    </a:lnTo>
                    <a:lnTo>
                      <a:pt x="343" y="61"/>
                    </a:lnTo>
                    <a:lnTo>
                      <a:pt x="343" y="59"/>
                    </a:lnTo>
                    <a:lnTo>
                      <a:pt x="343" y="61"/>
                    </a:lnTo>
                    <a:lnTo>
                      <a:pt x="340" y="59"/>
                    </a:lnTo>
                    <a:lnTo>
                      <a:pt x="340" y="59"/>
                    </a:lnTo>
                    <a:lnTo>
                      <a:pt x="343" y="56"/>
                    </a:lnTo>
                    <a:lnTo>
                      <a:pt x="340" y="54"/>
                    </a:lnTo>
                    <a:lnTo>
                      <a:pt x="340" y="54"/>
                    </a:lnTo>
                    <a:lnTo>
                      <a:pt x="340" y="52"/>
                    </a:lnTo>
                    <a:lnTo>
                      <a:pt x="343" y="52"/>
                    </a:lnTo>
                    <a:lnTo>
                      <a:pt x="343" y="52"/>
                    </a:lnTo>
                    <a:lnTo>
                      <a:pt x="343" y="49"/>
                    </a:lnTo>
                    <a:lnTo>
                      <a:pt x="345" y="49"/>
                    </a:lnTo>
                    <a:lnTo>
                      <a:pt x="345" y="47"/>
                    </a:lnTo>
                    <a:lnTo>
                      <a:pt x="345" y="47"/>
                    </a:lnTo>
                    <a:lnTo>
                      <a:pt x="345" y="47"/>
                    </a:lnTo>
                    <a:lnTo>
                      <a:pt x="345" y="45"/>
                    </a:lnTo>
                    <a:lnTo>
                      <a:pt x="350" y="45"/>
                    </a:lnTo>
                    <a:lnTo>
                      <a:pt x="350" y="42"/>
                    </a:lnTo>
                    <a:lnTo>
                      <a:pt x="350" y="42"/>
                    </a:lnTo>
                    <a:lnTo>
                      <a:pt x="350" y="40"/>
                    </a:lnTo>
                    <a:lnTo>
                      <a:pt x="352" y="40"/>
                    </a:lnTo>
                    <a:lnTo>
                      <a:pt x="352" y="40"/>
                    </a:lnTo>
                    <a:lnTo>
                      <a:pt x="354" y="37"/>
                    </a:lnTo>
                    <a:lnTo>
                      <a:pt x="354" y="35"/>
                    </a:lnTo>
                    <a:lnTo>
                      <a:pt x="354" y="35"/>
                    </a:lnTo>
                    <a:lnTo>
                      <a:pt x="354" y="35"/>
                    </a:lnTo>
                    <a:lnTo>
                      <a:pt x="354" y="35"/>
                    </a:lnTo>
                    <a:lnTo>
                      <a:pt x="357" y="35"/>
                    </a:lnTo>
                    <a:lnTo>
                      <a:pt x="357" y="35"/>
                    </a:lnTo>
                    <a:lnTo>
                      <a:pt x="357" y="33"/>
                    </a:lnTo>
                    <a:lnTo>
                      <a:pt x="354" y="33"/>
                    </a:lnTo>
                    <a:lnTo>
                      <a:pt x="354" y="33"/>
                    </a:lnTo>
                    <a:lnTo>
                      <a:pt x="352" y="33"/>
                    </a:lnTo>
                    <a:lnTo>
                      <a:pt x="352" y="30"/>
                    </a:lnTo>
                    <a:lnTo>
                      <a:pt x="350" y="30"/>
                    </a:lnTo>
                    <a:lnTo>
                      <a:pt x="350" y="30"/>
                    </a:lnTo>
                    <a:lnTo>
                      <a:pt x="350" y="28"/>
                    </a:lnTo>
                    <a:lnTo>
                      <a:pt x="347" y="28"/>
                    </a:lnTo>
                    <a:lnTo>
                      <a:pt x="347" y="26"/>
                    </a:lnTo>
                    <a:lnTo>
                      <a:pt x="350" y="26"/>
                    </a:lnTo>
                    <a:lnTo>
                      <a:pt x="350" y="23"/>
                    </a:lnTo>
                    <a:lnTo>
                      <a:pt x="352" y="26"/>
                    </a:lnTo>
                    <a:lnTo>
                      <a:pt x="352" y="26"/>
                    </a:lnTo>
                    <a:lnTo>
                      <a:pt x="352" y="23"/>
                    </a:lnTo>
                    <a:lnTo>
                      <a:pt x="354" y="23"/>
                    </a:lnTo>
                    <a:lnTo>
                      <a:pt x="354" y="21"/>
                    </a:lnTo>
                    <a:lnTo>
                      <a:pt x="357" y="23"/>
                    </a:lnTo>
                    <a:lnTo>
                      <a:pt x="359" y="23"/>
                    </a:lnTo>
                    <a:lnTo>
                      <a:pt x="361" y="21"/>
                    </a:lnTo>
                    <a:lnTo>
                      <a:pt x="361" y="21"/>
                    </a:lnTo>
                    <a:lnTo>
                      <a:pt x="364" y="21"/>
                    </a:lnTo>
                    <a:lnTo>
                      <a:pt x="366" y="21"/>
                    </a:lnTo>
                    <a:lnTo>
                      <a:pt x="366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71" y="19"/>
                    </a:lnTo>
                    <a:lnTo>
                      <a:pt x="371" y="21"/>
                    </a:lnTo>
                    <a:lnTo>
                      <a:pt x="371" y="19"/>
                    </a:lnTo>
                    <a:lnTo>
                      <a:pt x="371" y="16"/>
                    </a:lnTo>
                    <a:lnTo>
                      <a:pt x="371" y="16"/>
                    </a:lnTo>
                    <a:lnTo>
                      <a:pt x="371" y="14"/>
                    </a:lnTo>
                    <a:lnTo>
                      <a:pt x="373" y="14"/>
                    </a:lnTo>
                    <a:lnTo>
                      <a:pt x="373" y="14"/>
                    </a:lnTo>
                    <a:lnTo>
                      <a:pt x="373" y="11"/>
                    </a:lnTo>
                    <a:lnTo>
                      <a:pt x="376" y="11"/>
                    </a:lnTo>
                    <a:lnTo>
                      <a:pt x="376" y="11"/>
                    </a:lnTo>
                    <a:lnTo>
                      <a:pt x="376" y="9"/>
                    </a:lnTo>
                    <a:lnTo>
                      <a:pt x="376" y="7"/>
                    </a:lnTo>
                    <a:lnTo>
                      <a:pt x="376" y="4"/>
                    </a:lnTo>
                    <a:lnTo>
                      <a:pt x="376" y="4"/>
                    </a:lnTo>
                    <a:lnTo>
                      <a:pt x="378" y="4"/>
                    </a:lnTo>
                    <a:lnTo>
                      <a:pt x="378" y="4"/>
                    </a:lnTo>
                    <a:lnTo>
                      <a:pt x="380" y="4"/>
                    </a:lnTo>
                    <a:lnTo>
                      <a:pt x="380" y="2"/>
                    </a:lnTo>
                    <a:lnTo>
                      <a:pt x="383" y="2"/>
                    </a:lnTo>
                    <a:lnTo>
                      <a:pt x="383" y="2"/>
                    </a:lnTo>
                    <a:lnTo>
                      <a:pt x="383" y="2"/>
                    </a:lnTo>
                    <a:lnTo>
                      <a:pt x="383" y="0"/>
                    </a:lnTo>
                    <a:lnTo>
                      <a:pt x="383" y="0"/>
                    </a:lnTo>
                    <a:lnTo>
                      <a:pt x="385" y="0"/>
                    </a:lnTo>
                    <a:lnTo>
                      <a:pt x="385" y="2"/>
                    </a:lnTo>
                    <a:lnTo>
                      <a:pt x="387" y="2"/>
                    </a:lnTo>
                    <a:lnTo>
                      <a:pt x="390" y="2"/>
                    </a:lnTo>
                    <a:lnTo>
                      <a:pt x="390" y="4"/>
                    </a:lnTo>
                    <a:lnTo>
                      <a:pt x="390" y="4"/>
                    </a:lnTo>
                    <a:lnTo>
                      <a:pt x="392" y="4"/>
                    </a:lnTo>
                    <a:lnTo>
                      <a:pt x="390" y="4"/>
                    </a:lnTo>
                    <a:lnTo>
                      <a:pt x="392" y="4"/>
                    </a:lnTo>
                    <a:lnTo>
                      <a:pt x="392" y="4"/>
                    </a:lnTo>
                    <a:lnTo>
                      <a:pt x="394" y="4"/>
                    </a:lnTo>
                    <a:lnTo>
                      <a:pt x="397" y="4"/>
                    </a:lnTo>
                    <a:lnTo>
                      <a:pt x="397" y="4"/>
                    </a:lnTo>
                    <a:lnTo>
                      <a:pt x="399" y="4"/>
                    </a:lnTo>
                    <a:lnTo>
                      <a:pt x="399" y="7"/>
                    </a:lnTo>
                    <a:lnTo>
                      <a:pt x="399" y="7"/>
                    </a:lnTo>
                    <a:lnTo>
                      <a:pt x="399" y="7"/>
                    </a:lnTo>
                    <a:lnTo>
                      <a:pt x="399" y="7"/>
                    </a:lnTo>
                    <a:lnTo>
                      <a:pt x="399" y="9"/>
                    </a:lnTo>
                    <a:lnTo>
                      <a:pt x="399" y="11"/>
                    </a:lnTo>
                    <a:lnTo>
                      <a:pt x="399" y="14"/>
                    </a:lnTo>
                    <a:lnTo>
                      <a:pt x="399" y="14"/>
                    </a:lnTo>
                    <a:lnTo>
                      <a:pt x="402" y="14"/>
                    </a:lnTo>
                    <a:lnTo>
                      <a:pt x="404" y="14"/>
                    </a:lnTo>
                    <a:lnTo>
                      <a:pt x="402" y="14"/>
                    </a:lnTo>
                    <a:lnTo>
                      <a:pt x="402" y="16"/>
                    </a:lnTo>
                    <a:lnTo>
                      <a:pt x="402" y="16"/>
                    </a:lnTo>
                    <a:lnTo>
                      <a:pt x="402" y="16"/>
                    </a:lnTo>
                    <a:lnTo>
                      <a:pt x="402" y="21"/>
                    </a:lnTo>
                    <a:lnTo>
                      <a:pt x="402" y="21"/>
                    </a:lnTo>
                    <a:lnTo>
                      <a:pt x="399" y="21"/>
                    </a:lnTo>
                    <a:lnTo>
                      <a:pt x="402" y="23"/>
                    </a:lnTo>
                    <a:lnTo>
                      <a:pt x="402" y="23"/>
                    </a:lnTo>
                    <a:lnTo>
                      <a:pt x="402" y="28"/>
                    </a:lnTo>
                    <a:lnTo>
                      <a:pt x="404" y="28"/>
                    </a:lnTo>
                    <a:lnTo>
                      <a:pt x="404" y="30"/>
                    </a:lnTo>
                    <a:lnTo>
                      <a:pt x="402" y="30"/>
                    </a:lnTo>
                    <a:lnTo>
                      <a:pt x="402" y="30"/>
                    </a:lnTo>
                    <a:lnTo>
                      <a:pt x="402" y="33"/>
                    </a:lnTo>
                    <a:lnTo>
                      <a:pt x="404" y="33"/>
                    </a:lnTo>
                    <a:lnTo>
                      <a:pt x="402" y="33"/>
                    </a:lnTo>
                    <a:lnTo>
                      <a:pt x="402" y="33"/>
                    </a:lnTo>
                    <a:lnTo>
                      <a:pt x="402" y="35"/>
                    </a:lnTo>
                    <a:lnTo>
                      <a:pt x="402" y="35"/>
                    </a:lnTo>
                    <a:lnTo>
                      <a:pt x="402" y="37"/>
                    </a:lnTo>
                    <a:lnTo>
                      <a:pt x="402" y="37"/>
                    </a:lnTo>
                    <a:lnTo>
                      <a:pt x="402" y="37"/>
                    </a:lnTo>
                    <a:lnTo>
                      <a:pt x="402" y="37"/>
                    </a:lnTo>
                    <a:lnTo>
                      <a:pt x="402" y="40"/>
                    </a:lnTo>
                    <a:lnTo>
                      <a:pt x="402" y="40"/>
                    </a:lnTo>
                    <a:lnTo>
                      <a:pt x="402" y="40"/>
                    </a:lnTo>
                    <a:lnTo>
                      <a:pt x="402" y="40"/>
                    </a:lnTo>
                    <a:lnTo>
                      <a:pt x="402" y="42"/>
                    </a:lnTo>
                    <a:lnTo>
                      <a:pt x="402" y="45"/>
                    </a:lnTo>
                    <a:lnTo>
                      <a:pt x="402" y="45"/>
                    </a:lnTo>
                    <a:lnTo>
                      <a:pt x="402" y="45"/>
                    </a:lnTo>
                    <a:lnTo>
                      <a:pt x="404" y="45"/>
                    </a:lnTo>
                    <a:lnTo>
                      <a:pt x="404" y="45"/>
                    </a:lnTo>
                    <a:lnTo>
                      <a:pt x="402" y="47"/>
                    </a:lnTo>
                    <a:lnTo>
                      <a:pt x="402" y="47"/>
                    </a:lnTo>
                    <a:lnTo>
                      <a:pt x="404" y="47"/>
                    </a:lnTo>
                    <a:lnTo>
                      <a:pt x="404" y="47"/>
                    </a:lnTo>
                    <a:lnTo>
                      <a:pt x="406" y="47"/>
                    </a:lnTo>
                    <a:lnTo>
                      <a:pt x="406" y="47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11" y="49"/>
                    </a:lnTo>
                    <a:lnTo>
                      <a:pt x="411" y="49"/>
                    </a:lnTo>
                    <a:lnTo>
                      <a:pt x="411" y="49"/>
                    </a:lnTo>
                    <a:lnTo>
                      <a:pt x="413" y="49"/>
                    </a:lnTo>
                    <a:lnTo>
                      <a:pt x="413" y="49"/>
                    </a:lnTo>
                    <a:lnTo>
                      <a:pt x="416" y="52"/>
                    </a:lnTo>
                    <a:lnTo>
                      <a:pt x="418" y="49"/>
                    </a:lnTo>
                    <a:lnTo>
                      <a:pt x="420" y="52"/>
                    </a:lnTo>
                    <a:lnTo>
                      <a:pt x="420" y="52"/>
                    </a:lnTo>
                    <a:lnTo>
                      <a:pt x="420" y="54"/>
                    </a:lnTo>
                    <a:lnTo>
                      <a:pt x="423" y="54"/>
                    </a:lnTo>
                    <a:lnTo>
                      <a:pt x="423" y="52"/>
                    </a:lnTo>
                    <a:lnTo>
                      <a:pt x="423" y="54"/>
                    </a:lnTo>
                    <a:lnTo>
                      <a:pt x="428" y="54"/>
                    </a:lnTo>
                    <a:lnTo>
                      <a:pt x="428" y="56"/>
                    </a:lnTo>
                    <a:lnTo>
                      <a:pt x="428" y="54"/>
                    </a:lnTo>
                    <a:lnTo>
                      <a:pt x="430" y="54"/>
                    </a:lnTo>
                    <a:lnTo>
                      <a:pt x="430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6"/>
                    </a:lnTo>
                    <a:lnTo>
                      <a:pt x="435" y="56"/>
                    </a:lnTo>
                    <a:lnTo>
                      <a:pt x="437" y="59"/>
                    </a:lnTo>
                    <a:lnTo>
                      <a:pt x="437" y="59"/>
                    </a:lnTo>
                    <a:lnTo>
                      <a:pt x="439" y="59"/>
                    </a:lnTo>
                    <a:lnTo>
                      <a:pt x="439" y="56"/>
                    </a:lnTo>
                    <a:lnTo>
                      <a:pt x="442" y="56"/>
                    </a:lnTo>
                    <a:lnTo>
                      <a:pt x="442" y="56"/>
                    </a:lnTo>
                    <a:lnTo>
                      <a:pt x="442" y="56"/>
                    </a:lnTo>
                    <a:lnTo>
                      <a:pt x="442" y="56"/>
                    </a:lnTo>
                    <a:lnTo>
                      <a:pt x="444" y="56"/>
                    </a:lnTo>
                    <a:lnTo>
                      <a:pt x="444" y="56"/>
                    </a:lnTo>
                    <a:lnTo>
                      <a:pt x="446" y="56"/>
                    </a:lnTo>
                    <a:lnTo>
                      <a:pt x="446" y="56"/>
                    </a:lnTo>
                    <a:lnTo>
                      <a:pt x="446" y="56"/>
                    </a:lnTo>
                    <a:lnTo>
                      <a:pt x="446" y="56"/>
                    </a:lnTo>
                    <a:lnTo>
                      <a:pt x="451" y="59"/>
                    </a:lnTo>
                    <a:lnTo>
                      <a:pt x="451" y="59"/>
                    </a:lnTo>
                    <a:lnTo>
                      <a:pt x="451" y="59"/>
                    </a:lnTo>
                    <a:lnTo>
                      <a:pt x="454" y="59"/>
                    </a:lnTo>
                    <a:lnTo>
                      <a:pt x="454" y="59"/>
                    </a:lnTo>
                    <a:lnTo>
                      <a:pt x="454" y="59"/>
                    </a:lnTo>
                    <a:lnTo>
                      <a:pt x="456" y="61"/>
                    </a:lnTo>
                    <a:lnTo>
                      <a:pt x="456" y="61"/>
                    </a:lnTo>
                    <a:lnTo>
                      <a:pt x="458" y="61"/>
                    </a:lnTo>
                    <a:lnTo>
                      <a:pt x="458" y="61"/>
                    </a:lnTo>
                    <a:lnTo>
                      <a:pt x="458" y="61"/>
                    </a:lnTo>
                    <a:lnTo>
                      <a:pt x="458" y="61"/>
                    </a:lnTo>
                    <a:lnTo>
                      <a:pt x="461" y="61"/>
                    </a:lnTo>
                    <a:lnTo>
                      <a:pt x="461" y="59"/>
                    </a:lnTo>
                    <a:lnTo>
                      <a:pt x="463" y="59"/>
                    </a:lnTo>
                    <a:lnTo>
                      <a:pt x="463" y="59"/>
                    </a:lnTo>
                    <a:lnTo>
                      <a:pt x="465" y="59"/>
                    </a:lnTo>
                    <a:lnTo>
                      <a:pt x="465" y="61"/>
                    </a:lnTo>
                    <a:lnTo>
                      <a:pt x="465" y="61"/>
                    </a:lnTo>
                    <a:lnTo>
                      <a:pt x="465" y="61"/>
                    </a:lnTo>
                    <a:lnTo>
                      <a:pt x="468" y="61"/>
                    </a:lnTo>
                    <a:lnTo>
                      <a:pt x="468" y="61"/>
                    </a:lnTo>
                    <a:lnTo>
                      <a:pt x="468" y="61"/>
                    </a:lnTo>
                    <a:lnTo>
                      <a:pt x="470" y="61"/>
                    </a:lnTo>
                    <a:lnTo>
                      <a:pt x="470" y="63"/>
                    </a:lnTo>
                    <a:lnTo>
                      <a:pt x="470" y="61"/>
                    </a:lnTo>
                    <a:lnTo>
                      <a:pt x="470" y="61"/>
                    </a:lnTo>
                    <a:lnTo>
                      <a:pt x="470" y="61"/>
                    </a:lnTo>
                    <a:lnTo>
                      <a:pt x="470" y="61"/>
                    </a:lnTo>
                    <a:lnTo>
                      <a:pt x="472" y="61"/>
                    </a:lnTo>
                    <a:lnTo>
                      <a:pt x="470" y="61"/>
                    </a:lnTo>
                    <a:lnTo>
                      <a:pt x="472" y="61"/>
                    </a:lnTo>
                    <a:lnTo>
                      <a:pt x="472" y="61"/>
                    </a:lnTo>
                    <a:lnTo>
                      <a:pt x="475" y="61"/>
                    </a:lnTo>
                    <a:lnTo>
                      <a:pt x="475" y="61"/>
                    </a:lnTo>
                    <a:lnTo>
                      <a:pt x="477" y="61"/>
                    </a:lnTo>
                    <a:lnTo>
                      <a:pt x="477" y="61"/>
                    </a:lnTo>
                    <a:lnTo>
                      <a:pt x="482" y="59"/>
                    </a:lnTo>
                    <a:lnTo>
                      <a:pt x="482" y="59"/>
                    </a:lnTo>
                    <a:lnTo>
                      <a:pt x="482" y="59"/>
                    </a:lnTo>
                    <a:lnTo>
                      <a:pt x="484" y="59"/>
                    </a:lnTo>
                    <a:lnTo>
                      <a:pt x="484" y="61"/>
                    </a:lnTo>
                    <a:lnTo>
                      <a:pt x="484" y="61"/>
                    </a:lnTo>
                    <a:lnTo>
                      <a:pt x="487" y="61"/>
                    </a:lnTo>
                    <a:lnTo>
                      <a:pt x="489" y="63"/>
                    </a:lnTo>
                    <a:lnTo>
                      <a:pt x="491" y="63"/>
                    </a:lnTo>
                    <a:lnTo>
                      <a:pt x="491" y="63"/>
                    </a:lnTo>
                    <a:lnTo>
                      <a:pt x="494" y="63"/>
                    </a:lnTo>
                    <a:lnTo>
                      <a:pt x="494" y="66"/>
                    </a:lnTo>
                    <a:lnTo>
                      <a:pt x="494" y="68"/>
                    </a:lnTo>
                    <a:lnTo>
                      <a:pt x="494" y="68"/>
                    </a:lnTo>
                    <a:lnTo>
                      <a:pt x="496" y="68"/>
                    </a:lnTo>
                    <a:lnTo>
                      <a:pt x="496" y="68"/>
                    </a:lnTo>
                    <a:lnTo>
                      <a:pt x="496" y="68"/>
                    </a:lnTo>
                    <a:lnTo>
                      <a:pt x="496" y="68"/>
                    </a:lnTo>
                    <a:lnTo>
                      <a:pt x="496" y="68"/>
                    </a:lnTo>
                    <a:lnTo>
                      <a:pt x="498" y="68"/>
                    </a:lnTo>
                    <a:lnTo>
                      <a:pt x="498" y="71"/>
                    </a:lnTo>
                    <a:lnTo>
                      <a:pt x="498" y="71"/>
                    </a:lnTo>
                    <a:lnTo>
                      <a:pt x="498" y="71"/>
                    </a:lnTo>
                    <a:lnTo>
                      <a:pt x="498" y="75"/>
                    </a:lnTo>
                    <a:lnTo>
                      <a:pt x="498" y="78"/>
                    </a:lnTo>
                    <a:lnTo>
                      <a:pt x="498" y="78"/>
                    </a:lnTo>
                    <a:lnTo>
                      <a:pt x="496" y="82"/>
                    </a:lnTo>
                    <a:lnTo>
                      <a:pt x="496" y="82"/>
                    </a:lnTo>
                    <a:lnTo>
                      <a:pt x="494" y="82"/>
                    </a:lnTo>
                    <a:lnTo>
                      <a:pt x="494" y="85"/>
                    </a:lnTo>
                    <a:lnTo>
                      <a:pt x="491" y="89"/>
                    </a:lnTo>
                    <a:lnTo>
                      <a:pt x="489" y="89"/>
                    </a:lnTo>
                    <a:lnTo>
                      <a:pt x="487" y="92"/>
                    </a:lnTo>
                    <a:lnTo>
                      <a:pt x="484" y="94"/>
                    </a:lnTo>
                    <a:lnTo>
                      <a:pt x="484" y="97"/>
                    </a:lnTo>
                    <a:lnTo>
                      <a:pt x="484" y="101"/>
                    </a:lnTo>
                    <a:lnTo>
                      <a:pt x="487" y="106"/>
                    </a:lnTo>
                    <a:lnTo>
                      <a:pt x="487" y="108"/>
                    </a:lnTo>
                    <a:lnTo>
                      <a:pt x="489" y="108"/>
                    </a:lnTo>
                    <a:lnTo>
                      <a:pt x="491" y="108"/>
                    </a:lnTo>
                    <a:lnTo>
                      <a:pt x="491" y="111"/>
                    </a:lnTo>
                    <a:lnTo>
                      <a:pt x="491" y="108"/>
                    </a:lnTo>
                    <a:lnTo>
                      <a:pt x="491" y="111"/>
                    </a:lnTo>
                    <a:lnTo>
                      <a:pt x="491" y="120"/>
                    </a:lnTo>
                    <a:lnTo>
                      <a:pt x="491" y="125"/>
                    </a:lnTo>
                    <a:lnTo>
                      <a:pt x="494" y="134"/>
                    </a:lnTo>
                    <a:lnTo>
                      <a:pt x="496" y="151"/>
                    </a:lnTo>
                    <a:lnTo>
                      <a:pt x="496" y="153"/>
                    </a:lnTo>
                    <a:lnTo>
                      <a:pt x="496" y="158"/>
                    </a:lnTo>
                    <a:lnTo>
                      <a:pt x="496" y="160"/>
                    </a:lnTo>
                    <a:lnTo>
                      <a:pt x="494" y="163"/>
                    </a:lnTo>
                    <a:lnTo>
                      <a:pt x="494" y="163"/>
                    </a:lnTo>
                    <a:lnTo>
                      <a:pt x="487" y="167"/>
                    </a:lnTo>
                    <a:lnTo>
                      <a:pt x="484" y="170"/>
                    </a:lnTo>
                    <a:lnTo>
                      <a:pt x="477" y="172"/>
                    </a:lnTo>
                    <a:lnTo>
                      <a:pt x="475" y="177"/>
                    </a:lnTo>
                    <a:lnTo>
                      <a:pt x="468" y="179"/>
                    </a:lnTo>
                    <a:lnTo>
                      <a:pt x="463" y="179"/>
                    </a:lnTo>
                    <a:lnTo>
                      <a:pt x="456" y="182"/>
                    </a:lnTo>
                    <a:lnTo>
                      <a:pt x="439" y="186"/>
                    </a:lnTo>
                    <a:lnTo>
                      <a:pt x="432" y="189"/>
                    </a:lnTo>
                    <a:lnTo>
                      <a:pt x="425" y="191"/>
                    </a:lnTo>
                    <a:lnTo>
                      <a:pt x="420" y="193"/>
                    </a:lnTo>
                    <a:lnTo>
                      <a:pt x="418" y="196"/>
                    </a:lnTo>
                    <a:lnTo>
                      <a:pt x="413" y="196"/>
                    </a:lnTo>
                    <a:lnTo>
                      <a:pt x="406" y="200"/>
                    </a:lnTo>
                    <a:lnTo>
                      <a:pt x="399" y="205"/>
                    </a:lnTo>
                    <a:lnTo>
                      <a:pt x="399" y="205"/>
                    </a:lnTo>
                    <a:lnTo>
                      <a:pt x="397" y="208"/>
                    </a:lnTo>
                    <a:lnTo>
                      <a:pt x="394" y="208"/>
                    </a:lnTo>
                    <a:lnTo>
                      <a:pt x="394" y="210"/>
                    </a:lnTo>
                    <a:lnTo>
                      <a:pt x="397" y="210"/>
                    </a:lnTo>
                    <a:lnTo>
                      <a:pt x="394" y="210"/>
                    </a:lnTo>
                    <a:lnTo>
                      <a:pt x="397" y="212"/>
                    </a:lnTo>
                    <a:lnTo>
                      <a:pt x="394" y="215"/>
                    </a:lnTo>
                    <a:lnTo>
                      <a:pt x="392" y="215"/>
                    </a:lnTo>
                    <a:lnTo>
                      <a:pt x="390" y="215"/>
                    </a:lnTo>
                    <a:lnTo>
                      <a:pt x="387" y="217"/>
                    </a:lnTo>
                    <a:lnTo>
                      <a:pt x="385" y="219"/>
                    </a:lnTo>
                    <a:lnTo>
                      <a:pt x="385" y="222"/>
                    </a:lnTo>
                    <a:lnTo>
                      <a:pt x="385" y="224"/>
                    </a:lnTo>
                    <a:lnTo>
                      <a:pt x="383" y="224"/>
                    </a:lnTo>
                    <a:lnTo>
                      <a:pt x="383" y="224"/>
                    </a:lnTo>
                    <a:lnTo>
                      <a:pt x="380" y="224"/>
                    </a:lnTo>
                    <a:lnTo>
                      <a:pt x="380" y="226"/>
                    </a:lnTo>
                    <a:lnTo>
                      <a:pt x="378" y="229"/>
                    </a:lnTo>
                    <a:lnTo>
                      <a:pt x="376" y="231"/>
                    </a:lnTo>
                    <a:lnTo>
                      <a:pt x="376" y="231"/>
                    </a:lnTo>
                    <a:lnTo>
                      <a:pt x="376" y="231"/>
                    </a:lnTo>
                    <a:lnTo>
                      <a:pt x="373" y="231"/>
                    </a:lnTo>
                    <a:lnTo>
                      <a:pt x="373" y="231"/>
                    </a:lnTo>
                    <a:lnTo>
                      <a:pt x="371" y="234"/>
                    </a:lnTo>
                    <a:lnTo>
                      <a:pt x="368" y="234"/>
                    </a:lnTo>
                    <a:lnTo>
                      <a:pt x="368" y="241"/>
                    </a:lnTo>
                    <a:lnTo>
                      <a:pt x="366" y="241"/>
                    </a:lnTo>
                    <a:lnTo>
                      <a:pt x="366" y="245"/>
                    </a:lnTo>
                    <a:lnTo>
                      <a:pt x="366" y="248"/>
                    </a:lnTo>
                    <a:lnTo>
                      <a:pt x="366" y="248"/>
                    </a:lnTo>
                    <a:lnTo>
                      <a:pt x="368" y="255"/>
                    </a:lnTo>
                    <a:lnTo>
                      <a:pt x="368" y="257"/>
                    </a:lnTo>
                    <a:lnTo>
                      <a:pt x="373" y="257"/>
                    </a:lnTo>
                    <a:lnTo>
                      <a:pt x="373" y="257"/>
                    </a:lnTo>
                    <a:lnTo>
                      <a:pt x="373" y="260"/>
                    </a:lnTo>
                    <a:lnTo>
                      <a:pt x="376" y="262"/>
                    </a:lnTo>
                    <a:lnTo>
                      <a:pt x="378" y="262"/>
                    </a:lnTo>
                    <a:lnTo>
                      <a:pt x="378" y="262"/>
                    </a:lnTo>
                    <a:lnTo>
                      <a:pt x="378" y="260"/>
                    </a:lnTo>
                    <a:lnTo>
                      <a:pt x="380" y="260"/>
                    </a:lnTo>
                    <a:lnTo>
                      <a:pt x="380" y="260"/>
                    </a:lnTo>
                    <a:lnTo>
                      <a:pt x="380" y="260"/>
                    </a:lnTo>
                    <a:lnTo>
                      <a:pt x="383" y="260"/>
                    </a:lnTo>
                    <a:lnTo>
                      <a:pt x="383" y="257"/>
                    </a:lnTo>
                    <a:lnTo>
                      <a:pt x="383" y="260"/>
                    </a:lnTo>
                    <a:lnTo>
                      <a:pt x="383" y="257"/>
                    </a:lnTo>
                    <a:lnTo>
                      <a:pt x="383" y="260"/>
                    </a:lnTo>
                    <a:lnTo>
                      <a:pt x="383" y="260"/>
                    </a:lnTo>
                    <a:lnTo>
                      <a:pt x="385" y="260"/>
                    </a:lnTo>
                    <a:lnTo>
                      <a:pt x="383" y="262"/>
                    </a:lnTo>
                    <a:lnTo>
                      <a:pt x="383" y="262"/>
                    </a:lnTo>
                    <a:lnTo>
                      <a:pt x="383" y="262"/>
                    </a:lnTo>
                    <a:lnTo>
                      <a:pt x="383" y="262"/>
                    </a:lnTo>
                    <a:lnTo>
                      <a:pt x="380" y="262"/>
                    </a:lnTo>
                    <a:lnTo>
                      <a:pt x="383" y="264"/>
                    </a:lnTo>
                    <a:lnTo>
                      <a:pt x="380" y="262"/>
                    </a:lnTo>
                    <a:lnTo>
                      <a:pt x="380" y="264"/>
                    </a:lnTo>
                    <a:lnTo>
                      <a:pt x="380" y="264"/>
                    </a:lnTo>
                    <a:lnTo>
                      <a:pt x="378" y="262"/>
                    </a:lnTo>
                    <a:lnTo>
                      <a:pt x="376" y="264"/>
                    </a:lnTo>
                    <a:lnTo>
                      <a:pt x="376" y="264"/>
                    </a:lnTo>
                    <a:lnTo>
                      <a:pt x="376" y="267"/>
                    </a:lnTo>
                    <a:lnTo>
                      <a:pt x="376" y="267"/>
                    </a:lnTo>
                    <a:lnTo>
                      <a:pt x="376" y="269"/>
                    </a:lnTo>
                    <a:lnTo>
                      <a:pt x="373" y="267"/>
                    </a:lnTo>
                    <a:lnTo>
                      <a:pt x="373" y="269"/>
                    </a:lnTo>
                    <a:lnTo>
                      <a:pt x="371" y="269"/>
                    </a:lnTo>
                    <a:lnTo>
                      <a:pt x="368" y="271"/>
                    </a:lnTo>
                    <a:lnTo>
                      <a:pt x="368" y="274"/>
                    </a:lnTo>
                    <a:lnTo>
                      <a:pt x="368" y="274"/>
                    </a:lnTo>
                    <a:lnTo>
                      <a:pt x="368" y="274"/>
                    </a:lnTo>
                    <a:lnTo>
                      <a:pt x="368" y="274"/>
                    </a:lnTo>
                    <a:lnTo>
                      <a:pt x="368" y="276"/>
                    </a:lnTo>
                    <a:lnTo>
                      <a:pt x="368" y="276"/>
                    </a:lnTo>
                    <a:lnTo>
                      <a:pt x="366" y="276"/>
                    </a:lnTo>
                    <a:lnTo>
                      <a:pt x="366" y="278"/>
                    </a:lnTo>
                    <a:lnTo>
                      <a:pt x="366" y="276"/>
                    </a:lnTo>
                    <a:lnTo>
                      <a:pt x="366" y="276"/>
                    </a:lnTo>
                    <a:lnTo>
                      <a:pt x="364" y="278"/>
                    </a:lnTo>
                    <a:lnTo>
                      <a:pt x="364" y="278"/>
                    </a:lnTo>
                    <a:lnTo>
                      <a:pt x="361" y="281"/>
                    </a:lnTo>
                    <a:lnTo>
                      <a:pt x="361" y="283"/>
                    </a:lnTo>
                    <a:lnTo>
                      <a:pt x="364" y="285"/>
                    </a:lnTo>
                    <a:lnTo>
                      <a:pt x="364" y="285"/>
                    </a:lnTo>
                    <a:lnTo>
                      <a:pt x="364" y="285"/>
                    </a:lnTo>
                    <a:lnTo>
                      <a:pt x="364" y="288"/>
                    </a:lnTo>
                    <a:lnTo>
                      <a:pt x="366" y="285"/>
                    </a:lnTo>
                    <a:lnTo>
                      <a:pt x="366" y="285"/>
                    </a:lnTo>
                    <a:lnTo>
                      <a:pt x="366" y="285"/>
                    </a:lnTo>
                    <a:lnTo>
                      <a:pt x="366" y="288"/>
                    </a:lnTo>
                    <a:lnTo>
                      <a:pt x="366" y="288"/>
                    </a:lnTo>
                    <a:lnTo>
                      <a:pt x="366" y="288"/>
                    </a:lnTo>
                    <a:lnTo>
                      <a:pt x="366" y="288"/>
                    </a:lnTo>
                    <a:lnTo>
                      <a:pt x="366" y="288"/>
                    </a:lnTo>
                    <a:lnTo>
                      <a:pt x="364" y="288"/>
                    </a:lnTo>
                    <a:lnTo>
                      <a:pt x="366" y="288"/>
                    </a:lnTo>
                    <a:lnTo>
                      <a:pt x="364" y="288"/>
                    </a:lnTo>
                    <a:lnTo>
                      <a:pt x="364" y="290"/>
                    </a:lnTo>
                    <a:lnTo>
                      <a:pt x="366" y="290"/>
                    </a:lnTo>
                    <a:lnTo>
                      <a:pt x="366" y="290"/>
                    </a:lnTo>
                    <a:lnTo>
                      <a:pt x="366" y="293"/>
                    </a:lnTo>
                    <a:lnTo>
                      <a:pt x="364" y="290"/>
                    </a:lnTo>
                    <a:lnTo>
                      <a:pt x="361" y="290"/>
                    </a:lnTo>
                    <a:lnTo>
                      <a:pt x="364" y="288"/>
                    </a:lnTo>
                    <a:lnTo>
                      <a:pt x="361" y="288"/>
                    </a:lnTo>
                    <a:lnTo>
                      <a:pt x="357" y="285"/>
                    </a:lnTo>
                    <a:lnTo>
                      <a:pt x="331" y="283"/>
                    </a:lnTo>
                    <a:lnTo>
                      <a:pt x="321" y="283"/>
                    </a:lnTo>
                    <a:lnTo>
                      <a:pt x="312" y="283"/>
                    </a:lnTo>
                    <a:lnTo>
                      <a:pt x="307" y="283"/>
                    </a:lnTo>
                    <a:lnTo>
                      <a:pt x="305" y="283"/>
                    </a:lnTo>
                    <a:lnTo>
                      <a:pt x="302" y="283"/>
                    </a:lnTo>
                    <a:lnTo>
                      <a:pt x="293" y="283"/>
                    </a:lnTo>
                    <a:lnTo>
                      <a:pt x="286" y="283"/>
                    </a:lnTo>
                    <a:lnTo>
                      <a:pt x="281" y="283"/>
                    </a:lnTo>
                    <a:lnTo>
                      <a:pt x="281" y="285"/>
                    </a:lnTo>
                    <a:lnTo>
                      <a:pt x="281" y="288"/>
                    </a:lnTo>
                    <a:lnTo>
                      <a:pt x="279" y="288"/>
                    </a:lnTo>
                    <a:lnTo>
                      <a:pt x="279" y="288"/>
                    </a:lnTo>
                    <a:lnTo>
                      <a:pt x="276" y="285"/>
                    </a:lnTo>
                    <a:lnTo>
                      <a:pt x="265" y="288"/>
                    </a:lnTo>
                    <a:lnTo>
                      <a:pt x="255" y="288"/>
                    </a:lnTo>
                    <a:lnTo>
                      <a:pt x="250" y="288"/>
                    </a:lnTo>
                    <a:lnTo>
                      <a:pt x="246" y="288"/>
                    </a:lnTo>
                    <a:lnTo>
                      <a:pt x="241" y="288"/>
                    </a:lnTo>
                    <a:lnTo>
                      <a:pt x="239" y="288"/>
                    </a:lnTo>
                    <a:lnTo>
                      <a:pt x="239" y="288"/>
                    </a:lnTo>
                    <a:lnTo>
                      <a:pt x="236" y="288"/>
                    </a:lnTo>
                    <a:lnTo>
                      <a:pt x="236" y="290"/>
                    </a:lnTo>
                    <a:lnTo>
                      <a:pt x="236" y="288"/>
                    </a:lnTo>
                    <a:lnTo>
                      <a:pt x="234" y="288"/>
                    </a:lnTo>
                    <a:lnTo>
                      <a:pt x="234" y="290"/>
                    </a:lnTo>
                    <a:lnTo>
                      <a:pt x="234" y="288"/>
                    </a:lnTo>
                    <a:lnTo>
                      <a:pt x="234" y="288"/>
                    </a:lnTo>
                    <a:lnTo>
                      <a:pt x="234" y="288"/>
                    </a:lnTo>
                    <a:lnTo>
                      <a:pt x="229" y="285"/>
                    </a:lnTo>
                    <a:lnTo>
                      <a:pt x="227" y="285"/>
                    </a:lnTo>
                    <a:lnTo>
                      <a:pt x="224" y="285"/>
                    </a:lnTo>
                    <a:lnTo>
                      <a:pt x="224" y="283"/>
                    </a:lnTo>
                    <a:lnTo>
                      <a:pt x="222" y="283"/>
                    </a:lnTo>
                    <a:lnTo>
                      <a:pt x="224" y="283"/>
                    </a:lnTo>
                    <a:lnTo>
                      <a:pt x="224" y="281"/>
                    </a:lnTo>
                    <a:lnTo>
                      <a:pt x="224" y="283"/>
                    </a:lnTo>
                    <a:lnTo>
                      <a:pt x="227" y="283"/>
                    </a:lnTo>
                    <a:lnTo>
                      <a:pt x="224" y="283"/>
                    </a:lnTo>
                    <a:lnTo>
                      <a:pt x="227" y="283"/>
                    </a:lnTo>
                    <a:lnTo>
                      <a:pt x="227" y="283"/>
                    </a:lnTo>
                    <a:lnTo>
                      <a:pt x="227" y="283"/>
                    </a:lnTo>
                    <a:lnTo>
                      <a:pt x="227" y="281"/>
                    </a:lnTo>
                    <a:lnTo>
                      <a:pt x="227" y="281"/>
                    </a:lnTo>
                    <a:lnTo>
                      <a:pt x="224" y="281"/>
                    </a:lnTo>
                    <a:lnTo>
                      <a:pt x="224" y="281"/>
                    </a:lnTo>
                    <a:lnTo>
                      <a:pt x="224" y="281"/>
                    </a:lnTo>
                    <a:lnTo>
                      <a:pt x="222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2" y="276"/>
                    </a:lnTo>
                    <a:lnTo>
                      <a:pt x="224" y="276"/>
                    </a:lnTo>
                    <a:lnTo>
                      <a:pt x="224" y="276"/>
                    </a:lnTo>
                    <a:lnTo>
                      <a:pt x="224" y="276"/>
                    </a:lnTo>
                    <a:lnTo>
                      <a:pt x="227" y="274"/>
                    </a:lnTo>
                    <a:lnTo>
                      <a:pt x="227" y="274"/>
                    </a:lnTo>
                    <a:lnTo>
                      <a:pt x="229" y="271"/>
                    </a:lnTo>
                    <a:lnTo>
                      <a:pt x="227" y="271"/>
                    </a:lnTo>
                    <a:lnTo>
                      <a:pt x="227" y="269"/>
                    </a:lnTo>
                    <a:lnTo>
                      <a:pt x="229" y="269"/>
                    </a:lnTo>
                    <a:lnTo>
                      <a:pt x="231" y="267"/>
                    </a:lnTo>
                    <a:lnTo>
                      <a:pt x="229" y="264"/>
                    </a:lnTo>
                    <a:lnTo>
                      <a:pt x="229" y="264"/>
                    </a:lnTo>
                    <a:lnTo>
                      <a:pt x="231" y="262"/>
                    </a:lnTo>
                    <a:lnTo>
                      <a:pt x="231" y="262"/>
                    </a:lnTo>
                    <a:lnTo>
                      <a:pt x="231" y="262"/>
                    </a:lnTo>
                    <a:lnTo>
                      <a:pt x="236" y="260"/>
                    </a:lnTo>
                    <a:lnTo>
                      <a:pt x="236" y="257"/>
                    </a:lnTo>
                    <a:lnTo>
                      <a:pt x="236" y="255"/>
                    </a:lnTo>
                    <a:lnTo>
                      <a:pt x="236" y="255"/>
                    </a:lnTo>
                    <a:lnTo>
                      <a:pt x="236" y="255"/>
                    </a:lnTo>
                    <a:lnTo>
                      <a:pt x="236" y="252"/>
                    </a:lnTo>
                    <a:lnTo>
                      <a:pt x="236" y="252"/>
                    </a:lnTo>
                    <a:lnTo>
                      <a:pt x="236" y="252"/>
                    </a:lnTo>
                    <a:lnTo>
                      <a:pt x="236" y="252"/>
                    </a:lnTo>
                    <a:lnTo>
                      <a:pt x="234" y="252"/>
                    </a:lnTo>
                    <a:lnTo>
                      <a:pt x="234" y="250"/>
                    </a:lnTo>
                    <a:lnTo>
                      <a:pt x="234" y="252"/>
                    </a:lnTo>
                    <a:lnTo>
                      <a:pt x="234" y="250"/>
                    </a:lnTo>
                    <a:lnTo>
                      <a:pt x="231" y="250"/>
                    </a:lnTo>
                    <a:lnTo>
                      <a:pt x="229" y="250"/>
                    </a:lnTo>
                    <a:lnTo>
                      <a:pt x="229" y="250"/>
                    </a:lnTo>
                    <a:lnTo>
                      <a:pt x="227" y="250"/>
                    </a:lnTo>
                    <a:lnTo>
                      <a:pt x="227" y="250"/>
                    </a:lnTo>
                    <a:lnTo>
                      <a:pt x="227" y="252"/>
                    </a:lnTo>
                    <a:lnTo>
                      <a:pt x="227" y="252"/>
                    </a:lnTo>
                    <a:lnTo>
                      <a:pt x="224" y="252"/>
                    </a:lnTo>
                    <a:lnTo>
                      <a:pt x="224" y="252"/>
                    </a:lnTo>
                    <a:lnTo>
                      <a:pt x="224" y="255"/>
                    </a:lnTo>
                    <a:lnTo>
                      <a:pt x="224" y="255"/>
                    </a:lnTo>
                    <a:lnTo>
                      <a:pt x="222" y="255"/>
                    </a:lnTo>
                    <a:lnTo>
                      <a:pt x="220" y="252"/>
                    </a:lnTo>
                    <a:lnTo>
                      <a:pt x="220" y="255"/>
                    </a:lnTo>
                    <a:lnTo>
                      <a:pt x="220" y="255"/>
                    </a:lnTo>
                    <a:lnTo>
                      <a:pt x="217" y="255"/>
                    </a:lnTo>
                    <a:lnTo>
                      <a:pt x="213" y="255"/>
                    </a:lnTo>
                    <a:lnTo>
                      <a:pt x="213" y="257"/>
                    </a:lnTo>
                    <a:lnTo>
                      <a:pt x="213" y="257"/>
                    </a:lnTo>
                    <a:lnTo>
                      <a:pt x="210" y="257"/>
                    </a:lnTo>
                    <a:lnTo>
                      <a:pt x="210" y="257"/>
                    </a:lnTo>
                    <a:lnTo>
                      <a:pt x="210" y="260"/>
                    </a:lnTo>
                    <a:lnTo>
                      <a:pt x="208" y="260"/>
                    </a:lnTo>
                    <a:lnTo>
                      <a:pt x="210" y="260"/>
                    </a:lnTo>
                    <a:lnTo>
                      <a:pt x="208" y="260"/>
                    </a:lnTo>
                    <a:lnTo>
                      <a:pt x="208" y="260"/>
                    </a:lnTo>
                    <a:lnTo>
                      <a:pt x="208" y="260"/>
                    </a:lnTo>
                    <a:lnTo>
                      <a:pt x="206" y="262"/>
                    </a:lnTo>
                    <a:lnTo>
                      <a:pt x="206" y="262"/>
                    </a:lnTo>
                    <a:lnTo>
                      <a:pt x="203" y="264"/>
                    </a:lnTo>
                    <a:lnTo>
                      <a:pt x="206" y="264"/>
                    </a:lnTo>
                    <a:lnTo>
                      <a:pt x="203" y="267"/>
                    </a:lnTo>
                    <a:lnTo>
                      <a:pt x="203" y="267"/>
                    </a:lnTo>
                    <a:lnTo>
                      <a:pt x="203" y="269"/>
                    </a:lnTo>
                    <a:lnTo>
                      <a:pt x="206" y="267"/>
                    </a:lnTo>
                    <a:lnTo>
                      <a:pt x="206" y="269"/>
                    </a:lnTo>
                    <a:lnTo>
                      <a:pt x="206" y="269"/>
                    </a:lnTo>
                    <a:lnTo>
                      <a:pt x="208" y="271"/>
                    </a:lnTo>
                    <a:lnTo>
                      <a:pt x="208" y="271"/>
                    </a:lnTo>
                    <a:lnTo>
                      <a:pt x="210" y="274"/>
                    </a:lnTo>
                    <a:lnTo>
                      <a:pt x="210" y="274"/>
                    </a:lnTo>
                    <a:lnTo>
                      <a:pt x="210" y="271"/>
                    </a:lnTo>
                    <a:lnTo>
                      <a:pt x="208" y="269"/>
                    </a:lnTo>
                    <a:lnTo>
                      <a:pt x="208" y="269"/>
                    </a:lnTo>
                    <a:lnTo>
                      <a:pt x="208" y="269"/>
                    </a:lnTo>
                    <a:lnTo>
                      <a:pt x="206" y="267"/>
                    </a:lnTo>
                    <a:lnTo>
                      <a:pt x="208" y="267"/>
                    </a:lnTo>
                    <a:lnTo>
                      <a:pt x="208" y="267"/>
                    </a:lnTo>
                    <a:lnTo>
                      <a:pt x="208" y="267"/>
                    </a:lnTo>
                    <a:lnTo>
                      <a:pt x="208" y="267"/>
                    </a:lnTo>
                    <a:lnTo>
                      <a:pt x="210" y="264"/>
                    </a:lnTo>
                    <a:lnTo>
                      <a:pt x="210" y="264"/>
                    </a:lnTo>
                    <a:lnTo>
                      <a:pt x="213" y="264"/>
                    </a:lnTo>
                    <a:lnTo>
                      <a:pt x="215" y="264"/>
                    </a:lnTo>
                    <a:lnTo>
                      <a:pt x="215" y="264"/>
                    </a:lnTo>
                    <a:lnTo>
                      <a:pt x="217" y="264"/>
                    </a:lnTo>
                    <a:lnTo>
                      <a:pt x="215" y="264"/>
                    </a:lnTo>
                    <a:lnTo>
                      <a:pt x="217" y="264"/>
                    </a:lnTo>
                    <a:lnTo>
                      <a:pt x="217" y="264"/>
                    </a:lnTo>
                    <a:lnTo>
                      <a:pt x="217" y="262"/>
                    </a:lnTo>
                    <a:lnTo>
                      <a:pt x="217" y="264"/>
                    </a:lnTo>
                    <a:lnTo>
                      <a:pt x="220" y="262"/>
                    </a:lnTo>
                    <a:lnTo>
                      <a:pt x="220" y="262"/>
                    </a:lnTo>
                    <a:lnTo>
                      <a:pt x="220" y="264"/>
                    </a:lnTo>
                    <a:lnTo>
                      <a:pt x="220" y="264"/>
                    </a:lnTo>
                    <a:lnTo>
                      <a:pt x="217" y="267"/>
                    </a:lnTo>
                    <a:lnTo>
                      <a:pt x="217" y="267"/>
                    </a:lnTo>
                    <a:lnTo>
                      <a:pt x="217" y="269"/>
                    </a:lnTo>
                    <a:lnTo>
                      <a:pt x="220" y="269"/>
                    </a:lnTo>
                    <a:lnTo>
                      <a:pt x="217" y="269"/>
                    </a:lnTo>
                    <a:lnTo>
                      <a:pt x="217" y="269"/>
                    </a:lnTo>
                    <a:lnTo>
                      <a:pt x="217" y="271"/>
                    </a:lnTo>
                    <a:lnTo>
                      <a:pt x="215" y="269"/>
                    </a:lnTo>
                    <a:lnTo>
                      <a:pt x="215" y="269"/>
                    </a:lnTo>
                    <a:lnTo>
                      <a:pt x="213" y="269"/>
                    </a:lnTo>
                    <a:lnTo>
                      <a:pt x="210" y="269"/>
                    </a:lnTo>
                    <a:lnTo>
                      <a:pt x="210" y="271"/>
                    </a:lnTo>
                    <a:lnTo>
                      <a:pt x="210" y="271"/>
                    </a:lnTo>
                    <a:lnTo>
                      <a:pt x="210" y="271"/>
                    </a:lnTo>
                    <a:lnTo>
                      <a:pt x="210" y="271"/>
                    </a:lnTo>
                    <a:lnTo>
                      <a:pt x="213" y="271"/>
                    </a:lnTo>
                    <a:lnTo>
                      <a:pt x="210" y="271"/>
                    </a:lnTo>
                    <a:lnTo>
                      <a:pt x="210" y="271"/>
                    </a:lnTo>
                    <a:lnTo>
                      <a:pt x="210" y="271"/>
                    </a:lnTo>
                    <a:lnTo>
                      <a:pt x="210" y="274"/>
                    </a:lnTo>
                    <a:lnTo>
                      <a:pt x="215" y="274"/>
                    </a:lnTo>
                    <a:lnTo>
                      <a:pt x="213" y="274"/>
                    </a:lnTo>
                    <a:lnTo>
                      <a:pt x="213" y="274"/>
                    </a:lnTo>
                    <a:lnTo>
                      <a:pt x="213" y="274"/>
                    </a:lnTo>
                    <a:lnTo>
                      <a:pt x="210" y="274"/>
                    </a:lnTo>
                    <a:lnTo>
                      <a:pt x="210" y="276"/>
                    </a:lnTo>
                    <a:lnTo>
                      <a:pt x="213" y="276"/>
                    </a:lnTo>
                    <a:lnTo>
                      <a:pt x="215" y="274"/>
                    </a:lnTo>
                    <a:lnTo>
                      <a:pt x="215" y="276"/>
                    </a:lnTo>
                    <a:lnTo>
                      <a:pt x="213" y="278"/>
                    </a:lnTo>
                    <a:lnTo>
                      <a:pt x="215" y="278"/>
                    </a:lnTo>
                    <a:lnTo>
                      <a:pt x="215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20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17" y="278"/>
                    </a:lnTo>
                    <a:lnTo>
                      <a:pt x="220" y="278"/>
                    </a:lnTo>
                    <a:lnTo>
                      <a:pt x="220" y="281"/>
                    </a:lnTo>
                    <a:lnTo>
                      <a:pt x="217" y="281"/>
                    </a:lnTo>
                    <a:lnTo>
                      <a:pt x="217" y="281"/>
                    </a:lnTo>
                    <a:lnTo>
                      <a:pt x="217" y="281"/>
                    </a:lnTo>
                    <a:lnTo>
                      <a:pt x="220" y="281"/>
                    </a:lnTo>
                    <a:lnTo>
                      <a:pt x="217" y="283"/>
                    </a:lnTo>
                    <a:lnTo>
                      <a:pt x="220" y="283"/>
                    </a:lnTo>
                    <a:lnTo>
                      <a:pt x="217" y="283"/>
                    </a:lnTo>
                    <a:lnTo>
                      <a:pt x="217" y="283"/>
                    </a:lnTo>
                    <a:lnTo>
                      <a:pt x="217" y="285"/>
                    </a:lnTo>
                    <a:lnTo>
                      <a:pt x="217" y="285"/>
                    </a:lnTo>
                    <a:lnTo>
                      <a:pt x="220" y="283"/>
                    </a:lnTo>
                    <a:lnTo>
                      <a:pt x="220" y="283"/>
                    </a:lnTo>
                    <a:lnTo>
                      <a:pt x="220" y="283"/>
                    </a:lnTo>
                    <a:lnTo>
                      <a:pt x="220" y="285"/>
                    </a:lnTo>
                    <a:lnTo>
                      <a:pt x="220" y="285"/>
                    </a:lnTo>
                    <a:lnTo>
                      <a:pt x="220" y="285"/>
                    </a:lnTo>
                    <a:lnTo>
                      <a:pt x="220" y="288"/>
                    </a:lnTo>
                    <a:lnTo>
                      <a:pt x="220" y="288"/>
                    </a:lnTo>
                    <a:lnTo>
                      <a:pt x="217" y="288"/>
                    </a:lnTo>
                    <a:lnTo>
                      <a:pt x="217" y="290"/>
                    </a:lnTo>
                    <a:lnTo>
                      <a:pt x="217" y="290"/>
                    </a:lnTo>
                    <a:lnTo>
                      <a:pt x="217" y="290"/>
                    </a:lnTo>
                    <a:lnTo>
                      <a:pt x="215" y="290"/>
                    </a:lnTo>
                    <a:lnTo>
                      <a:pt x="213" y="290"/>
                    </a:lnTo>
                    <a:lnTo>
                      <a:pt x="208" y="293"/>
                    </a:lnTo>
                    <a:lnTo>
                      <a:pt x="206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1" y="293"/>
                    </a:lnTo>
                    <a:lnTo>
                      <a:pt x="201" y="293"/>
                    </a:lnTo>
                    <a:lnTo>
                      <a:pt x="198" y="290"/>
                    </a:lnTo>
                    <a:lnTo>
                      <a:pt x="198" y="290"/>
                    </a:lnTo>
                    <a:lnTo>
                      <a:pt x="198" y="290"/>
                    </a:lnTo>
                    <a:lnTo>
                      <a:pt x="196" y="290"/>
                    </a:lnTo>
                    <a:lnTo>
                      <a:pt x="194" y="288"/>
                    </a:lnTo>
                    <a:lnTo>
                      <a:pt x="191" y="288"/>
                    </a:lnTo>
                    <a:lnTo>
                      <a:pt x="191" y="288"/>
                    </a:lnTo>
                    <a:lnTo>
                      <a:pt x="189" y="290"/>
                    </a:lnTo>
                    <a:lnTo>
                      <a:pt x="189" y="288"/>
                    </a:lnTo>
                    <a:lnTo>
                      <a:pt x="189" y="290"/>
                    </a:lnTo>
                    <a:lnTo>
                      <a:pt x="189" y="290"/>
                    </a:lnTo>
                    <a:lnTo>
                      <a:pt x="189" y="290"/>
                    </a:lnTo>
                    <a:lnTo>
                      <a:pt x="187" y="290"/>
                    </a:lnTo>
                    <a:lnTo>
                      <a:pt x="189" y="290"/>
                    </a:lnTo>
                    <a:lnTo>
                      <a:pt x="189" y="290"/>
                    </a:lnTo>
                    <a:lnTo>
                      <a:pt x="191" y="290"/>
                    </a:lnTo>
                    <a:lnTo>
                      <a:pt x="191" y="290"/>
                    </a:lnTo>
                    <a:lnTo>
                      <a:pt x="191" y="290"/>
                    </a:lnTo>
                    <a:lnTo>
                      <a:pt x="191" y="290"/>
                    </a:lnTo>
                    <a:lnTo>
                      <a:pt x="191" y="290"/>
                    </a:lnTo>
                    <a:lnTo>
                      <a:pt x="194" y="290"/>
                    </a:lnTo>
                    <a:lnTo>
                      <a:pt x="196" y="290"/>
                    </a:lnTo>
                    <a:lnTo>
                      <a:pt x="194" y="290"/>
                    </a:lnTo>
                    <a:lnTo>
                      <a:pt x="196" y="290"/>
                    </a:lnTo>
                    <a:lnTo>
                      <a:pt x="196" y="290"/>
                    </a:lnTo>
                    <a:lnTo>
                      <a:pt x="194" y="290"/>
                    </a:lnTo>
                    <a:lnTo>
                      <a:pt x="194" y="290"/>
                    </a:lnTo>
                    <a:lnTo>
                      <a:pt x="198" y="290"/>
                    </a:lnTo>
                    <a:lnTo>
                      <a:pt x="198" y="290"/>
                    </a:lnTo>
                    <a:lnTo>
                      <a:pt x="198" y="293"/>
                    </a:lnTo>
                    <a:lnTo>
                      <a:pt x="201" y="293"/>
                    </a:lnTo>
                    <a:lnTo>
                      <a:pt x="201" y="293"/>
                    </a:lnTo>
                    <a:lnTo>
                      <a:pt x="203" y="293"/>
                    </a:lnTo>
                    <a:lnTo>
                      <a:pt x="201" y="293"/>
                    </a:lnTo>
                    <a:lnTo>
                      <a:pt x="194" y="293"/>
                    </a:lnTo>
                    <a:lnTo>
                      <a:pt x="184" y="295"/>
                    </a:lnTo>
                    <a:lnTo>
                      <a:pt x="182" y="295"/>
                    </a:lnTo>
                    <a:lnTo>
                      <a:pt x="180" y="297"/>
                    </a:lnTo>
                    <a:lnTo>
                      <a:pt x="180" y="297"/>
                    </a:lnTo>
                    <a:lnTo>
                      <a:pt x="180" y="297"/>
                    </a:lnTo>
                    <a:lnTo>
                      <a:pt x="177" y="297"/>
                    </a:lnTo>
                    <a:lnTo>
                      <a:pt x="175" y="297"/>
                    </a:lnTo>
                    <a:lnTo>
                      <a:pt x="175" y="297"/>
                    </a:lnTo>
                    <a:lnTo>
                      <a:pt x="172" y="300"/>
                    </a:lnTo>
                    <a:lnTo>
                      <a:pt x="170" y="300"/>
                    </a:lnTo>
                    <a:lnTo>
                      <a:pt x="170" y="302"/>
                    </a:lnTo>
                    <a:lnTo>
                      <a:pt x="170" y="302"/>
                    </a:lnTo>
                    <a:lnTo>
                      <a:pt x="170" y="302"/>
                    </a:lnTo>
                    <a:lnTo>
                      <a:pt x="168" y="302"/>
                    </a:lnTo>
                    <a:lnTo>
                      <a:pt x="168" y="302"/>
                    </a:lnTo>
                    <a:lnTo>
                      <a:pt x="168" y="302"/>
                    </a:lnTo>
                    <a:lnTo>
                      <a:pt x="168" y="300"/>
                    </a:lnTo>
                    <a:lnTo>
                      <a:pt x="165" y="300"/>
                    </a:lnTo>
                    <a:lnTo>
                      <a:pt x="165" y="300"/>
                    </a:lnTo>
                    <a:lnTo>
                      <a:pt x="156" y="300"/>
                    </a:lnTo>
                    <a:lnTo>
                      <a:pt x="142" y="300"/>
                    </a:lnTo>
                    <a:lnTo>
                      <a:pt x="132" y="302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3" y="304"/>
                    </a:lnTo>
                    <a:lnTo>
                      <a:pt x="113" y="304"/>
                    </a:lnTo>
                    <a:lnTo>
                      <a:pt x="111" y="304"/>
                    </a:lnTo>
                    <a:lnTo>
                      <a:pt x="111" y="302"/>
                    </a:lnTo>
                    <a:lnTo>
                      <a:pt x="111" y="302"/>
                    </a:lnTo>
                    <a:lnTo>
                      <a:pt x="111" y="302"/>
                    </a:lnTo>
                    <a:lnTo>
                      <a:pt x="113" y="302"/>
                    </a:lnTo>
                    <a:lnTo>
                      <a:pt x="113" y="300"/>
                    </a:lnTo>
                    <a:lnTo>
                      <a:pt x="113" y="300"/>
                    </a:lnTo>
                    <a:lnTo>
                      <a:pt x="116" y="300"/>
                    </a:lnTo>
                    <a:lnTo>
                      <a:pt x="116" y="297"/>
                    </a:lnTo>
                    <a:lnTo>
                      <a:pt x="118" y="297"/>
                    </a:lnTo>
                    <a:lnTo>
                      <a:pt x="120" y="297"/>
                    </a:lnTo>
                    <a:lnTo>
                      <a:pt x="120" y="300"/>
                    </a:lnTo>
                    <a:lnTo>
                      <a:pt x="123" y="300"/>
                    </a:lnTo>
                    <a:lnTo>
                      <a:pt x="125" y="300"/>
                    </a:lnTo>
                    <a:lnTo>
                      <a:pt x="128" y="300"/>
                    </a:lnTo>
                    <a:lnTo>
                      <a:pt x="128" y="300"/>
                    </a:lnTo>
                    <a:lnTo>
                      <a:pt x="128" y="297"/>
                    </a:lnTo>
                    <a:lnTo>
                      <a:pt x="128" y="297"/>
                    </a:lnTo>
                    <a:lnTo>
                      <a:pt x="128" y="297"/>
                    </a:lnTo>
                    <a:lnTo>
                      <a:pt x="125" y="295"/>
                    </a:lnTo>
                    <a:lnTo>
                      <a:pt x="125" y="295"/>
                    </a:lnTo>
                    <a:lnTo>
                      <a:pt x="125" y="295"/>
                    </a:lnTo>
                    <a:lnTo>
                      <a:pt x="128" y="297"/>
                    </a:lnTo>
                    <a:lnTo>
                      <a:pt x="130" y="297"/>
                    </a:lnTo>
                    <a:lnTo>
                      <a:pt x="135" y="300"/>
                    </a:lnTo>
                    <a:lnTo>
                      <a:pt x="139" y="300"/>
                    </a:lnTo>
                    <a:lnTo>
                      <a:pt x="151" y="300"/>
                    </a:lnTo>
                    <a:lnTo>
                      <a:pt x="156" y="297"/>
                    </a:lnTo>
                    <a:lnTo>
                      <a:pt x="163" y="297"/>
                    </a:lnTo>
                    <a:lnTo>
                      <a:pt x="163" y="297"/>
                    </a:lnTo>
                    <a:lnTo>
                      <a:pt x="163" y="297"/>
                    </a:lnTo>
                    <a:lnTo>
                      <a:pt x="168" y="300"/>
                    </a:lnTo>
                    <a:lnTo>
                      <a:pt x="168" y="300"/>
                    </a:lnTo>
                    <a:lnTo>
                      <a:pt x="170" y="300"/>
                    </a:lnTo>
                    <a:lnTo>
                      <a:pt x="170" y="297"/>
                    </a:lnTo>
                    <a:lnTo>
                      <a:pt x="168" y="297"/>
                    </a:lnTo>
                    <a:lnTo>
                      <a:pt x="168" y="300"/>
                    </a:lnTo>
                    <a:lnTo>
                      <a:pt x="168" y="297"/>
                    </a:lnTo>
                    <a:lnTo>
                      <a:pt x="165" y="297"/>
                    </a:lnTo>
                    <a:lnTo>
                      <a:pt x="165" y="297"/>
                    </a:lnTo>
                    <a:lnTo>
                      <a:pt x="165" y="297"/>
                    </a:lnTo>
                    <a:lnTo>
                      <a:pt x="163" y="295"/>
                    </a:lnTo>
                    <a:lnTo>
                      <a:pt x="161" y="293"/>
                    </a:lnTo>
                    <a:lnTo>
                      <a:pt x="161" y="293"/>
                    </a:lnTo>
                    <a:lnTo>
                      <a:pt x="158" y="293"/>
                    </a:lnTo>
                    <a:lnTo>
                      <a:pt x="158" y="293"/>
                    </a:lnTo>
                    <a:lnTo>
                      <a:pt x="156" y="293"/>
                    </a:lnTo>
                    <a:lnTo>
                      <a:pt x="156" y="290"/>
                    </a:lnTo>
                    <a:lnTo>
                      <a:pt x="154" y="290"/>
                    </a:lnTo>
                    <a:lnTo>
                      <a:pt x="154" y="290"/>
                    </a:lnTo>
                    <a:lnTo>
                      <a:pt x="154" y="290"/>
                    </a:lnTo>
                    <a:lnTo>
                      <a:pt x="151" y="290"/>
                    </a:lnTo>
                    <a:lnTo>
                      <a:pt x="151" y="290"/>
                    </a:lnTo>
                    <a:lnTo>
                      <a:pt x="149" y="288"/>
                    </a:lnTo>
                    <a:lnTo>
                      <a:pt x="149" y="288"/>
                    </a:lnTo>
                    <a:lnTo>
                      <a:pt x="149" y="288"/>
                    </a:lnTo>
                    <a:lnTo>
                      <a:pt x="146" y="285"/>
                    </a:lnTo>
                    <a:lnTo>
                      <a:pt x="144" y="283"/>
                    </a:lnTo>
                    <a:lnTo>
                      <a:pt x="144" y="283"/>
                    </a:lnTo>
                    <a:lnTo>
                      <a:pt x="142" y="283"/>
                    </a:lnTo>
                    <a:lnTo>
                      <a:pt x="142" y="283"/>
                    </a:lnTo>
                    <a:lnTo>
                      <a:pt x="142" y="281"/>
                    </a:lnTo>
                    <a:lnTo>
                      <a:pt x="142" y="281"/>
                    </a:lnTo>
                    <a:lnTo>
                      <a:pt x="139" y="281"/>
                    </a:lnTo>
                    <a:lnTo>
                      <a:pt x="137" y="281"/>
                    </a:lnTo>
                    <a:lnTo>
                      <a:pt x="137" y="281"/>
                    </a:lnTo>
                    <a:lnTo>
                      <a:pt x="137" y="281"/>
                    </a:lnTo>
                    <a:lnTo>
                      <a:pt x="135" y="281"/>
                    </a:lnTo>
                    <a:lnTo>
                      <a:pt x="137" y="281"/>
                    </a:lnTo>
                    <a:lnTo>
                      <a:pt x="135" y="283"/>
                    </a:lnTo>
                    <a:lnTo>
                      <a:pt x="132" y="283"/>
                    </a:lnTo>
                    <a:lnTo>
                      <a:pt x="132" y="281"/>
                    </a:lnTo>
                    <a:lnTo>
                      <a:pt x="135" y="281"/>
                    </a:lnTo>
                    <a:lnTo>
                      <a:pt x="135" y="281"/>
                    </a:lnTo>
                    <a:lnTo>
                      <a:pt x="135" y="278"/>
                    </a:lnTo>
                    <a:lnTo>
                      <a:pt x="132" y="278"/>
                    </a:lnTo>
                    <a:lnTo>
                      <a:pt x="130" y="281"/>
                    </a:lnTo>
                    <a:lnTo>
                      <a:pt x="128" y="281"/>
                    </a:lnTo>
                    <a:lnTo>
                      <a:pt x="128" y="281"/>
                    </a:lnTo>
                    <a:lnTo>
                      <a:pt x="130" y="283"/>
                    </a:lnTo>
                    <a:lnTo>
                      <a:pt x="128" y="283"/>
                    </a:lnTo>
                    <a:lnTo>
                      <a:pt x="128" y="285"/>
                    </a:lnTo>
                    <a:lnTo>
                      <a:pt x="130" y="285"/>
                    </a:lnTo>
                    <a:lnTo>
                      <a:pt x="128" y="285"/>
                    </a:lnTo>
                    <a:lnTo>
                      <a:pt x="128" y="285"/>
                    </a:lnTo>
                    <a:lnTo>
                      <a:pt x="125" y="288"/>
                    </a:lnTo>
                    <a:lnTo>
                      <a:pt x="125" y="288"/>
                    </a:lnTo>
                    <a:lnTo>
                      <a:pt x="125" y="285"/>
                    </a:lnTo>
                    <a:lnTo>
                      <a:pt x="125" y="285"/>
                    </a:lnTo>
                    <a:lnTo>
                      <a:pt x="125" y="283"/>
                    </a:lnTo>
                    <a:lnTo>
                      <a:pt x="123" y="283"/>
                    </a:lnTo>
                    <a:lnTo>
                      <a:pt x="123" y="285"/>
                    </a:lnTo>
                    <a:lnTo>
                      <a:pt x="123" y="283"/>
                    </a:lnTo>
                    <a:lnTo>
                      <a:pt x="125" y="283"/>
                    </a:lnTo>
                    <a:lnTo>
                      <a:pt x="125" y="283"/>
                    </a:lnTo>
                    <a:lnTo>
                      <a:pt x="125" y="283"/>
                    </a:lnTo>
                    <a:lnTo>
                      <a:pt x="128" y="283"/>
                    </a:lnTo>
                    <a:lnTo>
                      <a:pt x="128" y="283"/>
                    </a:lnTo>
                    <a:lnTo>
                      <a:pt x="128" y="283"/>
                    </a:lnTo>
                    <a:lnTo>
                      <a:pt x="128" y="281"/>
                    </a:lnTo>
                    <a:lnTo>
                      <a:pt x="128" y="281"/>
                    </a:lnTo>
                    <a:lnTo>
                      <a:pt x="125" y="283"/>
                    </a:lnTo>
                    <a:lnTo>
                      <a:pt x="120" y="283"/>
                    </a:lnTo>
                    <a:lnTo>
                      <a:pt x="120" y="283"/>
                    </a:lnTo>
                    <a:lnTo>
                      <a:pt x="118" y="283"/>
                    </a:lnTo>
                    <a:lnTo>
                      <a:pt x="118" y="283"/>
                    </a:lnTo>
                    <a:lnTo>
                      <a:pt x="116" y="283"/>
                    </a:lnTo>
                    <a:lnTo>
                      <a:pt x="116" y="283"/>
                    </a:lnTo>
                    <a:lnTo>
                      <a:pt x="113" y="283"/>
                    </a:lnTo>
                    <a:lnTo>
                      <a:pt x="113" y="283"/>
                    </a:lnTo>
                    <a:lnTo>
                      <a:pt x="111" y="285"/>
                    </a:lnTo>
                    <a:lnTo>
                      <a:pt x="111" y="285"/>
                    </a:lnTo>
                    <a:lnTo>
                      <a:pt x="111" y="288"/>
                    </a:lnTo>
                    <a:lnTo>
                      <a:pt x="109" y="288"/>
                    </a:lnTo>
                    <a:lnTo>
                      <a:pt x="109" y="290"/>
                    </a:lnTo>
                    <a:lnTo>
                      <a:pt x="106" y="290"/>
                    </a:lnTo>
                    <a:lnTo>
                      <a:pt x="106" y="290"/>
                    </a:lnTo>
                    <a:lnTo>
                      <a:pt x="109" y="288"/>
                    </a:lnTo>
                    <a:lnTo>
                      <a:pt x="106" y="285"/>
                    </a:lnTo>
                    <a:lnTo>
                      <a:pt x="109" y="285"/>
                    </a:lnTo>
                    <a:lnTo>
                      <a:pt x="106" y="283"/>
                    </a:lnTo>
                    <a:lnTo>
                      <a:pt x="106" y="285"/>
                    </a:lnTo>
                    <a:lnTo>
                      <a:pt x="104" y="285"/>
                    </a:lnTo>
                    <a:lnTo>
                      <a:pt x="102" y="288"/>
                    </a:lnTo>
                    <a:lnTo>
                      <a:pt x="102" y="288"/>
                    </a:lnTo>
                    <a:lnTo>
                      <a:pt x="104" y="288"/>
                    </a:lnTo>
                    <a:lnTo>
                      <a:pt x="102" y="290"/>
                    </a:lnTo>
                    <a:lnTo>
                      <a:pt x="102" y="290"/>
                    </a:lnTo>
                    <a:lnTo>
                      <a:pt x="102" y="293"/>
                    </a:lnTo>
                    <a:lnTo>
                      <a:pt x="99" y="295"/>
                    </a:lnTo>
                    <a:lnTo>
                      <a:pt x="94" y="297"/>
                    </a:lnTo>
                    <a:lnTo>
                      <a:pt x="94" y="297"/>
                    </a:lnTo>
                    <a:lnTo>
                      <a:pt x="94" y="297"/>
                    </a:lnTo>
                    <a:lnTo>
                      <a:pt x="92" y="297"/>
                    </a:lnTo>
                    <a:lnTo>
                      <a:pt x="92" y="297"/>
                    </a:lnTo>
                    <a:lnTo>
                      <a:pt x="92" y="297"/>
                    </a:lnTo>
                    <a:lnTo>
                      <a:pt x="92" y="297"/>
                    </a:lnTo>
                    <a:lnTo>
                      <a:pt x="92" y="297"/>
                    </a:lnTo>
                    <a:lnTo>
                      <a:pt x="90" y="297"/>
                    </a:lnTo>
                    <a:lnTo>
                      <a:pt x="92" y="297"/>
                    </a:lnTo>
                    <a:lnTo>
                      <a:pt x="92" y="297"/>
                    </a:lnTo>
                    <a:lnTo>
                      <a:pt x="90" y="300"/>
                    </a:lnTo>
                    <a:lnTo>
                      <a:pt x="90" y="297"/>
                    </a:lnTo>
                    <a:lnTo>
                      <a:pt x="90" y="300"/>
                    </a:lnTo>
                    <a:lnTo>
                      <a:pt x="87" y="300"/>
                    </a:lnTo>
                    <a:lnTo>
                      <a:pt x="90" y="297"/>
                    </a:lnTo>
                    <a:lnTo>
                      <a:pt x="87" y="297"/>
                    </a:lnTo>
                    <a:lnTo>
                      <a:pt x="83" y="300"/>
                    </a:lnTo>
                    <a:lnTo>
                      <a:pt x="83" y="300"/>
                    </a:lnTo>
                    <a:lnTo>
                      <a:pt x="83" y="300"/>
                    </a:lnTo>
                    <a:lnTo>
                      <a:pt x="83" y="297"/>
                    </a:lnTo>
                    <a:lnTo>
                      <a:pt x="80" y="300"/>
                    </a:lnTo>
                    <a:lnTo>
                      <a:pt x="80" y="297"/>
                    </a:lnTo>
                    <a:lnTo>
                      <a:pt x="83" y="297"/>
                    </a:lnTo>
                    <a:lnTo>
                      <a:pt x="83" y="295"/>
                    </a:lnTo>
                    <a:lnTo>
                      <a:pt x="85" y="295"/>
                    </a:lnTo>
                    <a:lnTo>
                      <a:pt x="85" y="293"/>
                    </a:lnTo>
                    <a:lnTo>
                      <a:pt x="83" y="293"/>
                    </a:lnTo>
                    <a:lnTo>
                      <a:pt x="83" y="293"/>
                    </a:lnTo>
                    <a:lnTo>
                      <a:pt x="80" y="293"/>
                    </a:lnTo>
                    <a:lnTo>
                      <a:pt x="80" y="290"/>
                    </a:lnTo>
                    <a:lnTo>
                      <a:pt x="80" y="293"/>
                    </a:lnTo>
                    <a:lnTo>
                      <a:pt x="80" y="293"/>
                    </a:lnTo>
                    <a:lnTo>
                      <a:pt x="78" y="293"/>
                    </a:lnTo>
                    <a:lnTo>
                      <a:pt x="78" y="293"/>
                    </a:lnTo>
                    <a:lnTo>
                      <a:pt x="78" y="295"/>
                    </a:lnTo>
                    <a:lnTo>
                      <a:pt x="78" y="293"/>
                    </a:lnTo>
                    <a:lnTo>
                      <a:pt x="76" y="295"/>
                    </a:lnTo>
                    <a:lnTo>
                      <a:pt x="76" y="295"/>
                    </a:lnTo>
                    <a:lnTo>
                      <a:pt x="76" y="295"/>
                    </a:lnTo>
                    <a:lnTo>
                      <a:pt x="73" y="295"/>
                    </a:lnTo>
                    <a:lnTo>
                      <a:pt x="76" y="293"/>
                    </a:lnTo>
                    <a:lnTo>
                      <a:pt x="73" y="293"/>
                    </a:lnTo>
                    <a:lnTo>
                      <a:pt x="73" y="293"/>
                    </a:lnTo>
                    <a:lnTo>
                      <a:pt x="73" y="293"/>
                    </a:lnTo>
                    <a:lnTo>
                      <a:pt x="73" y="293"/>
                    </a:lnTo>
                    <a:lnTo>
                      <a:pt x="73" y="293"/>
                    </a:lnTo>
                    <a:lnTo>
                      <a:pt x="71" y="293"/>
                    </a:lnTo>
                    <a:lnTo>
                      <a:pt x="71" y="295"/>
                    </a:lnTo>
                    <a:lnTo>
                      <a:pt x="71" y="295"/>
                    </a:lnTo>
                    <a:lnTo>
                      <a:pt x="71" y="295"/>
                    </a:lnTo>
                    <a:lnTo>
                      <a:pt x="71" y="295"/>
                    </a:lnTo>
                    <a:lnTo>
                      <a:pt x="68" y="297"/>
                    </a:lnTo>
                    <a:lnTo>
                      <a:pt x="68" y="295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8" y="293"/>
                    </a:lnTo>
                    <a:lnTo>
                      <a:pt x="68" y="290"/>
                    </a:lnTo>
                    <a:lnTo>
                      <a:pt x="71" y="290"/>
                    </a:lnTo>
                    <a:lnTo>
                      <a:pt x="71" y="290"/>
                    </a:lnTo>
                    <a:lnTo>
                      <a:pt x="73" y="290"/>
                    </a:lnTo>
                    <a:lnTo>
                      <a:pt x="73" y="290"/>
                    </a:lnTo>
                    <a:lnTo>
                      <a:pt x="73" y="288"/>
                    </a:lnTo>
                    <a:lnTo>
                      <a:pt x="73" y="288"/>
                    </a:lnTo>
                    <a:lnTo>
                      <a:pt x="76" y="288"/>
                    </a:lnTo>
                    <a:lnTo>
                      <a:pt x="76" y="285"/>
                    </a:lnTo>
                    <a:lnTo>
                      <a:pt x="73" y="288"/>
                    </a:lnTo>
                    <a:lnTo>
                      <a:pt x="73" y="285"/>
                    </a:lnTo>
                    <a:lnTo>
                      <a:pt x="71" y="288"/>
                    </a:lnTo>
                    <a:lnTo>
                      <a:pt x="71" y="288"/>
                    </a:lnTo>
                    <a:lnTo>
                      <a:pt x="71" y="288"/>
                    </a:lnTo>
                    <a:lnTo>
                      <a:pt x="71" y="285"/>
                    </a:lnTo>
                    <a:lnTo>
                      <a:pt x="71" y="285"/>
                    </a:lnTo>
                    <a:lnTo>
                      <a:pt x="71" y="285"/>
                    </a:lnTo>
                    <a:lnTo>
                      <a:pt x="71" y="285"/>
                    </a:lnTo>
                    <a:lnTo>
                      <a:pt x="71" y="283"/>
                    </a:lnTo>
                    <a:lnTo>
                      <a:pt x="73" y="283"/>
                    </a:lnTo>
                    <a:lnTo>
                      <a:pt x="71" y="283"/>
                    </a:lnTo>
                    <a:lnTo>
                      <a:pt x="71" y="283"/>
                    </a:lnTo>
                    <a:lnTo>
                      <a:pt x="71" y="281"/>
                    </a:lnTo>
                    <a:lnTo>
                      <a:pt x="71" y="283"/>
                    </a:lnTo>
                    <a:lnTo>
                      <a:pt x="71" y="281"/>
                    </a:lnTo>
                    <a:lnTo>
                      <a:pt x="68" y="281"/>
                    </a:lnTo>
                    <a:lnTo>
                      <a:pt x="68" y="283"/>
                    </a:lnTo>
                    <a:lnTo>
                      <a:pt x="68" y="281"/>
                    </a:lnTo>
                    <a:lnTo>
                      <a:pt x="66" y="281"/>
                    </a:lnTo>
                    <a:lnTo>
                      <a:pt x="68" y="283"/>
                    </a:lnTo>
                    <a:lnTo>
                      <a:pt x="66" y="283"/>
                    </a:lnTo>
                    <a:lnTo>
                      <a:pt x="68" y="283"/>
                    </a:lnTo>
                    <a:lnTo>
                      <a:pt x="66" y="283"/>
                    </a:lnTo>
                    <a:lnTo>
                      <a:pt x="66" y="285"/>
                    </a:lnTo>
                    <a:lnTo>
                      <a:pt x="66" y="283"/>
                    </a:lnTo>
                    <a:lnTo>
                      <a:pt x="68" y="285"/>
                    </a:lnTo>
                    <a:lnTo>
                      <a:pt x="68" y="285"/>
                    </a:lnTo>
                    <a:lnTo>
                      <a:pt x="66" y="288"/>
                    </a:lnTo>
                    <a:lnTo>
                      <a:pt x="66" y="288"/>
                    </a:lnTo>
                    <a:lnTo>
                      <a:pt x="66" y="288"/>
                    </a:lnTo>
                    <a:lnTo>
                      <a:pt x="64" y="288"/>
                    </a:lnTo>
                    <a:lnTo>
                      <a:pt x="64" y="288"/>
                    </a:lnTo>
                    <a:lnTo>
                      <a:pt x="64" y="288"/>
                    </a:lnTo>
                    <a:lnTo>
                      <a:pt x="64" y="288"/>
                    </a:lnTo>
                    <a:lnTo>
                      <a:pt x="64" y="285"/>
                    </a:lnTo>
                    <a:lnTo>
                      <a:pt x="61" y="285"/>
                    </a:lnTo>
                    <a:lnTo>
                      <a:pt x="61" y="283"/>
                    </a:lnTo>
                    <a:lnTo>
                      <a:pt x="61" y="285"/>
                    </a:lnTo>
                    <a:lnTo>
                      <a:pt x="59" y="285"/>
                    </a:lnTo>
                    <a:lnTo>
                      <a:pt x="59" y="288"/>
                    </a:lnTo>
                    <a:lnTo>
                      <a:pt x="59" y="285"/>
                    </a:lnTo>
                    <a:lnTo>
                      <a:pt x="59" y="288"/>
                    </a:lnTo>
                    <a:lnTo>
                      <a:pt x="59" y="288"/>
                    </a:lnTo>
                    <a:lnTo>
                      <a:pt x="59" y="288"/>
                    </a:lnTo>
                    <a:lnTo>
                      <a:pt x="59" y="290"/>
                    </a:lnTo>
                    <a:lnTo>
                      <a:pt x="59" y="290"/>
                    </a:lnTo>
                    <a:lnTo>
                      <a:pt x="59" y="290"/>
                    </a:lnTo>
                    <a:lnTo>
                      <a:pt x="57" y="290"/>
                    </a:lnTo>
                    <a:lnTo>
                      <a:pt x="59" y="290"/>
                    </a:lnTo>
                    <a:lnTo>
                      <a:pt x="59" y="293"/>
                    </a:lnTo>
                    <a:lnTo>
                      <a:pt x="57" y="293"/>
                    </a:lnTo>
                    <a:lnTo>
                      <a:pt x="57" y="293"/>
                    </a:lnTo>
                    <a:lnTo>
                      <a:pt x="57" y="295"/>
                    </a:lnTo>
                    <a:lnTo>
                      <a:pt x="59" y="295"/>
                    </a:lnTo>
                    <a:lnTo>
                      <a:pt x="57" y="295"/>
                    </a:lnTo>
                    <a:lnTo>
                      <a:pt x="54" y="293"/>
                    </a:lnTo>
                    <a:lnTo>
                      <a:pt x="54" y="295"/>
                    </a:lnTo>
                    <a:lnTo>
                      <a:pt x="54" y="293"/>
                    </a:lnTo>
                    <a:lnTo>
                      <a:pt x="54" y="293"/>
                    </a:lnTo>
                    <a:lnTo>
                      <a:pt x="54" y="293"/>
                    </a:lnTo>
                    <a:lnTo>
                      <a:pt x="54" y="293"/>
                    </a:lnTo>
                    <a:lnTo>
                      <a:pt x="52" y="293"/>
                    </a:lnTo>
                    <a:lnTo>
                      <a:pt x="52" y="293"/>
                    </a:lnTo>
                    <a:lnTo>
                      <a:pt x="52" y="295"/>
                    </a:lnTo>
                    <a:lnTo>
                      <a:pt x="50" y="297"/>
                    </a:lnTo>
                    <a:lnTo>
                      <a:pt x="50" y="295"/>
                    </a:lnTo>
                    <a:lnTo>
                      <a:pt x="47" y="295"/>
                    </a:lnTo>
                    <a:lnTo>
                      <a:pt x="45" y="295"/>
                    </a:lnTo>
                    <a:lnTo>
                      <a:pt x="43" y="297"/>
                    </a:lnTo>
                    <a:lnTo>
                      <a:pt x="43" y="297"/>
                    </a:lnTo>
                    <a:lnTo>
                      <a:pt x="40" y="297"/>
                    </a:lnTo>
                    <a:lnTo>
                      <a:pt x="40" y="297"/>
                    </a:lnTo>
                    <a:lnTo>
                      <a:pt x="40" y="300"/>
                    </a:lnTo>
                    <a:lnTo>
                      <a:pt x="38" y="300"/>
                    </a:lnTo>
                    <a:lnTo>
                      <a:pt x="38" y="300"/>
                    </a:lnTo>
                    <a:lnTo>
                      <a:pt x="38" y="300"/>
                    </a:lnTo>
                    <a:lnTo>
                      <a:pt x="38" y="297"/>
                    </a:lnTo>
                    <a:lnTo>
                      <a:pt x="38" y="297"/>
                    </a:lnTo>
                    <a:lnTo>
                      <a:pt x="35" y="300"/>
                    </a:lnTo>
                    <a:lnTo>
                      <a:pt x="35" y="297"/>
                    </a:lnTo>
                    <a:lnTo>
                      <a:pt x="35" y="300"/>
                    </a:lnTo>
                    <a:lnTo>
                      <a:pt x="35" y="297"/>
                    </a:lnTo>
                    <a:lnTo>
                      <a:pt x="35" y="297"/>
                    </a:lnTo>
                    <a:lnTo>
                      <a:pt x="33" y="300"/>
                    </a:lnTo>
                    <a:lnTo>
                      <a:pt x="33" y="297"/>
                    </a:lnTo>
                    <a:lnTo>
                      <a:pt x="31" y="297"/>
                    </a:lnTo>
                    <a:lnTo>
                      <a:pt x="31" y="300"/>
                    </a:lnTo>
                    <a:lnTo>
                      <a:pt x="28" y="300"/>
                    </a:lnTo>
                    <a:lnTo>
                      <a:pt x="28" y="300"/>
                    </a:lnTo>
                    <a:lnTo>
                      <a:pt x="28" y="300"/>
                    </a:lnTo>
                    <a:lnTo>
                      <a:pt x="26" y="300"/>
                    </a:lnTo>
                    <a:lnTo>
                      <a:pt x="26" y="302"/>
                    </a:lnTo>
                    <a:lnTo>
                      <a:pt x="26" y="302"/>
                    </a:lnTo>
                    <a:lnTo>
                      <a:pt x="26" y="302"/>
                    </a:lnTo>
                    <a:lnTo>
                      <a:pt x="26" y="304"/>
                    </a:lnTo>
                    <a:lnTo>
                      <a:pt x="26" y="304"/>
                    </a:lnTo>
                    <a:lnTo>
                      <a:pt x="26" y="304"/>
                    </a:lnTo>
                    <a:lnTo>
                      <a:pt x="24" y="304"/>
                    </a:lnTo>
                    <a:lnTo>
                      <a:pt x="24" y="307"/>
                    </a:lnTo>
                    <a:lnTo>
                      <a:pt x="26" y="309"/>
                    </a:lnTo>
                    <a:lnTo>
                      <a:pt x="26" y="309"/>
                    </a:lnTo>
                    <a:lnTo>
                      <a:pt x="26" y="309"/>
                    </a:lnTo>
                    <a:lnTo>
                      <a:pt x="26" y="309"/>
                    </a:lnTo>
                    <a:lnTo>
                      <a:pt x="24" y="309"/>
                    </a:lnTo>
                    <a:lnTo>
                      <a:pt x="24" y="309"/>
                    </a:lnTo>
                    <a:lnTo>
                      <a:pt x="24" y="311"/>
                    </a:lnTo>
                    <a:lnTo>
                      <a:pt x="26" y="311"/>
                    </a:lnTo>
                    <a:lnTo>
                      <a:pt x="24" y="314"/>
                    </a:lnTo>
                    <a:lnTo>
                      <a:pt x="24" y="314"/>
                    </a:lnTo>
                    <a:lnTo>
                      <a:pt x="24" y="314"/>
                    </a:lnTo>
                    <a:lnTo>
                      <a:pt x="24" y="314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1" y="316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1" y="316"/>
                    </a:lnTo>
                    <a:lnTo>
                      <a:pt x="21" y="319"/>
                    </a:lnTo>
                    <a:lnTo>
                      <a:pt x="24" y="319"/>
                    </a:lnTo>
                    <a:lnTo>
                      <a:pt x="24" y="321"/>
                    </a:lnTo>
                    <a:lnTo>
                      <a:pt x="24" y="321"/>
                    </a:lnTo>
                    <a:lnTo>
                      <a:pt x="24" y="321"/>
                    </a:lnTo>
                    <a:lnTo>
                      <a:pt x="24" y="323"/>
                    </a:lnTo>
                    <a:lnTo>
                      <a:pt x="24" y="323"/>
                    </a:lnTo>
                    <a:lnTo>
                      <a:pt x="24" y="323"/>
                    </a:lnTo>
                    <a:lnTo>
                      <a:pt x="26" y="323"/>
                    </a:lnTo>
                    <a:lnTo>
                      <a:pt x="26" y="321"/>
                    </a:lnTo>
                    <a:lnTo>
                      <a:pt x="26" y="321"/>
                    </a:lnTo>
                    <a:lnTo>
                      <a:pt x="26" y="321"/>
                    </a:lnTo>
                    <a:lnTo>
                      <a:pt x="28" y="321"/>
                    </a:lnTo>
                    <a:lnTo>
                      <a:pt x="26" y="319"/>
                    </a:lnTo>
                    <a:lnTo>
                      <a:pt x="28" y="319"/>
                    </a:lnTo>
                    <a:lnTo>
                      <a:pt x="28" y="319"/>
                    </a:lnTo>
                    <a:lnTo>
                      <a:pt x="28" y="319"/>
                    </a:lnTo>
                    <a:lnTo>
                      <a:pt x="28" y="319"/>
                    </a:lnTo>
                    <a:lnTo>
                      <a:pt x="28" y="319"/>
                    </a:lnTo>
                    <a:lnTo>
                      <a:pt x="31" y="316"/>
                    </a:lnTo>
                    <a:lnTo>
                      <a:pt x="31" y="316"/>
                    </a:lnTo>
                    <a:lnTo>
                      <a:pt x="31" y="319"/>
                    </a:lnTo>
                    <a:lnTo>
                      <a:pt x="33" y="319"/>
                    </a:lnTo>
                    <a:lnTo>
                      <a:pt x="33" y="319"/>
                    </a:lnTo>
                    <a:lnTo>
                      <a:pt x="35" y="319"/>
                    </a:lnTo>
                    <a:lnTo>
                      <a:pt x="33" y="319"/>
                    </a:lnTo>
                    <a:lnTo>
                      <a:pt x="33" y="321"/>
                    </a:lnTo>
                    <a:lnTo>
                      <a:pt x="33" y="321"/>
                    </a:lnTo>
                    <a:lnTo>
                      <a:pt x="33" y="321"/>
                    </a:lnTo>
                    <a:lnTo>
                      <a:pt x="33" y="323"/>
                    </a:lnTo>
                    <a:lnTo>
                      <a:pt x="31" y="323"/>
                    </a:lnTo>
                    <a:lnTo>
                      <a:pt x="31" y="323"/>
                    </a:lnTo>
                    <a:lnTo>
                      <a:pt x="31" y="323"/>
                    </a:lnTo>
                    <a:lnTo>
                      <a:pt x="31" y="321"/>
                    </a:lnTo>
                    <a:lnTo>
                      <a:pt x="33" y="323"/>
                    </a:lnTo>
                    <a:lnTo>
                      <a:pt x="33" y="321"/>
                    </a:lnTo>
                    <a:lnTo>
                      <a:pt x="33" y="321"/>
                    </a:lnTo>
                    <a:lnTo>
                      <a:pt x="33" y="321"/>
                    </a:lnTo>
                    <a:lnTo>
                      <a:pt x="33" y="321"/>
                    </a:lnTo>
                    <a:lnTo>
                      <a:pt x="33" y="319"/>
                    </a:lnTo>
                    <a:lnTo>
                      <a:pt x="31" y="321"/>
                    </a:lnTo>
                    <a:lnTo>
                      <a:pt x="31" y="321"/>
                    </a:lnTo>
                    <a:lnTo>
                      <a:pt x="28" y="319"/>
                    </a:lnTo>
                    <a:lnTo>
                      <a:pt x="28" y="321"/>
                    </a:lnTo>
                    <a:lnTo>
                      <a:pt x="28" y="323"/>
                    </a:lnTo>
                    <a:lnTo>
                      <a:pt x="28" y="321"/>
                    </a:lnTo>
                    <a:lnTo>
                      <a:pt x="31" y="321"/>
                    </a:lnTo>
                    <a:lnTo>
                      <a:pt x="28" y="323"/>
                    </a:lnTo>
                    <a:lnTo>
                      <a:pt x="28" y="323"/>
                    </a:lnTo>
                    <a:lnTo>
                      <a:pt x="26" y="323"/>
                    </a:lnTo>
                    <a:lnTo>
                      <a:pt x="26" y="323"/>
                    </a:lnTo>
                    <a:lnTo>
                      <a:pt x="26" y="323"/>
                    </a:lnTo>
                    <a:lnTo>
                      <a:pt x="26" y="323"/>
                    </a:lnTo>
                    <a:lnTo>
                      <a:pt x="26" y="326"/>
                    </a:lnTo>
                    <a:lnTo>
                      <a:pt x="26" y="326"/>
                    </a:lnTo>
                    <a:lnTo>
                      <a:pt x="28" y="323"/>
                    </a:lnTo>
                    <a:lnTo>
                      <a:pt x="28" y="326"/>
                    </a:lnTo>
                    <a:lnTo>
                      <a:pt x="28" y="326"/>
                    </a:lnTo>
                    <a:lnTo>
                      <a:pt x="28" y="323"/>
                    </a:lnTo>
                    <a:lnTo>
                      <a:pt x="31" y="323"/>
                    </a:lnTo>
                    <a:lnTo>
                      <a:pt x="33" y="323"/>
                    </a:lnTo>
                    <a:lnTo>
                      <a:pt x="33" y="323"/>
                    </a:lnTo>
                    <a:lnTo>
                      <a:pt x="35" y="323"/>
                    </a:lnTo>
                    <a:lnTo>
                      <a:pt x="33" y="323"/>
                    </a:lnTo>
                    <a:lnTo>
                      <a:pt x="33" y="328"/>
                    </a:lnTo>
                    <a:lnTo>
                      <a:pt x="28" y="330"/>
                    </a:lnTo>
                    <a:lnTo>
                      <a:pt x="28" y="330"/>
                    </a:lnTo>
                    <a:lnTo>
                      <a:pt x="33" y="333"/>
                    </a:lnTo>
                    <a:lnTo>
                      <a:pt x="31" y="330"/>
                    </a:lnTo>
                    <a:lnTo>
                      <a:pt x="31" y="330"/>
                    </a:lnTo>
                    <a:lnTo>
                      <a:pt x="33" y="330"/>
                    </a:lnTo>
                    <a:lnTo>
                      <a:pt x="33" y="328"/>
                    </a:lnTo>
                    <a:lnTo>
                      <a:pt x="35" y="326"/>
                    </a:lnTo>
                    <a:lnTo>
                      <a:pt x="38" y="323"/>
                    </a:lnTo>
                    <a:lnTo>
                      <a:pt x="38" y="323"/>
                    </a:lnTo>
                    <a:lnTo>
                      <a:pt x="40" y="323"/>
                    </a:lnTo>
                    <a:lnTo>
                      <a:pt x="43" y="321"/>
                    </a:lnTo>
                    <a:lnTo>
                      <a:pt x="43" y="321"/>
                    </a:lnTo>
                    <a:lnTo>
                      <a:pt x="43" y="321"/>
                    </a:lnTo>
                    <a:lnTo>
                      <a:pt x="43" y="323"/>
                    </a:lnTo>
                    <a:lnTo>
                      <a:pt x="40" y="323"/>
                    </a:lnTo>
                    <a:lnTo>
                      <a:pt x="40" y="326"/>
                    </a:lnTo>
                    <a:lnTo>
                      <a:pt x="38" y="326"/>
                    </a:lnTo>
                    <a:lnTo>
                      <a:pt x="40" y="328"/>
                    </a:lnTo>
                    <a:lnTo>
                      <a:pt x="43" y="328"/>
                    </a:lnTo>
                    <a:lnTo>
                      <a:pt x="43" y="328"/>
                    </a:lnTo>
                    <a:lnTo>
                      <a:pt x="43" y="328"/>
                    </a:lnTo>
                    <a:lnTo>
                      <a:pt x="45" y="328"/>
                    </a:lnTo>
                    <a:lnTo>
                      <a:pt x="47" y="328"/>
                    </a:lnTo>
                    <a:lnTo>
                      <a:pt x="47" y="328"/>
                    </a:lnTo>
                    <a:lnTo>
                      <a:pt x="47" y="328"/>
                    </a:lnTo>
                    <a:lnTo>
                      <a:pt x="50" y="330"/>
                    </a:lnTo>
                    <a:lnTo>
                      <a:pt x="50" y="330"/>
                    </a:lnTo>
                    <a:lnTo>
                      <a:pt x="50" y="330"/>
                    </a:lnTo>
                    <a:lnTo>
                      <a:pt x="50" y="333"/>
                    </a:lnTo>
                    <a:lnTo>
                      <a:pt x="47" y="330"/>
                    </a:lnTo>
                    <a:lnTo>
                      <a:pt x="45" y="330"/>
                    </a:lnTo>
                    <a:lnTo>
                      <a:pt x="45" y="330"/>
                    </a:lnTo>
                    <a:lnTo>
                      <a:pt x="45" y="333"/>
                    </a:lnTo>
                    <a:lnTo>
                      <a:pt x="43" y="333"/>
                    </a:lnTo>
                    <a:lnTo>
                      <a:pt x="43" y="333"/>
                    </a:lnTo>
                    <a:lnTo>
                      <a:pt x="43" y="335"/>
                    </a:lnTo>
                    <a:lnTo>
                      <a:pt x="43" y="335"/>
                    </a:lnTo>
                    <a:lnTo>
                      <a:pt x="38" y="337"/>
                    </a:lnTo>
                    <a:lnTo>
                      <a:pt x="38" y="340"/>
                    </a:lnTo>
                    <a:lnTo>
                      <a:pt x="38" y="340"/>
                    </a:lnTo>
                    <a:lnTo>
                      <a:pt x="35" y="340"/>
                    </a:lnTo>
                    <a:lnTo>
                      <a:pt x="35" y="337"/>
                    </a:lnTo>
                    <a:lnTo>
                      <a:pt x="35" y="337"/>
                    </a:lnTo>
                    <a:lnTo>
                      <a:pt x="35" y="337"/>
                    </a:lnTo>
                    <a:lnTo>
                      <a:pt x="35" y="337"/>
                    </a:lnTo>
                    <a:lnTo>
                      <a:pt x="33" y="337"/>
                    </a:lnTo>
                    <a:lnTo>
                      <a:pt x="33" y="337"/>
                    </a:lnTo>
                    <a:lnTo>
                      <a:pt x="33" y="337"/>
                    </a:lnTo>
                    <a:lnTo>
                      <a:pt x="33" y="335"/>
                    </a:lnTo>
                    <a:lnTo>
                      <a:pt x="33" y="335"/>
                    </a:lnTo>
                    <a:lnTo>
                      <a:pt x="31" y="335"/>
                    </a:lnTo>
                    <a:lnTo>
                      <a:pt x="31" y="337"/>
                    </a:lnTo>
                    <a:lnTo>
                      <a:pt x="28" y="337"/>
                    </a:lnTo>
                    <a:lnTo>
                      <a:pt x="28" y="337"/>
                    </a:lnTo>
                    <a:lnTo>
                      <a:pt x="28" y="337"/>
                    </a:lnTo>
                    <a:lnTo>
                      <a:pt x="26" y="335"/>
                    </a:lnTo>
                    <a:lnTo>
                      <a:pt x="26" y="337"/>
                    </a:lnTo>
                    <a:lnTo>
                      <a:pt x="26" y="337"/>
                    </a:lnTo>
                    <a:lnTo>
                      <a:pt x="26" y="337"/>
                    </a:lnTo>
                    <a:lnTo>
                      <a:pt x="24" y="337"/>
                    </a:lnTo>
                    <a:lnTo>
                      <a:pt x="21" y="337"/>
                    </a:lnTo>
                    <a:lnTo>
                      <a:pt x="21" y="337"/>
                    </a:lnTo>
                    <a:lnTo>
                      <a:pt x="21" y="340"/>
                    </a:lnTo>
                    <a:lnTo>
                      <a:pt x="21" y="337"/>
                    </a:lnTo>
                    <a:lnTo>
                      <a:pt x="21" y="337"/>
                    </a:lnTo>
                    <a:lnTo>
                      <a:pt x="19" y="340"/>
                    </a:lnTo>
                    <a:lnTo>
                      <a:pt x="21" y="340"/>
                    </a:lnTo>
                    <a:lnTo>
                      <a:pt x="19" y="340"/>
                    </a:lnTo>
                    <a:lnTo>
                      <a:pt x="19" y="337"/>
                    </a:lnTo>
                    <a:lnTo>
                      <a:pt x="19" y="337"/>
                    </a:lnTo>
                    <a:lnTo>
                      <a:pt x="17" y="337"/>
                    </a:lnTo>
                    <a:lnTo>
                      <a:pt x="14" y="335"/>
                    </a:lnTo>
                    <a:lnTo>
                      <a:pt x="14" y="335"/>
                    </a:lnTo>
                    <a:lnTo>
                      <a:pt x="14" y="335"/>
                    </a:lnTo>
                    <a:lnTo>
                      <a:pt x="14" y="333"/>
                    </a:lnTo>
                    <a:lnTo>
                      <a:pt x="14" y="333"/>
                    </a:lnTo>
                    <a:lnTo>
                      <a:pt x="14" y="330"/>
                    </a:lnTo>
                    <a:lnTo>
                      <a:pt x="9" y="330"/>
                    </a:lnTo>
                    <a:lnTo>
                      <a:pt x="9" y="328"/>
                    </a:lnTo>
                    <a:lnTo>
                      <a:pt x="7" y="330"/>
                    </a:lnTo>
                    <a:lnTo>
                      <a:pt x="9" y="328"/>
                    </a:lnTo>
                    <a:lnTo>
                      <a:pt x="7" y="328"/>
                    </a:lnTo>
                    <a:lnTo>
                      <a:pt x="7" y="328"/>
                    </a:lnTo>
                    <a:lnTo>
                      <a:pt x="7" y="326"/>
                    </a:lnTo>
                    <a:lnTo>
                      <a:pt x="7" y="326"/>
                    </a:lnTo>
                    <a:lnTo>
                      <a:pt x="5" y="326"/>
                    </a:lnTo>
                    <a:lnTo>
                      <a:pt x="2" y="326"/>
                    </a:lnTo>
                    <a:lnTo>
                      <a:pt x="2" y="323"/>
                    </a:lnTo>
                    <a:lnTo>
                      <a:pt x="0" y="323"/>
                    </a:lnTo>
                    <a:lnTo>
                      <a:pt x="0" y="321"/>
                    </a:lnTo>
                    <a:lnTo>
                      <a:pt x="0" y="321"/>
                    </a:lnTo>
                    <a:lnTo>
                      <a:pt x="0" y="319"/>
                    </a:lnTo>
                    <a:close/>
                    <a:moveTo>
                      <a:pt x="406" y="215"/>
                    </a:moveTo>
                    <a:lnTo>
                      <a:pt x="406" y="212"/>
                    </a:lnTo>
                    <a:lnTo>
                      <a:pt x="406" y="212"/>
                    </a:lnTo>
                    <a:lnTo>
                      <a:pt x="406" y="215"/>
                    </a:lnTo>
                    <a:lnTo>
                      <a:pt x="406" y="215"/>
                    </a:lnTo>
                    <a:close/>
                    <a:moveTo>
                      <a:pt x="404" y="215"/>
                    </a:moveTo>
                    <a:lnTo>
                      <a:pt x="404" y="215"/>
                    </a:lnTo>
                    <a:lnTo>
                      <a:pt x="406" y="215"/>
                    </a:lnTo>
                    <a:lnTo>
                      <a:pt x="404" y="215"/>
                    </a:lnTo>
                    <a:lnTo>
                      <a:pt x="406" y="215"/>
                    </a:lnTo>
                    <a:lnTo>
                      <a:pt x="404" y="215"/>
                    </a:lnTo>
                    <a:lnTo>
                      <a:pt x="404" y="215"/>
                    </a:lnTo>
                    <a:close/>
                    <a:moveTo>
                      <a:pt x="215" y="297"/>
                    </a:moveTo>
                    <a:lnTo>
                      <a:pt x="215" y="295"/>
                    </a:lnTo>
                    <a:lnTo>
                      <a:pt x="215" y="297"/>
                    </a:lnTo>
                    <a:close/>
                    <a:moveTo>
                      <a:pt x="175" y="300"/>
                    </a:moveTo>
                    <a:lnTo>
                      <a:pt x="175" y="300"/>
                    </a:lnTo>
                    <a:lnTo>
                      <a:pt x="175" y="300"/>
                    </a:lnTo>
                    <a:close/>
                    <a:moveTo>
                      <a:pt x="99" y="295"/>
                    </a:moveTo>
                    <a:lnTo>
                      <a:pt x="99" y="295"/>
                    </a:lnTo>
                    <a:lnTo>
                      <a:pt x="99" y="295"/>
                    </a:lnTo>
                    <a:close/>
                    <a:moveTo>
                      <a:pt x="26" y="307"/>
                    </a:moveTo>
                    <a:lnTo>
                      <a:pt x="26" y="307"/>
                    </a:lnTo>
                    <a:lnTo>
                      <a:pt x="28" y="307"/>
                    </a:lnTo>
                    <a:lnTo>
                      <a:pt x="26" y="307"/>
                    </a:lnTo>
                    <a:lnTo>
                      <a:pt x="26" y="307"/>
                    </a:lnTo>
                    <a:close/>
                    <a:moveTo>
                      <a:pt x="130" y="285"/>
                    </a:moveTo>
                    <a:lnTo>
                      <a:pt x="130" y="283"/>
                    </a:lnTo>
                    <a:lnTo>
                      <a:pt x="130" y="285"/>
                    </a:lnTo>
                    <a:lnTo>
                      <a:pt x="132" y="285"/>
                    </a:lnTo>
                    <a:lnTo>
                      <a:pt x="132" y="285"/>
                    </a:lnTo>
                    <a:lnTo>
                      <a:pt x="130" y="285"/>
                    </a:lnTo>
                    <a:lnTo>
                      <a:pt x="132" y="285"/>
                    </a:lnTo>
                    <a:lnTo>
                      <a:pt x="130" y="285"/>
                    </a:lnTo>
                    <a:lnTo>
                      <a:pt x="130" y="285"/>
                    </a:lnTo>
                    <a:close/>
                    <a:moveTo>
                      <a:pt x="118" y="285"/>
                    </a:moveTo>
                    <a:lnTo>
                      <a:pt x="118" y="283"/>
                    </a:lnTo>
                    <a:lnTo>
                      <a:pt x="118" y="283"/>
                    </a:lnTo>
                    <a:lnTo>
                      <a:pt x="118" y="285"/>
                    </a:lnTo>
                    <a:close/>
                    <a:moveTo>
                      <a:pt x="206" y="297"/>
                    </a:moveTo>
                    <a:lnTo>
                      <a:pt x="203" y="297"/>
                    </a:lnTo>
                    <a:lnTo>
                      <a:pt x="203" y="295"/>
                    </a:lnTo>
                    <a:lnTo>
                      <a:pt x="206" y="295"/>
                    </a:lnTo>
                    <a:lnTo>
                      <a:pt x="206" y="297"/>
                    </a:lnTo>
                    <a:close/>
                    <a:moveTo>
                      <a:pt x="26" y="307"/>
                    </a:moveTo>
                    <a:lnTo>
                      <a:pt x="26" y="307"/>
                    </a:lnTo>
                    <a:lnTo>
                      <a:pt x="26" y="307"/>
                    </a:lnTo>
                    <a:close/>
                    <a:moveTo>
                      <a:pt x="28" y="323"/>
                    </a:moveTo>
                    <a:lnTo>
                      <a:pt x="28" y="323"/>
                    </a:lnTo>
                    <a:lnTo>
                      <a:pt x="26" y="323"/>
                    </a:lnTo>
                    <a:lnTo>
                      <a:pt x="28" y="323"/>
                    </a:lnTo>
                    <a:lnTo>
                      <a:pt x="28" y="323"/>
                    </a:lnTo>
                    <a:close/>
                    <a:moveTo>
                      <a:pt x="26" y="316"/>
                    </a:moveTo>
                    <a:lnTo>
                      <a:pt x="26" y="316"/>
                    </a:lnTo>
                    <a:lnTo>
                      <a:pt x="26" y="316"/>
                    </a:lnTo>
                    <a:close/>
                    <a:moveTo>
                      <a:pt x="40" y="328"/>
                    </a:moveTo>
                    <a:lnTo>
                      <a:pt x="40" y="326"/>
                    </a:lnTo>
                    <a:lnTo>
                      <a:pt x="40" y="328"/>
                    </a:lnTo>
                    <a:close/>
                    <a:moveTo>
                      <a:pt x="38" y="304"/>
                    </a:moveTo>
                    <a:lnTo>
                      <a:pt x="38" y="304"/>
                    </a:lnTo>
                    <a:lnTo>
                      <a:pt x="38" y="304"/>
                    </a:lnTo>
                    <a:lnTo>
                      <a:pt x="38" y="304"/>
                    </a:lnTo>
                    <a:lnTo>
                      <a:pt x="38" y="304"/>
                    </a:lnTo>
                    <a:close/>
                    <a:moveTo>
                      <a:pt x="43" y="300"/>
                    </a:move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lnTo>
                      <a:pt x="43" y="300"/>
                    </a:lnTo>
                    <a:close/>
                    <a:moveTo>
                      <a:pt x="118" y="288"/>
                    </a:moveTo>
                    <a:lnTo>
                      <a:pt x="120" y="288"/>
                    </a:lnTo>
                    <a:lnTo>
                      <a:pt x="118" y="288"/>
                    </a:lnTo>
                    <a:close/>
                    <a:moveTo>
                      <a:pt x="33" y="300"/>
                    </a:moveTo>
                    <a:lnTo>
                      <a:pt x="33" y="300"/>
                    </a:lnTo>
                    <a:lnTo>
                      <a:pt x="35" y="300"/>
                    </a:lnTo>
                    <a:lnTo>
                      <a:pt x="33" y="300"/>
                    </a:lnTo>
                    <a:lnTo>
                      <a:pt x="33" y="300"/>
                    </a:lnTo>
                    <a:lnTo>
                      <a:pt x="33" y="300"/>
                    </a:lnTo>
                    <a:lnTo>
                      <a:pt x="33" y="302"/>
                    </a:lnTo>
                    <a:lnTo>
                      <a:pt x="33" y="300"/>
                    </a:lnTo>
                    <a:lnTo>
                      <a:pt x="33" y="300"/>
                    </a:lnTo>
                    <a:close/>
                    <a:moveTo>
                      <a:pt x="168" y="302"/>
                    </a:moveTo>
                    <a:lnTo>
                      <a:pt x="170" y="302"/>
                    </a:lnTo>
                    <a:lnTo>
                      <a:pt x="168" y="302"/>
                    </a:lnTo>
                    <a:close/>
                    <a:moveTo>
                      <a:pt x="97" y="297"/>
                    </a:moveTo>
                    <a:lnTo>
                      <a:pt x="97" y="297"/>
                    </a:lnTo>
                    <a:lnTo>
                      <a:pt x="97" y="297"/>
                    </a:lnTo>
                    <a:lnTo>
                      <a:pt x="97" y="297"/>
                    </a:lnTo>
                    <a:lnTo>
                      <a:pt x="97" y="297"/>
                    </a:lnTo>
                    <a:close/>
                    <a:moveTo>
                      <a:pt x="201" y="297"/>
                    </a:move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close/>
                    <a:moveTo>
                      <a:pt x="118" y="295"/>
                    </a:moveTo>
                    <a:lnTo>
                      <a:pt x="118" y="295"/>
                    </a:lnTo>
                    <a:lnTo>
                      <a:pt x="118" y="295"/>
                    </a:lnTo>
                    <a:close/>
                    <a:moveTo>
                      <a:pt x="215" y="295"/>
                    </a:moveTo>
                    <a:lnTo>
                      <a:pt x="215" y="295"/>
                    </a:lnTo>
                    <a:lnTo>
                      <a:pt x="215" y="295"/>
                    </a:lnTo>
                    <a:close/>
                    <a:moveTo>
                      <a:pt x="40" y="337"/>
                    </a:moveTo>
                    <a:lnTo>
                      <a:pt x="40" y="337"/>
                    </a:lnTo>
                    <a:lnTo>
                      <a:pt x="43" y="337"/>
                    </a:lnTo>
                    <a:lnTo>
                      <a:pt x="40" y="337"/>
                    </a:lnTo>
                    <a:lnTo>
                      <a:pt x="40" y="337"/>
                    </a:lnTo>
                    <a:close/>
                    <a:moveTo>
                      <a:pt x="28" y="314"/>
                    </a:moveTo>
                    <a:lnTo>
                      <a:pt x="28" y="314"/>
                    </a:lnTo>
                    <a:lnTo>
                      <a:pt x="28" y="314"/>
                    </a:lnTo>
                    <a:lnTo>
                      <a:pt x="28" y="314"/>
                    </a:lnTo>
                    <a:lnTo>
                      <a:pt x="28" y="314"/>
                    </a:lnTo>
                    <a:close/>
                    <a:moveTo>
                      <a:pt x="120" y="295"/>
                    </a:moveTo>
                    <a:lnTo>
                      <a:pt x="120" y="295"/>
                    </a:lnTo>
                    <a:lnTo>
                      <a:pt x="120" y="295"/>
                    </a:lnTo>
                    <a:close/>
                    <a:moveTo>
                      <a:pt x="125" y="290"/>
                    </a:moveTo>
                    <a:lnTo>
                      <a:pt x="125" y="290"/>
                    </a:lnTo>
                    <a:lnTo>
                      <a:pt x="125" y="290"/>
                    </a:lnTo>
                    <a:lnTo>
                      <a:pt x="125" y="290"/>
                    </a:lnTo>
                    <a:lnTo>
                      <a:pt x="125" y="290"/>
                    </a:lnTo>
                    <a:close/>
                    <a:moveTo>
                      <a:pt x="215" y="297"/>
                    </a:moveTo>
                    <a:lnTo>
                      <a:pt x="215" y="297"/>
                    </a:lnTo>
                    <a:lnTo>
                      <a:pt x="215" y="297"/>
                    </a:lnTo>
                    <a:lnTo>
                      <a:pt x="215" y="297"/>
                    </a:lnTo>
                    <a:lnTo>
                      <a:pt x="215" y="297"/>
                    </a:lnTo>
                    <a:close/>
                    <a:moveTo>
                      <a:pt x="28" y="316"/>
                    </a:moveTo>
                    <a:lnTo>
                      <a:pt x="28" y="316"/>
                    </a:lnTo>
                    <a:lnTo>
                      <a:pt x="28" y="316"/>
                    </a:lnTo>
                    <a:lnTo>
                      <a:pt x="28" y="316"/>
                    </a:lnTo>
                    <a:lnTo>
                      <a:pt x="28" y="316"/>
                    </a:lnTo>
                    <a:close/>
                    <a:moveTo>
                      <a:pt x="38" y="319"/>
                    </a:moveTo>
                    <a:lnTo>
                      <a:pt x="40" y="319"/>
                    </a:lnTo>
                    <a:lnTo>
                      <a:pt x="40" y="319"/>
                    </a:lnTo>
                    <a:lnTo>
                      <a:pt x="38" y="319"/>
                    </a:lnTo>
                    <a:lnTo>
                      <a:pt x="38" y="319"/>
                    </a:lnTo>
                    <a:lnTo>
                      <a:pt x="38" y="321"/>
                    </a:lnTo>
                    <a:lnTo>
                      <a:pt x="35" y="321"/>
                    </a:lnTo>
                    <a:lnTo>
                      <a:pt x="35" y="321"/>
                    </a:lnTo>
                    <a:lnTo>
                      <a:pt x="35" y="321"/>
                    </a:lnTo>
                    <a:lnTo>
                      <a:pt x="38" y="319"/>
                    </a:lnTo>
                    <a:lnTo>
                      <a:pt x="38" y="319"/>
                    </a:lnTo>
                    <a:lnTo>
                      <a:pt x="38" y="319"/>
                    </a:lnTo>
                    <a:close/>
                    <a:moveTo>
                      <a:pt x="35" y="300"/>
                    </a:moveTo>
                    <a:lnTo>
                      <a:pt x="35" y="300"/>
                    </a:lnTo>
                    <a:lnTo>
                      <a:pt x="35" y="300"/>
                    </a:lnTo>
                    <a:lnTo>
                      <a:pt x="35" y="300"/>
                    </a:lnTo>
                    <a:lnTo>
                      <a:pt x="38" y="300"/>
                    </a:lnTo>
                    <a:lnTo>
                      <a:pt x="35" y="300"/>
                    </a:lnTo>
                    <a:lnTo>
                      <a:pt x="35" y="300"/>
                    </a:lnTo>
                    <a:lnTo>
                      <a:pt x="35" y="300"/>
                    </a:lnTo>
                    <a:close/>
                    <a:moveTo>
                      <a:pt x="175" y="300"/>
                    </a:moveTo>
                    <a:lnTo>
                      <a:pt x="175" y="300"/>
                    </a:lnTo>
                    <a:lnTo>
                      <a:pt x="175" y="300"/>
                    </a:lnTo>
                    <a:close/>
                    <a:moveTo>
                      <a:pt x="40" y="316"/>
                    </a:moveTo>
                    <a:lnTo>
                      <a:pt x="40" y="316"/>
                    </a:lnTo>
                    <a:lnTo>
                      <a:pt x="40" y="316"/>
                    </a:lnTo>
                    <a:lnTo>
                      <a:pt x="40" y="316"/>
                    </a:lnTo>
                    <a:lnTo>
                      <a:pt x="40" y="316"/>
                    </a:lnTo>
                    <a:close/>
                    <a:moveTo>
                      <a:pt x="220" y="300"/>
                    </a:moveTo>
                    <a:lnTo>
                      <a:pt x="222" y="300"/>
                    </a:lnTo>
                    <a:lnTo>
                      <a:pt x="222" y="300"/>
                    </a:lnTo>
                    <a:lnTo>
                      <a:pt x="222" y="300"/>
                    </a:lnTo>
                    <a:lnTo>
                      <a:pt x="220" y="300"/>
                    </a:lnTo>
                    <a:close/>
                    <a:moveTo>
                      <a:pt x="125" y="290"/>
                    </a:moveTo>
                    <a:lnTo>
                      <a:pt x="125" y="290"/>
                    </a:lnTo>
                    <a:lnTo>
                      <a:pt x="125" y="290"/>
                    </a:lnTo>
                    <a:close/>
                    <a:moveTo>
                      <a:pt x="97" y="297"/>
                    </a:moveTo>
                    <a:lnTo>
                      <a:pt x="97" y="297"/>
                    </a:lnTo>
                    <a:lnTo>
                      <a:pt x="97" y="297"/>
                    </a:lnTo>
                    <a:lnTo>
                      <a:pt x="97" y="297"/>
                    </a:lnTo>
                    <a:close/>
                    <a:moveTo>
                      <a:pt x="215" y="300"/>
                    </a:moveTo>
                    <a:lnTo>
                      <a:pt x="215" y="300"/>
                    </a:lnTo>
                    <a:lnTo>
                      <a:pt x="215" y="302"/>
                    </a:lnTo>
                    <a:lnTo>
                      <a:pt x="215" y="302"/>
                    </a:lnTo>
                    <a:lnTo>
                      <a:pt x="215" y="300"/>
                    </a:lnTo>
                    <a:close/>
                    <a:moveTo>
                      <a:pt x="31" y="302"/>
                    </a:moveTo>
                    <a:lnTo>
                      <a:pt x="31" y="300"/>
                    </a:lnTo>
                    <a:lnTo>
                      <a:pt x="33" y="300"/>
                    </a:lnTo>
                    <a:lnTo>
                      <a:pt x="33" y="302"/>
                    </a:lnTo>
                    <a:lnTo>
                      <a:pt x="33" y="300"/>
                    </a:lnTo>
                    <a:lnTo>
                      <a:pt x="33" y="302"/>
                    </a:lnTo>
                    <a:lnTo>
                      <a:pt x="31" y="302"/>
                    </a:lnTo>
                    <a:close/>
                    <a:moveTo>
                      <a:pt x="227" y="262"/>
                    </a:moveTo>
                    <a:lnTo>
                      <a:pt x="227" y="260"/>
                    </a:lnTo>
                    <a:lnTo>
                      <a:pt x="227" y="260"/>
                    </a:lnTo>
                    <a:lnTo>
                      <a:pt x="227" y="260"/>
                    </a:lnTo>
                    <a:lnTo>
                      <a:pt x="227" y="260"/>
                    </a:lnTo>
                    <a:lnTo>
                      <a:pt x="227" y="262"/>
                    </a:lnTo>
                    <a:lnTo>
                      <a:pt x="227" y="262"/>
                    </a:lnTo>
                    <a:close/>
                    <a:moveTo>
                      <a:pt x="26" y="314"/>
                    </a:moveTo>
                    <a:lnTo>
                      <a:pt x="26" y="311"/>
                    </a:lnTo>
                    <a:lnTo>
                      <a:pt x="26" y="314"/>
                    </a:lnTo>
                    <a:lnTo>
                      <a:pt x="26" y="314"/>
                    </a:lnTo>
                    <a:lnTo>
                      <a:pt x="26" y="314"/>
                    </a:lnTo>
                    <a:close/>
                    <a:moveTo>
                      <a:pt x="106" y="293"/>
                    </a:moveTo>
                    <a:lnTo>
                      <a:pt x="106" y="293"/>
                    </a:lnTo>
                    <a:lnTo>
                      <a:pt x="109" y="290"/>
                    </a:lnTo>
                    <a:lnTo>
                      <a:pt x="109" y="293"/>
                    </a:lnTo>
                    <a:lnTo>
                      <a:pt x="109" y="293"/>
                    </a:lnTo>
                    <a:lnTo>
                      <a:pt x="109" y="293"/>
                    </a:lnTo>
                    <a:lnTo>
                      <a:pt x="106" y="293"/>
                    </a:lnTo>
                    <a:lnTo>
                      <a:pt x="106" y="293"/>
                    </a:lnTo>
                    <a:close/>
                    <a:moveTo>
                      <a:pt x="120" y="293"/>
                    </a:moveTo>
                    <a:lnTo>
                      <a:pt x="120" y="293"/>
                    </a:lnTo>
                    <a:lnTo>
                      <a:pt x="120" y="290"/>
                    </a:lnTo>
                    <a:lnTo>
                      <a:pt x="123" y="290"/>
                    </a:lnTo>
                    <a:lnTo>
                      <a:pt x="123" y="290"/>
                    </a:lnTo>
                    <a:lnTo>
                      <a:pt x="123" y="290"/>
                    </a:lnTo>
                    <a:lnTo>
                      <a:pt x="123" y="293"/>
                    </a:lnTo>
                    <a:lnTo>
                      <a:pt x="120" y="293"/>
                    </a:lnTo>
                    <a:lnTo>
                      <a:pt x="120" y="293"/>
                    </a:lnTo>
                    <a:close/>
                    <a:moveTo>
                      <a:pt x="210" y="274"/>
                    </a:moveTo>
                    <a:lnTo>
                      <a:pt x="210" y="274"/>
                    </a:lnTo>
                    <a:lnTo>
                      <a:pt x="210" y="276"/>
                    </a:lnTo>
                    <a:lnTo>
                      <a:pt x="210" y="274"/>
                    </a:lnTo>
                    <a:lnTo>
                      <a:pt x="210" y="274"/>
                    </a:lnTo>
                    <a:lnTo>
                      <a:pt x="210" y="274"/>
                    </a:lnTo>
                    <a:close/>
                    <a:moveTo>
                      <a:pt x="80" y="319"/>
                    </a:moveTo>
                    <a:lnTo>
                      <a:pt x="80" y="319"/>
                    </a:lnTo>
                    <a:lnTo>
                      <a:pt x="80" y="319"/>
                    </a:lnTo>
                    <a:lnTo>
                      <a:pt x="80" y="316"/>
                    </a:lnTo>
                    <a:lnTo>
                      <a:pt x="78" y="319"/>
                    </a:lnTo>
                    <a:lnTo>
                      <a:pt x="80" y="316"/>
                    </a:lnTo>
                    <a:lnTo>
                      <a:pt x="78" y="316"/>
                    </a:lnTo>
                    <a:lnTo>
                      <a:pt x="78" y="316"/>
                    </a:lnTo>
                    <a:lnTo>
                      <a:pt x="73" y="316"/>
                    </a:lnTo>
                    <a:lnTo>
                      <a:pt x="73" y="316"/>
                    </a:lnTo>
                    <a:lnTo>
                      <a:pt x="73" y="316"/>
                    </a:lnTo>
                    <a:lnTo>
                      <a:pt x="71" y="319"/>
                    </a:lnTo>
                    <a:lnTo>
                      <a:pt x="71" y="321"/>
                    </a:lnTo>
                    <a:lnTo>
                      <a:pt x="68" y="321"/>
                    </a:lnTo>
                    <a:lnTo>
                      <a:pt x="71" y="321"/>
                    </a:lnTo>
                    <a:lnTo>
                      <a:pt x="68" y="321"/>
                    </a:lnTo>
                    <a:lnTo>
                      <a:pt x="68" y="319"/>
                    </a:lnTo>
                    <a:lnTo>
                      <a:pt x="68" y="319"/>
                    </a:lnTo>
                    <a:lnTo>
                      <a:pt x="71" y="316"/>
                    </a:lnTo>
                    <a:lnTo>
                      <a:pt x="71" y="316"/>
                    </a:lnTo>
                    <a:lnTo>
                      <a:pt x="68" y="316"/>
                    </a:lnTo>
                    <a:lnTo>
                      <a:pt x="68" y="316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4" y="316"/>
                    </a:lnTo>
                    <a:lnTo>
                      <a:pt x="64" y="314"/>
                    </a:lnTo>
                    <a:lnTo>
                      <a:pt x="66" y="314"/>
                    </a:lnTo>
                    <a:lnTo>
                      <a:pt x="68" y="314"/>
                    </a:lnTo>
                    <a:lnTo>
                      <a:pt x="68" y="314"/>
                    </a:lnTo>
                    <a:lnTo>
                      <a:pt x="68" y="314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3" y="311"/>
                    </a:lnTo>
                    <a:lnTo>
                      <a:pt x="71" y="309"/>
                    </a:lnTo>
                    <a:lnTo>
                      <a:pt x="73" y="309"/>
                    </a:lnTo>
                    <a:lnTo>
                      <a:pt x="73" y="309"/>
                    </a:lnTo>
                    <a:lnTo>
                      <a:pt x="73" y="309"/>
                    </a:lnTo>
                    <a:lnTo>
                      <a:pt x="73" y="309"/>
                    </a:lnTo>
                    <a:lnTo>
                      <a:pt x="76" y="307"/>
                    </a:lnTo>
                    <a:lnTo>
                      <a:pt x="76" y="309"/>
                    </a:lnTo>
                    <a:lnTo>
                      <a:pt x="76" y="309"/>
                    </a:lnTo>
                    <a:lnTo>
                      <a:pt x="76" y="309"/>
                    </a:lnTo>
                    <a:lnTo>
                      <a:pt x="78" y="309"/>
                    </a:lnTo>
                    <a:lnTo>
                      <a:pt x="78" y="309"/>
                    </a:lnTo>
                    <a:lnTo>
                      <a:pt x="78" y="309"/>
                    </a:lnTo>
                    <a:lnTo>
                      <a:pt x="78" y="307"/>
                    </a:lnTo>
                    <a:lnTo>
                      <a:pt x="80" y="307"/>
                    </a:lnTo>
                    <a:lnTo>
                      <a:pt x="80" y="307"/>
                    </a:lnTo>
                    <a:lnTo>
                      <a:pt x="80" y="307"/>
                    </a:lnTo>
                    <a:lnTo>
                      <a:pt x="80" y="304"/>
                    </a:lnTo>
                    <a:lnTo>
                      <a:pt x="80" y="304"/>
                    </a:lnTo>
                    <a:lnTo>
                      <a:pt x="83" y="304"/>
                    </a:lnTo>
                    <a:lnTo>
                      <a:pt x="83" y="304"/>
                    </a:lnTo>
                    <a:lnTo>
                      <a:pt x="83" y="304"/>
                    </a:lnTo>
                    <a:lnTo>
                      <a:pt x="83" y="304"/>
                    </a:lnTo>
                    <a:lnTo>
                      <a:pt x="87" y="304"/>
                    </a:lnTo>
                    <a:lnTo>
                      <a:pt x="87" y="304"/>
                    </a:lnTo>
                    <a:lnTo>
                      <a:pt x="87" y="304"/>
                    </a:lnTo>
                    <a:lnTo>
                      <a:pt x="87" y="307"/>
                    </a:lnTo>
                    <a:lnTo>
                      <a:pt x="90" y="307"/>
                    </a:lnTo>
                    <a:lnTo>
                      <a:pt x="87" y="307"/>
                    </a:lnTo>
                    <a:lnTo>
                      <a:pt x="87" y="307"/>
                    </a:lnTo>
                    <a:lnTo>
                      <a:pt x="85" y="307"/>
                    </a:lnTo>
                    <a:lnTo>
                      <a:pt x="85" y="307"/>
                    </a:lnTo>
                    <a:lnTo>
                      <a:pt x="87" y="307"/>
                    </a:lnTo>
                    <a:lnTo>
                      <a:pt x="87" y="307"/>
                    </a:lnTo>
                    <a:lnTo>
                      <a:pt x="87" y="307"/>
                    </a:lnTo>
                    <a:lnTo>
                      <a:pt x="87" y="307"/>
                    </a:lnTo>
                    <a:lnTo>
                      <a:pt x="90" y="307"/>
                    </a:lnTo>
                    <a:lnTo>
                      <a:pt x="92" y="307"/>
                    </a:lnTo>
                    <a:lnTo>
                      <a:pt x="92" y="309"/>
                    </a:lnTo>
                    <a:lnTo>
                      <a:pt x="92" y="309"/>
                    </a:lnTo>
                    <a:lnTo>
                      <a:pt x="92" y="309"/>
                    </a:lnTo>
                    <a:lnTo>
                      <a:pt x="92" y="309"/>
                    </a:lnTo>
                    <a:lnTo>
                      <a:pt x="92" y="309"/>
                    </a:lnTo>
                    <a:lnTo>
                      <a:pt x="94" y="309"/>
                    </a:lnTo>
                    <a:lnTo>
                      <a:pt x="94" y="309"/>
                    </a:lnTo>
                    <a:lnTo>
                      <a:pt x="97" y="307"/>
                    </a:lnTo>
                    <a:lnTo>
                      <a:pt x="97" y="309"/>
                    </a:lnTo>
                    <a:lnTo>
                      <a:pt x="97" y="309"/>
                    </a:lnTo>
                    <a:lnTo>
                      <a:pt x="94" y="309"/>
                    </a:lnTo>
                    <a:lnTo>
                      <a:pt x="97" y="311"/>
                    </a:lnTo>
                    <a:lnTo>
                      <a:pt x="94" y="314"/>
                    </a:lnTo>
                    <a:lnTo>
                      <a:pt x="97" y="314"/>
                    </a:lnTo>
                    <a:lnTo>
                      <a:pt x="97" y="314"/>
                    </a:lnTo>
                    <a:lnTo>
                      <a:pt x="99" y="311"/>
                    </a:lnTo>
                    <a:lnTo>
                      <a:pt x="99" y="311"/>
                    </a:lnTo>
                    <a:lnTo>
                      <a:pt x="99" y="314"/>
                    </a:lnTo>
                    <a:lnTo>
                      <a:pt x="102" y="314"/>
                    </a:lnTo>
                    <a:lnTo>
                      <a:pt x="102" y="316"/>
                    </a:lnTo>
                    <a:lnTo>
                      <a:pt x="99" y="316"/>
                    </a:lnTo>
                    <a:lnTo>
                      <a:pt x="99" y="316"/>
                    </a:lnTo>
                    <a:lnTo>
                      <a:pt x="97" y="316"/>
                    </a:lnTo>
                    <a:lnTo>
                      <a:pt x="97" y="316"/>
                    </a:lnTo>
                    <a:lnTo>
                      <a:pt x="97" y="314"/>
                    </a:lnTo>
                    <a:lnTo>
                      <a:pt x="97" y="314"/>
                    </a:lnTo>
                    <a:lnTo>
                      <a:pt x="92" y="314"/>
                    </a:lnTo>
                    <a:lnTo>
                      <a:pt x="92" y="316"/>
                    </a:lnTo>
                    <a:lnTo>
                      <a:pt x="90" y="316"/>
                    </a:lnTo>
                    <a:lnTo>
                      <a:pt x="90" y="316"/>
                    </a:lnTo>
                    <a:lnTo>
                      <a:pt x="90" y="316"/>
                    </a:lnTo>
                    <a:lnTo>
                      <a:pt x="90" y="316"/>
                    </a:lnTo>
                    <a:lnTo>
                      <a:pt x="90" y="319"/>
                    </a:lnTo>
                    <a:lnTo>
                      <a:pt x="87" y="319"/>
                    </a:lnTo>
                    <a:lnTo>
                      <a:pt x="87" y="319"/>
                    </a:lnTo>
                    <a:lnTo>
                      <a:pt x="87" y="316"/>
                    </a:lnTo>
                    <a:lnTo>
                      <a:pt x="85" y="319"/>
                    </a:lnTo>
                    <a:lnTo>
                      <a:pt x="83" y="319"/>
                    </a:lnTo>
                    <a:lnTo>
                      <a:pt x="83" y="319"/>
                    </a:lnTo>
                    <a:lnTo>
                      <a:pt x="80" y="319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1" name="Group 123"/>
            <p:cNvGrpSpPr/>
            <p:nvPr>
              <p:custDataLst>
                <p:tags r:id="rId24"/>
              </p:custDataLst>
            </p:nvPr>
          </p:nvGrpSpPr>
          <p:grpSpPr>
            <a:xfrm>
              <a:off x="1760745" y="2485848"/>
              <a:ext cx="1789252" cy="1962434"/>
              <a:chOff x="3389657" y="2856055"/>
              <a:chExt cx="2118791" cy="2323869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30" name="Freeform 19"/>
              <p:cNvSpPr>
                <a:spLocks/>
              </p:cNvSpPr>
              <p:nvPr/>
            </p:nvSpPr>
            <p:spPr bwMode="auto">
              <a:xfrm>
                <a:off x="4519183" y="3556297"/>
                <a:ext cx="989265" cy="988202"/>
              </a:xfrm>
              <a:custGeom>
                <a:avLst/>
                <a:gdLst/>
                <a:ahLst/>
                <a:cxnLst>
                  <a:cxn ang="0">
                    <a:pos x="7" y="640"/>
                  </a:cxn>
                  <a:cxn ang="0">
                    <a:pos x="24" y="607"/>
                  </a:cxn>
                  <a:cxn ang="0">
                    <a:pos x="40" y="583"/>
                  </a:cxn>
                  <a:cxn ang="0">
                    <a:pos x="66" y="552"/>
                  </a:cxn>
                  <a:cxn ang="0">
                    <a:pos x="71" y="519"/>
                  </a:cxn>
                  <a:cxn ang="0">
                    <a:pos x="118" y="477"/>
                  </a:cxn>
                  <a:cxn ang="0">
                    <a:pos x="192" y="413"/>
                  </a:cxn>
                  <a:cxn ang="0">
                    <a:pos x="248" y="340"/>
                  </a:cxn>
                  <a:cxn ang="0">
                    <a:pos x="291" y="243"/>
                  </a:cxn>
                  <a:cxn ang="0">
                    <a:pos x="329" y="130"/>
                  </a:cxn>
                  <a:cxn ang="0">
                    <a:pos x="352" y="49"/>
                  </a:cxn>
                  <a:cxn ang="0">
                    <a:pos x="371" y="16"/>
                  </a:cxn>
                  <a:cxn ang="0">
                    <a:pos x="385" y="26"/>
                  </a:cxn>
                  <a:cxn ang="0">
                    <a:pos x="381" y="61"/>
                  </a:cxn>
                  <a:cxn ang="0">
                    <a:pos x="496" y="104"/>
                  </a:cxn>
                  <a:cxn ang="0">
                    <a:pos x="534" y="68"/>
                  </a:cxn>
                  <a:cxn ang="0">
                    <a:pos x="577" y="80"/>
                  </a:cxn>
                  <a:cxn ang="0">
                    <a:pos x="591" y="118"/>
                  </a:cxn>
                  <a:cxn ang="0">
                    <a:pos x="612" y="115"/>
                  </a:cxn>
                  <a:cxn ang="0">
                    <a:pos x="643" y="101"/>
                  </a:cxn>
                  <a:cxn ang="0">
                    <a:pos x="659" y="111"/>
                  </a:cxn>
                  <a:cxn ang="0">
                    <a:pos x="711" y="127"/>
                  </a:cxn>
                  <a:cxn ang="0">
                    <a:pos x="730" y="104"/>
                  </a:cxn>
                  <a:cxn ang="0">
                    <a:pos x="775" y="108"/>
                  </a:cxn>
                  <a:cxn ang="0">
                    <a:pos x="813" y="87"/>
                  </a:cxn>
                  <a:cxn ang="0">
                    <a:pos x="884" y="78"/>
                  </a:cxn>
                  <a:cxn ang="0">
                    <a:pos x="881" y="104"/>
                  </a:cxn>
                  <a:cxn ang="0">
                    <a:pos x="893" y="141"/>
                  </a:cxn>
                  <a:cxn ang="0">
                    <a:pos x="893" y="207"/>
                  </a:cxn>
                  <a:cxn ang="0">
                    <a:pos x="929" y="257"/>
                  </a:cxn>
                  <a:cxn ang="0">
                    <a:pos x="922" y="295"/>
                  </a:cxn>
                  <a:cxn ang="0">
                    <a:pos x="893" y="333"/>
                  </a:cxn>
                  <a:cxn ang="0">
                    <a:pos x="853" y="319"/>
                  </a:cxn>
                  <a:cxn ang="0">
                    <a:pos x="806" y="359"/>
                  </a:cxn>
                  <a:cxn ang="0">
                    <a:pos x="818" y="456"/>
                  </a:cxn>
                  <a:cxn ang="0">
                    <a:pos x="761" y="474"/>
                  </a:cxn>
                  <a:cxn ang="0">
                    <a:pos x="747" y="458"/>
                  </a:cxn>
                  <a:cxn ang="0">
                    <a:pos x="740" y="408"/>
                  </a:cxn>
                  <a:cxn ang="0">
                    <a:pos x="631" y="479"/>
                  </a:cxn>
                  <a:cxn ang="0">
                    <a:pos x="752" y="505"/>
                  </a:cxn>
                  <a:cxn ang="0">
                    <a:pos x="747" y="550"/>
                  </a:cxn>
                  <a:cxn ang="0">
                    <a:pos x="766" y="574"/>
                  </a:cxn>
                  <a:cxn ang="0">
                    <a:pos x="775" y="604"/>
                  </a:cxn>
                  <a:cxn ang="0">
                    <a:pos x="759" y="616"/>
                  </a:cxn>
                  <a:cxn ang="0">
                    <a:pos x="740" y="640"/>
                  </a:cxn>
                  <a:cxn ang="0">
                    <a:pos x="726" y="661"/>
                  </a:cxn>
                  <a:cxn ang="0">
                    <a:pos x="752" y="704"/>
                  </a:cxn>
                  <a:cxn ang="0">
                    <a:pos x="756" y="741"/>
                  </a:cxn>
                  <a:cxn ang="0">
                    <a:pos x="726" y="763"/>
                  </a:cxn>
                  <a:cxn ang="0">
                    <a:pos x="700" y="789"/>
                  </a:cxn>
                  <a:cxn ang="0">
                    <a:pos x="662" y="789"/>
                  </a:cxn>
                  <a:cxn ang="0">
                    <a:pos x="600" y="779"/>
                  </a:cxn>
                  <a:cxn ang="0">
                    <a:pos x="525" y="786"/>
                  </a:cxn>
                  <a:cxn ang="0">
                    <a:pos x="470" y="805"/>
                  </a:cxn>
                  <a:cxn ang="0">
                    <a:pos x="376" y="824"/>
                  </a:cxn>
                  <a:cxn ang="0">
                    <a:pos x="303" y="919"/>
                  </a:cxn>
                  <a:cxn ang="0">
                    <a:pos x="258" y="900"/>
                  </a:cxn>
                  <a:cxn ang="0">
                    <a:pos x="208" y="883"/>
                  </a:cxn>
                  <a:cxn ang="0">
                    <a:pos x="166" y="862"/>
                  </a:cxn>
                  <a:cxn ang="0">
                    <a:pos x="137" y="845"/>
                  </a:cxn>
                  <a:cxn ang="0">
                    <a:pos x="78" y="824"/>
                  </a:cxn>
                  <a:cxn ang="0">
                    <a:pos x="36" y="774"/>
                  </a:cxn>
                  <a:cxn ang="0">
                    <a:pos x="5" y="699"/>
                  </a:cxn>
                </a:cxnLst>
                <a:rect l="0" t="0" r="r" b="b"/>
                <a:pathLst>
                  <a:path w="931" h="930">
                    <a:moveTo>
                      <a:pt x="3" y="668"/>
                    </a:moveTo>
                    <a:lnTo>
                      <a:pt x="3" y="668"/>
                    </a:lnTo>
                    <a:lnTo>
                      <a:pt x="3" y="666"/>
                    </a:lnTo>
                    <a:lnTo>
                      <a:pt x="3" y="666"/>
                    </a:lnTo>
                    <a:lnTo>
                      <a:pt x="3" y="663"/>
                    </a:lnTo>
                    <a:lnTo>
                      <a:pt x="3" y="666"/>
                    </a:lnTo>
                    <a:lnTo>
                      <a:pt x="3" y="663"/>
                    </a:lnTo>
                    <a:lnTo>
                      <a:pt x="3" y="663"/>
                    </a:lnTo>
                    <a:lnTo>
                      <a:pt x="3" y="661"/>
                    </a:lnTo>
                    <a:lnTo>
                      <a:pt x="3" y="661"/>
                    </a:lnTo>
                    <a:lnTo>
                      <a:pt x="3" y="661"/>
                    </a:lnTo>
                    <a:lnTo>
                      <a:pt x="3" y="659"/>
                    </a:lnTo>
                    <a:lnTo>
                      <a:pt x="3" y="659"/>
                    </a:lnTo>
                    <a:lnTo>
                      <a:pt x="5" y="659"/>
                    </a:lnTo>
                    <a:lnTo>
                      <a:pt x="5" y="656"/>
                    </a:lnTo>
                    <a:lnTo>
                      <a:pt x="5" y="656"/>
                    </a:lnTo>
                    <a:lnTo>
                      <a:pt x="5" y="656"/>
                    </a:lnTo>
                    <a:lnTo>
                      <a:pt x="7" y="656"/>
                    </a:lnTo>
                    <a:lnTo>
                      <a:pt x="7" y="656"/>
                    </a:lnTo>
                    <a:lnTo>
                      <a:pt x="5" y="656"/>
                    </a:lnTo>
                    <a:lnTo>
                      <a:pt x="7" y="654"/>
                    </a:lnTo>
                    <a:lnTo>
                      <a:pt x="7" y="654"/>
                    </a:lnTo>
                    <a:lnTo>
                      <a:pt x="7" y="654"/>
                    </a:lnTo>
                    <a:lnTo>
                      <a:pt x="7" y="654"/>
                    </a:lnTo>
                    <a:lnTo>
                      <a:pt x="7" y="652"/>
                    </a:lnTo>
                    <a:lnTo>
                      <a:pt x="7" y="652"/>
                    </a:lnTo>
                    <a:lnTo>
                      <a:pt x="7" y="652"/>
                    </a:lnTo>
                    <a:lnTo>
                      <a:pt x="7" y="652"/>
                    </a:lnTo>
                    <a:lnTo>
                      <a:pt x="7" y="652"/>
                    </a:lnTo>
                    <a:lnTo>
                      <a:pt x="7" y="649"/>
                    </a:lnTo>
                    <a:lnTo>
                      <a:pt x="7" y="649"/>
                    </a:lnTo>
                    <a:lnTo>
                      <a:pt x="7" y="649"/>
                    </a:lnTo>
                    <a:lnTo>
                      <a:pt x="7" y="649"/>
                    </a:lnTo>
                    <a:lnTo>
                      <a:pt x="7" y="649"/>
                    </a:lnTo>
                    <a:lnTo>
                      <a:pt x="7" y="647"/>
                    </a:lnTo>
                    <a:lnTo>
                      <a:pt x="7" y="647"/>
                    </a:lnTo>
                    <a:lnTo>
                      <a:pt x="5" y="647"/>
                    </a:lnTo>
                    <a:lnTo>
                      <a:pt x="5" y="647"/>
                    </a:lnTo>
                    <a:lnTo>
                      <a:pt x="5" y="644"/>
                    </a:lnTo>
                    <a:lnTo>
                      <a:pt x="7" y="644"/>
                    </a:lnTo>
                    <a:lnTo>
                      <a:pt x="5" y="644"/>
                    </a:lnTo>
                    <a:lnTo>
                      <a:pt x="5" y="642"/>
                    </a:lnTo>
                    <a:lnTo>
                      <a:pt x="5" y="644"/>
                    </a:lnTo>
                    <a:lnTo>
                      <a:pt x="5" y="642"/>
                    </a:lnTo>
                    <a:lnTo>
                      <a:pt x="5" y="642"/>
                    </a:lnTo>
                    <a:lnTo>
                      <a:pt x="7" y="642"/>
                    </a:lnTo>
                    <a:lnTo>
                      <a:pt x="7" y="640"/>
                    </a:lnTo>
                    <a:lnTo>
                      <a:pt x="7" y="640"/>
                    </a:lnTo>
                    <a:lnTo>
                      <a:pt x="7" y="637"/>
                    </a:lnTo>
                    <a:lnTo>
                      <a:pt x="10" y="637"/>
                    </a:lnTo>
                    <a:lnTo>
                      <a:pt x="10" y="635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12" y="633"/>
                    </a:lnTo>
                    <a:lnTo>
                      <a:pt x="12" y="630"/>
                    </a:lnTo>
                    <a:lnTo>
                      <a:pt x="12" y="630"/>
                    </a:lnTo>
                    <a:lnTo>
                      <a:pt x="12" y="628"/>
                    </a:lnTo>
                    <a:lnTo>
                      <a:pt x="12" y="626"/>
                    </a:lnTo>
                    <a:lnTo>
                      <a:pt x="12" y="626"/>
                    </a:lnTo>
                    <a:lnTo>
                      <a:pt x="14" y="626"/>
                    </a:lnTo>
                    <a:lnTo>
                      <a:pt x="14" y="623"/>
                    </a:lnTo>
                    <a:lnTo>
                      <a:pt x="17" y="623"/>
                    </a:lnTo>
                    <a:lnTo>
                      <a:pt x="17" y="623"/>
                    </a:lnTo>
                    <a:lnTo>
                      <a:pt x="17" y="623"/>
                    </a:lnTo>
                    <a:lnTo>
                      <a:pt x="17" y="621"/>
                    </a:lnTo>
                    <a:lnTo>
                      <a:pt x="17" y="619"/>
                    </a:lnTo>
                    <a:lnTo>
                      <a:pt x="17" y="619"/>
                    </a:lnTo>
                    <a:lnTo>
                      <a:pt x="19" y="616"/>
                    </a:lnTo>
                    <a:lnTo>
                      <a:pt x="19" y="616"/>
                    </a:lnTo>
                    <a:lnTo>
                      <a:pt x="19" y="616"/>
                    </a:lnTo>
                    <a:lnTo>
                      <a:pt x="19" y="616"/>
                    </a:lnTo>
                    <a:lnTo>
                      <a:pt x="19" y="616"/>
                    </a:lnTo>
                    <a:lnTo>
                      <a:pt x="22" y="616"/>
                    </a:lnTo>
                    <a:lnTo>
                      <a:pt x="22" y="616"/>
                    </a:lnTo>
                    <a:lnTo>
                      <a:pt x="22" y="616"/>
                    </a:lnTo>
                    <a:lnTo>
                      <a:pt x="22" y="614"/>
                    </a:lnTo>
                    <a:lnTo>
                      <a:pt x="22" y="614"/>
                    </a:lnTo>
                    <a:lnTo>
                      <a:pt x="22" y="614"/>
                    </a:lnTo>
                    <a:lnTo>
                      <a:pt x="22" y="614"/>
                    </a:lnTo>
                    <a:lnTo>
                      <a:pt x="24" y="614"/>
                    </a:lnTo>
                    <a:lnTo>
                      <a:pt x="24" y="614"/>
                    </a:lnTo>
                    <a:lnTo>
                      <a:pt x="24" y="614"/>
                    </a:lnTo>
                    <a:lnTo>
                      <a:pt x="24" y="614"/>
                    </a:lnTo>
                    <a:lnTo>
                      <a:pt x="24" y="614"/>
                    </a:lnTo>
                    <a:lnTo>
                      <a:pt x="26" y="611"/>
                    </a:lnTo>
                    <a:lnTo>
                      <a:pt x="26" y="611"/>
                    </a:lnTo>
                    <a:lnTo>
                      <a:pt x="24" y="611"/>
                    </a:lnTo>
                    <a:lnTo>
                      <a:pt x="24" y="611"/>
                    </a:lnTo>
                    <a:lnTo>
                      <a:pt x="24" y="611"/>
                    </a:lnTo>
                    <a:lnTo>
                      <a:pt x="24" y="609"/>
                    </a:lnTo>
                    <a:lnTo>
                      <a:pt x="24" y="609"/>
                    </a:lnTo>
                    <a:lnTo>
                      <a:pt x="24" y="609"/>
                    </a:lnTo>
                    <a:lnTo>
                      <a:pt x="24" y="609"/>
                    </a:lnTo>
                    <a:lnTo>
                      <a:pt x="24" y="607"/>
                    </a:lnTo>
                    <a:lnTo>
                      <a:pt x="24" y="607"/>
                    </a:lnTo>
                    <a:lnTo>
                      <a:pt x="24" y="607"/>
                    </a:lnTo>
                    <a:lnTo>
                      <a:pt x="26" y="607"/>
                    </a:lnTo>
                    <a:lnTo>
                      <a:pt x="24" y="604"/>
                    </a:lnTo>
                    <a:lnTo>
                      <a:pt x="26" y="604"/>
                    </a:lnTo>
                    <a:lnTo>
                      <a:pt x="26" y="604"/>
                    </a:lnTo>
                    <a:lnTo>
                      <a:pt x="26" y="604"/>
                    </a:lnTo>
                    <a:lnTo>
                      <a:pt x="26" y="602"/>
                    </a:lnTo>
                    <a:lnTo>
                      <a:pt x="26" y="602"/>
                    </a:lnTo>
                    <a:lnTo>
                      <a:pt x="26" y="597"/>
                    </a:lnTo>
                    <a:lnTo>
                      <a:pt x="26" y="597"/>
                    </a:lnTo>
                    <a:lnTo>
                      <a:pt x="26" y="600"/>
                    </a:lnTo>
                    <a:lnTo>
                      <a:pt x="26" y="597"/>
                    </a:lnTo>
                    <a:lnTo>
                      <a:pt x="26" y="597"/>
                    </a:lnTo>
                    <a:lnTo>
                      <a:pt x="29" y="595"/>
                    </a:lnTo>
                    <a:lnTo>
                      <a:pt x="29" y="595"/>
                    </a:lnTo>
                    <a:lnTo>
                      <a:pt x="29" y="595"/>
                    </a:lnTo>
                    <a:lnTo>
                      <a:pt x="29" y="593"/>
                    </a:lnTo>
                    <a:lnTo>
                      <a:pt x="29" y="593"/>
                    </a:lnTo>
                    <a:lnTo>
                      <a:pt x="29" y="593"/>
                    </a:lnTo>
                    <a:lnTo>
                      <a:pt x="29" y="590"/>
                    </a:lnTo>
                    <a:lnTo>
                      <a:pt x="29" y="590"/>
                    </a:lnTo>
                    <a:lnTo>
                      <a:pt x="31" y="590"/>
                    </a:lnTo>
                    <a:lnTo>
                      <a:pt x="31" y="588"/>
                    </a:lnTo>
                    <a:lnTo>
                      <a:pt x="31" y="588"/>
                    </a:lnTo>
                    <a:lnTo>
                      <a:pt x="31" y="588"/>
                    </a:lnTo>
                    <a:lnTo>
                      <a:pt x="31" y="585"/>
                    </a:lnTo>
                    <a:lnTo>
                      <a:pt x="31" y="585"/>
                    </a:lnTo>
                    <a:lnTo>
                      <a:pt x="31" y="585"/>
                    </a:lnTo>
                    <a:lnTo>
                      <a:pt x="31" y="585"/>
                    </a:lnTo>
                    <a:lnTo>
                      <a:pt x="33" y="585"/>
                    </a:lnTo>
                    <a:lnTo>
                      <a:pt x="33" y="585"/>
                    </a:lnTo>
                    <a:lnTo>
                      <a:pt x="36" y="585"/>
                    </a:lnTo>
                    <a:lnTo>
                      <a:pt x="36" y="585"/>
                    </a:lnTo>
                    <a:lnTo>
                      <a:pt x="38" y="585"/>
                    </a:lnTo>
                    <a:lnTo>
                      <a:pt x="38" y="585"/>
                    </a:lnTo>
                    <a:lnTo>
                      <a:pt x="38" y="585"/>
                    </a:lnTo>
                    <a:lnTo>
                      <a:pt x="38" y="585"/>
                    </a:lnTo>
                    <a:lnTo>
                      <a:pt x="38" y="583"/>
                    </a:lnTo>
                    <a:lnTo>
                      <a:pt x="38" y="583"/>
                    </a:lnTo>
                    <a:lnTo>
                      <a:pt x="38" y="585"/>
                    </a:lnTo>
                    <a:lnTo>
                      <a:pt x="40" y="585"/>
                    </a:lnTo>
                    <a:lnTo>
                      <a:pt x="38" y="583"/>
                    </a:lnTo>
                    <a:lnTo>
                      <a:pt x="38" y="583"/>
                    </a:lnTo>
                    <a:lnTo>
                      <a:pt x="40" y="583"/>
                    </a:lnTo>
                    <a:lnTo>
                      <a:pt x="40" y="583"/>
                    </a:lnTo>
                    <a:lnTo>
                      <a:pt x="40" y="583"/>
                    </a:lnTo>
                    <a:lnTo>
                      <a:pt x="40" y="581"/>
                    </a:lnTo>
                    <a:lnTo>
                      <a:pt x="40" y="578"/>
                    </a:lnTo>
                    <a:lnTo>
                      <a:pt x="40" y="578"/>
                    </a:lnTo>
                    <a:lnTo>
                      <a:pt x="40" y="578"/>
                    </a:lnTo>
                    <a:lnTo>
                      <a:pt x="40" y="578"/>
                    </a:lnTo>
                    <a:lnTo>
                      <a:pt x="40" y="578"/>
                    </a:lnTo>
                    <a:lnTo>
                      <a:pt x="43" y="578"/>
                    </a:lnTo>
                    <a:lnTo>
                      <a:pt x="43" y="578"/>
                    </a:lnTo>
                    <a:lnTo>
                      <a:pt x="45" y="578"/>
                    </a:lnTo>
                    <a:lnTo>
                      <a:pt x="45" y="576"/>
                    </a:lnTo>
                    <a:lnTo>
                      <a:pt x="45" y="576"/>
                    </a:lnTo>
                    <a:lnTo>
                      <a:pt x="48" y="576"/>
                    </a:lnTo>
                    <a:lnTo>
                      <a:pt x="45" y="576"/>
                    </a:lnTo>
                    <a:lnTo>
                      <a:pt x="48" y="574"/>
                    </a:lnTo>
                    <a:lnTo>
                      <a:pt x="50" y="574"/>
                    </a:lnTo>
                    <a:lnTo>
                      <a:pt x="50" y="574"/>
                    </a:lnTo>
                    <a:lnTo>
                      <a:pt x="50" y="574"/>
                    </a:lnTo>
                    <a:lnTo>
                      <a:pt x="52" y="574"/>
                    </a:lnTo>
                    <a:lnTo>
                      <a:pt x="52" y="574"/>
                    </a:lnTo>
                    <a:lnTo>
                      <a:pt x="52" y="574"/>
                    </a:lnTo>
                    <a:lnTo>
                      <a:pt x="55" y="574"/>
                    </a:lnTo>
                    <a:lnTo>
                      <a:pt x="55" y="571"/>
                    </a:lnTo>
                    <a:lnTo>
                      <a:pt x="55" y="571"/>
                    </a:lnTo>
                    <a:lnTo>
                      <a:pt x="57" y="569"/>
                    </a:lnTo>
                    <a:lnTo>
                      <a:pt x="57" y="569"/>
                    </a:lnTo>
                    <a:lnTo>
                      <a:pt x="59" y="569"/>
                    </a:lnTo>
                    <a:lnTo>
                      <a:pt x="59" y="569"/>
                    </a:lnTo>
                    <a:lnTo>
                      <a:pt x="59" y="567"/>
                    </a:lnTo>
                    <a:lnTo>
                      <a:pt x="59" y="567"/>
                    </a:lnTo>
                    <a:lnTo>
                      <a:pt x="59" y="564"/>
                    </a:lnTo>
                    <a:lnTo>
                      <a:pt x="62" y="564"/>
                    </a:lnTo>
                    <a:lnTo>
                      <a:pt x="62" y="562"/>
                    </a:lnTo>
                    <a:lnTo>
                      <a:pt x="64" y="559"/>
                    </a:lnTo>
                    <a:lnTo>
                      <a:pt x="62" y="559"/>
                    </a:lnTo>
                    <a:lnTo>
                      <a:pt x="62" y="559"/>
                    </a:lnTo>
                    <a:lnTo>
                      <a:pt x="64" y="559"/>
                    </a:lnTo>
                    <a:lnTo>
                      <a:pt x="64" y="557"/>
                    </a:lnTo>
                    <a:lnTo>
                      <a:pt x="66" y="559"/>
                    </a:lnTo>
                    <a:lnTo>
                      <a:pt x="64" y="557"/>
                    </a:lnTo>
                    <a:lnTo>
                      <a:pt x="64" y="555"/>
                    </a:lnTo>
                    <a:lnTo>
                      <a:pt x="66" y="555"/>
                    </a:lnTo>
                    <a:lnTo>
                      <a:pt x="66" y="555"/>
                    </a:lnTo>
                    <a:lnTo>
                      <a:pt x="66" y="557"/>
                    </a:lnTo>
                    <a:lnTo>
                      <a:pt x="69" y="557"/>
                    </a:lnTo>
                    <a:lnTo>
                      <a:pt x="66" y="552"/>
                    </a:lnTo>
                    <a:lnTo>
                      <a:pt x="66" y="552"/>
                    </a:lnTo>
                    <a:lnTo>
                      <a:pt x="66" y="552"/>
                    </a:lnTo>
                    <a:lnTo>
                      <a:pt x="66" y="550"/>
                    </a:lnTo>
                    <a:lnTo>
                      <a:pt x="66" y="550"/>
                    </a:lnTo>
                    <a:lnTo>
                      <a:pt x="66" y="550"/>
                    </a:lnTo>
                    <a:lnTo>
                      <a:pt x="66" y="550"/>
                    </a:lnTo>
                    <a:lnTo>
                      <a:pt x="69" y="550"/>
                    </a:lnTo>
                    <a:lnTo>
                      <a:pt x="69" y="548"/>
                    </a:lnTo>
                    <a:lnTo>
                      <a:pt x="69" y="548"/>
                    </a:lnTo>
                    <a:lnTo>
                      <a:pt x="71" y="550"/>
                    </a:lnTo>
                    <a:lnTo>
                      <a:pt x="74" y="550"/>
                    </a:lnTo>
                    <a:lnTo>
                      <a:pt x="74" y="548"/>
                    </a:lnTo>
                    <a:lnTo>
                      <a:pt x="74" y="548"/>
                    </a:lnTo>
                    <a:lnTo>
                      <a:pt x="76" y="548"/>
                    </a:lnTo>
                    <a:lnTo>
                      <a:pt x="74" y="545"/>
                    </a:lnTo>
                    <a:lnTo>
                      <a:pt x="74" y="543"/>
                    </a:lnTo>
                    <a:lnTo>
                      <a:pt x="76" y="543"/>
                    </a:lnTo>
                    <a:lnTo>
                      <a:pt x="76" y="545"/>
                    </a:lnTo>
                    <a:lnTo>
                      <a:pt x="76" y="543"/>
                    </a:lnTo>
                    <a:lnTo>
                      <a:pt x="78" y="545"/>
                    </a:lnTo>
                    <a:lnTo>
                      <a:pt x="78" y="543"/>
                    </a:lnTo>
                    <a:lnTo>
                      <a:pt x="78" y="543"/>
                    </a:lnTo>
                    <a:lnTo>
                      <a:pt x="78" y="541"/>
                    </a:lnTo>
                    <a:lnTo>
                      <a:pt x="78" y="541"/>
                    </a:lnTo>
                    <a:lnTo>
                      <a:pt x="78" y="541"/>
                    </a:lnTo>
                    <a:lnTo>
                      <a:pt x="78" y="538"/>
                    </a:lnTo>
                    <a:lnTo>
                      <a:pt x="81" y="538"/>
                    </a:lnTo>
                    <a:lnTo>
                      <a:pt x="81" y="538"/>
                    </a:lnTo>
                    <a:lnTo>
                      <a:pt x="83" y="536"/>
                    </a:lnTo>
                    <a:lnTo>
                      <a:pt x="83" y="536"/>
                    </a:lnTo>
                    <a:lnTo>
                      <a:pt x="83" y="533"/>
                    </a:lnTo>
                    <a:lnTo>
                      <a:pt x="81" y="533"/>
                    </a:lnTo>
                    <a:lnTo>
                      <a:pt x="83" y="533"/>
                    </a:lnTo>
                    <a:lnTo>
                      <a:pt x="81" y="531"/>
                    </a:lnTo>
                    <a:lnTo>
                      <a:pt x="81" y="533"/>
                    </a:lnTo>
                    <a:lnTo>
                      <a:pt x="81" y="531"/>
                    </a:lnTo>
                    <a:lnTo>
                      <a:pt x="81" y="531"/>
                    </a:lnTo>
                    <a:lnTo>
                      <a:pt x="78" y="529"/>
                    </a:lnTo>
                    <a:lnTo>
                      <a:pt x="78" y="529"/>
                    </a:lnTo>
                    <a:lnTo>
                      <a:pt x="78" y="526"/>
                    </a:lnTo>
                    <a:lnTo>
                      <a:pt x="78" y="526"/>
                    </a:lnTo>
                    <a:lnTo>
                      <a:pt x="76" y="526"/>
                    </a:lnTo>
                    <a:lnTo>
                      <a:pt x="74" y="526"/>
                    </a:lnTo>
                    <a:lnTo>
                      <a:pt x="71" y="524"/>
                    </a:lnTo>
                    <a:lnTo>
                      <a:pt x="71" y="524"/>
                    </a:lnTo>
                    <a:lnTo>
                      <a:pt x="74" y="522"/>
                    </a:lnTo>
                    <a:lnTo>
                      <a:pt x="71" y="522"/>
                    </a:lnTo>
                    <a:lnTo>
                      <a:pt x="71" y="519"/>
                    </a:lnTo>
                    <a:lnTo>
                      <a:pt x="71" y="519"/>
                    </a:lnTo>
                    <a:lnTo>
                      <a:pt x="74" y="517"/>
                    </a:lnTo>
                    <a:lnTo>
                      <a:pt x="74" y="515"/>
                    </a:lnTo>
                    <a:lnTo>
                      <a:pt x="74" y="515"/>
                    </a:lnTo>
                    <a:lnTo>
                      <a:pt x="71" y="515"/>
                    </a:lnTo>
                    <a:lnTo>
                      <a:pt x="74" y="512"/>
                    </a:lnTo>
                    <a:lnTo>
                      <a:pt x="74" y="512"/>
                    </a:lnTo>
                    <a:lnTo>
                      <a:pt x="74" y="510"/>
                    </a:lnTo>
                    <a:lnTo>
                      <a:pt x="76" y="510"/>
                    </a:lnTo>
                    <a:lnTo>
                      <a:pt x="76" y="510"/>
                    </a:lnTo>
                    <a:lnTo>
                      <a:pt x="76" y="510"/>
                    </a:lnTo>
                    <a:lnTo>
                      <a:pt x="78" y="510"/>
                    </a:lnTo>
                    <a:lnTo>
                      <a:pt x="81" y="510"/>
                    </a:lnTo>
                    <a:lnTo>
                      <a:pt x="83" y="507"/>
                    </a:lnTo>
                    <a:lnTo>
                      <a:pt x="85" y="507"/>
                    </a:lnTo>
                    <a:lnTo>
                      <a:pt x="85" y="507"/>
                    </a:lnTo>
                    <a:lnTo>
                      <a:pt x="85" y="505"/>
                    </a:lnTo>
                    <a:lnTo>
                      <a:pt x="85" y="505"/>
                    </a:lnTo>
                    <a:lnTo>
                      <a:pt x="88" y="507"/>
                    </a:lnTo>
                    <a:lnTo>
                      <a:pt x="90" y="507"/>
                    </a:lnTo>
                    <a:lnTo>
                      <a:pt x="90" y="507"/>
                    </a:lnTo>
                    <a:lnTo>
                      <a:pt x="90" y="505"/>
                    </a:lnTo>
                    <a:lnTo>
                      <a:pt x="88" y="503"/>
                    </a:lnTo>
                    <a:lnTo>
                      <a:pt x="88" y="503"/>
                    </a:lnTo>
                    <a:lnTo>
                      <a:pt x="90" y="503"/>
                    </a:lnTo>
                    <a:lnTo>
                      <a:pt x="90" y="503"/>
                    </a:lnTo>
                    <a:lnTo>
                      <a:pt x="90" y="498"/>
                    </a:lnTo>
                    <a:lnTo>
                      <a:pt x="90" y="496"/>
                    </a:lnTo>
                    <a:lnTo>
                      <a:pt x="90" y="493"/>
                    </a:lnTo>
                    <a:lnTo>
                      <a:pt x="92" y="493"/>
                    </a:lnTo>
                    <a:lnTo>
                      <a:pt x="92" y="491"/>
                    </a:lnTo>
                    <a:lnTo>
                      <a:pt x="95" y="491"/>
                    </a:lnTo>
                    <a:lnTo>
                      <a:pt x="95" y="491"/>
                    </a:lnTo>
                    <a:lnTo>
                      <a:pt x="97" y="491"/>
                    </a:lnTo>
                    <a:lnTo>
                      <a:pt x="97" y="491"/>
                    </a:lnTo>
                    <a:lnTo>
                      <a:pt x="100" y="489"/>
                    </a:lnTo>
                    <a:lnTo>
                      <a:pt x="102" y="489"/>
                    </a:lnTo>
                    <a:lnTo>
                      <a:pt x="104" y="486"/>
                    </a:lnTo>
                    <a:lnTo>
                      <a:pt x="109" y="484"/>
                    </a:lnTo>
                    <a:lnTo>
                      <a:pt x="111" y="486"/>
                    </a:lnTo>
                    <a:lnTo>
                      <a:pt x="111" y="484"/>
                    </a:lnTo>
                    <a:lnTo>
                      <a:pt x="114" y="484"/>
                    </a:lnTo>
                    <a:lnTo>
                      <a:pt x="114" y="484"/>
                    </a:lnTo>
                    <a:lnTo>
                      <a:pt x="114" y="484"/>
                    </a:lnTo>
                    <a:lnTo>
                      <a:pt x="118" y="482"/>
                    </a:lnTo>
                    <a:lnTo>
                      <a:pt x="118" y="482"/>
                    </a:lnTo>
                    <a:lnTo>
                      <a:pt x="118" y="479"/>
                    </a:lnTo>
                    <a:lnTo>
                      <a:pt x="118" y="477"/>
                    </a:lnTo>
                    <a:lnTo>
                      <a:pt x="118" y="477"/>
                    </a:lnTo>
                    <a:lnTo>
                      <a:pt x="121" y="474"/>
                    </a:lnTo>
                    <a:lnTo>
                      <a:pt x="121" y="472"/>
                    </a:lnTo>
                    <a:lnTo>
                      <a:pt x="123" y="472"/>
                    </a:lnTo>
                    <a:lnTo>
                      <a:pt x="123" y="467"/>
                    </a:lnTo>
                    <a:lnTo>
                      <a:pt x="126" y="465"/>
                    </a:lnTo>
                    <a:lnTo>
                      <a:pt x="126" y="465"/>
                    </a:lnTo>
                    <a:lnTo>
                      <a:pt x="128" y="465"/>
                    </a:lnTo>
                    <a:lnTo>
                      <a:pt x="128" y="460"/>
                    </a:lnTo>
                    <a:lnTo>
                      <a:pt x="128" y="458"/>
                    </a:lnTo>
                    <a:lnTo>
                      <a:pt x="130" y="458"/>
                    </a:lnTo>
                    <a:lnTo>
                      <a:pt x="133" y="458"/>
                    </a:lnTo>
                    <a:lnTo>
                      <a:pt x="135" y="458"/>
                    </a:lnTo>
                    <a:lnTo>
                      <a:pt x="142" y="458"/>
                    </a:lnTo>
                    <a:lnTo>
                      <a:pt x="147" y="458"/>
                    </a:lnTo>
                    <a:lnTo>
                      <a:pt x="147" y="458"/>
                    </a:lnTo>
                    <a:lnTo>
                      <a:pt x="147" y="458"/>
                    </a:lnTo>
                    <a:lnTo>
                      <a:pt x="149" y="458"/>
                    </a:lnTo>
                    <a:lnTo>
                      <a:pt x="152" y="458"/>
                    </a:lnTo>
                    <a:lnTo>
                      <a:pt x="159" y="458"/>
                    </a:lnTo>
                    <a:lnTo>
                      <a:pt x="159" y="456"/>
                    </a:lnTo>
                    <a:lnTo>
                      <a:pt x="161" y="451"/>
                    </a:lnTo>
                    <a:lnTo>
                      <a:pt x="163" y="451"/>
                    </a:lnTo>
                    <a:lnTo>
                      <a:pt x="166" y="451"/>
                    </a:lnTo>
                    <a:lnTo>
                      <a:pt x="166" y="451"/>
                    </a:lnTo>
                    <a:lnTo>
                      <a:pt x="166" y="448"/>
                    </a:lnTo>
                    <a:lnTo>
                      <a:pt x="166" y="448"/>
                    </a:lnTo>
                    <a:lnTo>
                      <a:pt x="170" y="448"/>
                    </a:lnTo>
                    <a:lnTo>
                      <a:pt x="173" y="451"/>
                    </a:lnTo>
                    <a:lnTo>
                      <a:pt x="175" y="448"/>
                    </a:lnTo>
                    <a:lnTo>
                      <a:pt x="175" y="446"/>
                    </a:lnTo>
                    <a:lnTo>
                      <a:pt x="177" y="444"/>
                    </a:lnTo>
                    <a:lnTo>
                      <a:pt x="177" y="441"/>
                    </a:lnTo>
                    <a:lnTo>
                      <a:pt x="182" y="439"/>
                    </a:lnTo>
                    <a:lnTo>
                      <a:pt x="185" y="437"/>
                    </a:lnTo>
                    <a:lnTo>
                      <a:pt x="185" y="434"/>
                    </a:lnTo>
                    <a:lnTo>
                      <a:pt x="189" y="427"/>
                    </a:lnTo>
                    <a:lnTo>
                      <a:pt x="189" y="427"/>
                    </a:lnTo>
                    <a:lnTo>
                      <a:pt x="192" y="422"/>
                    </a:lnTo>
                    <a:lnTo>
                      <a:pt x="192" y="422"/>
                    </a:lnTo>
                    <a:lnTo>
                      <a:pt x="187" y="415"/>
                    </a:lnTo>
                    <a:lnTo>
                      <a:pt x="187" y="413"/>
                    </a:lnTo>
                    <a:lnTo>
                      <a:pt x="187" y="413"/>
                    </a:lnTo>
                    <a:lnTo>
                      <a:pt x="187" y="411"/>
                    </a:lnTo>
                    <a:lnTo>
                      <a:pt x="189" y="411"/>
                    </a:lnTo>
                    <a:lnTo>
                      <a:pt x="192" y="413"/>
                    </a:lnTo>
                    <a:lnTo>
                      <a:pt x="192" y="413"/>
                    </a:lnTo>
                    <a:lnTo>
                      <a:pt x="194" y="413"/>
                    </a:lnTo>
                    <a:lnTo>
                      <a:pt x="194" y="413"/>
                    </a:lnTo>
                    <a:lnTo>
                      <a:pt x="194" y="411"/>
                    </a:lnTo>
                    <a:lnTo>
                      <a:pt x="194" y="408"/>
                    </a:lnTo>
                    <a:lnTo>
                      <a:pt x="194" y="408"/>
                    </a:lnTo>
                    <a:lnTo>
                      <a:pt x="196" y="406"/>
                    </a:lnTo>
                    <a:lnTo>
                      <a:pt x="196" y="406"/>
                    </a:lnTo>
                    <a:lnTo>
                      <a:pt x="196" y="404"/>
                    </a:lnTo>
                    <a:lnTo>
                      <a:pt x="196" y="404"/>
                    </a:lnTo>
                    <a:lnTo>
                      <a:pt x="196" y="401"/>
                    </a:lnTo>
                    <a:lnTo>
                      <a:pt x="199" y="399"/>
                    </a:lnTo>
                    <a:lnTo>
                      <a:pt x="199" y="399"/>
                    </a:lnTo>
                    <a:lnTo>
                      <a:pt x="196" y="396"/>
                    </a:lnTo>
                    <a:lnTo>
                      <a:pt x="196" y="394"/>
                    </a:lnTo>
                    <a:lnTo>
                      <a:pt x="201" y="389"/>
                    </a:lnTo>
                    <a:lnTo>
                      <a:pt x="201" y="389"/>
                    </a:lnTo>
                    <a:lnTo>
                      <a:pt x="199" y="387"/>
                    </a:lnTo>
                    <a:lnTo>
                      <a:pt x="199" y="382"/>
                    </a:lnTo>
                    <a:lnTo>
                      <a:pt x="201" y="380"/>
                    </a:lnTo>
                    <a:lnTo>
                      <a:pt x="201" y="380"/>
                    </a:lnTo>
                    <a:lnTo>
                      <a:pt x="203" y="378"/>
                    </a:lnTo>
                    <a:lnTo>
                      <a:pt x="203" y="375"/>
                    </a:lnTo>
                    <a:lnTo>
                      <a:pt x="203" y="375"/>
                    </a:lnTo>
                    <a:lnTo>
                      <a:pt x="201" y="373"/>
                    </a:lnTo>
                    <a:lnTo>
                      <a:pt x="201" y="370"/>
                    </a:lnTo>
                    <a:lnTo>
                      <a:pt x="203" y="368"/>
                    </a:lnTo>
                    <a:lnTo>
                      <a:pt x="203" y="366"/>
                    </a:lnTo>
                    <a:lnTo>
                      <a:pt x="206" y="363"/>
                    </a:lnTo>
                    <a:lnTo>
                      <a:pt x="211" y="363"/>
                    </a:lnTo>
                    <a:lnTo>
                      <a:pt x="211" y="363"/>
                    </a:lnTo>
                    <a:lnTo>
                      <a:pt x="213" y="356"/>
                    </a:lnTo>
                    <a:lnTo>
                      <a:pt x="215" y="356"/>
                    </a:lnTo>
                    <a:lnTo>
                      <a:pt x="218" y="352"/>
                    </a:lnTo>
                    <a:lnTo>
                      <a:pt x="220" y="349"/>
                    </a:lnTo>
                    <a:lnTo>
                      <a:pt x="220" y="349"/>
                    </a:lnTo>
                    <a:lnTo>
                      <a:pt x="225" y="349"/>
                    </a:lnTo>
                    <a:lnTo>
                      <a:pt x="227" y="347"/>
                    </a:lnTo>
                    <a:lnTo>
                      <a:pt x="229" y="347"/>
                    </a:lnTo>
                    <a:lnTo>
                      <a:pt x="229" y="347"/>
                    </a:lnTo>
                    <a:lnTo>
                      <a:pt x="232" y="342"/>
                    </a:lnTo>
                    <a:lnTo>
                      <a:pt x="234" y="342"/>
                    </a:lnTo>
                    <a:lnTo>
                      <a:pt x="239" y="345"/>
                    </a:lnTo>
                    <a:lnTo>
                      <a:pt x="241" y="342"/>
                    </a:lnTo>
                    <a:lnTo>
                      <a:pt x="241" y="340"/>
                    </a:lnTo>
                    <a:lnTo>
                      <a:pt x="244" y="337"/>
                    </a:lnTo>
                    <a:lnTo>
                      <a:pt x="244" y="337"/>
                    </a:lnTo>
                    <a:lnTo>
                      <a:pt x="248" y="340"/>
                    </a:lnTo>
                    <a:lnTo>
                      <a:pt x="248" y="345"/>
                    </a:lnTo>
                    <a:lnTo>
                      <a:pt x="248" y="347"/>
                    </a:lnTo>
                    <a:lnTo>
                      <a:pt x="251" y="347"/>
                    </a:lnTo>
                    <a:lnTo>
                      <a:pt x="255" y="347"/>
                    </a:lnTo>
                    <a:lnTo>
                      <a:pt x="260" y="342"/>
                    </a:lnTo>
                    <a:lnTo>
                      <a:pt x="267" y="340"/>
                    </a:lnTo>
                    <a:lnTo>
                      <a:pt x="267" y="337"/>
                    </a:lnTo>
                    <a:lnTo>
                      <a:pt x="270" y="335"/>
                    </a:lnTo>
                    <a:lnTo>
                      <a:pt x="270" y="335"/>
                    </a:lnTo>
                    <a:lnTo>
                      <a:pt x="274" y="330"/>
                    </a:lnTo>
                    <a:lnTo>
                      <a:pt x="277" y="330"/>
                    </a:lnTo>
                    <a:lnTo>
                      <a:pt x="277" y="330"/>
                    </a:lnTo>
                    <a:lnTo>
                      <a:pt x="274" y="328"/>
                    </a:lnTo>
                    <a:lnTo>
                      <a:pt x="274" y="326"/>
                    </a:lnTo>
                    <a:lnTo>
                      <a:pt x="274" y="323"/>
                    </a:lnTo>
                    <a:lnTo>
                      <a:pt x="274" y="321"/>
                    </a:lnTo>
                    <a:lnTo>
                      <a:pt x="277" y="316"/>
                    </a:lnTo>
                    <a:lnTo>
                      <a:pt x="279" y="316"/>
                    </a:lnTo>
                    <a:lnTo>
                      <a:pt x="281" y="314"/>
                    </a:lnTo>
                    <a:lnTo>
                      <a:pt x="279" y="311"/>
                    </a:lnTo>
                    <a:lnTo>
                      <a:pt x="279" y="309"/>
                    </a:lnTo>
                    <a:lnTo>
                      <a:pt x="279" y="307"/>
                    </a:lnTo>
                    <a:lnTo>
                      <a:pt x="281" y="307"/>
                    </a:lnTo>
                    <a:lnTo>
                      <a:pt x="281" y="304"/>
                    </a:lnTo>
                    <a:lnTo>
                      <a:pt x="284" y="302"/>
                    </a:lnTo>
                    <a:lnTo>
                      <a:pt x="284" y="302"/>
                    </a:lnTo>
                    <a:lnTo>
                      <a:pt x="281" y="300"/>
                    </a:lnTo>
                    <a:lnTo>
                      <a:pt x="284" y="297"/>
                    </a:lnTo>
                    <a:lnTo>
                      <a:pt x="284" y="297"/>
                    </a:lnTo>
                    <a:lnTo>
                      <a:pt x="286" y="290"/>
                    </a:lnTo>
                    <a:lnTo>
                      <a:pt x="286" y="288"/>
                    </a:lnTo>
                    <a:lnTo>
                      <a:pt x="291" y="281"/>
                    </a:lnTo>
                    <a:lnTo>
                      <a:pt x="289" y="276"/>
                    </a:lnTo>
                    <a:lnTo>
                      <a:pt x="291" y="274"/>
                    </a:lnTo>
                    <a:lnTo>
                      <a:pt x="289" y="271"/>
                    </a:lnTo>
                    <a:lnTo>
                      <a:pt x="289" y="271"/>
                    </a:lnTo>
                    <a:lnTo>
                      <a:pt x="289" y="269"/>
                    </a:lnTo>
                    <a:lnTo>
                      <a:pt x="286" y="267"/>
                    </a:lnTo>
                    <a:lnTo>
                      <a:pt x="286" y="264"/>
                    </a:lnTo>
                    <a:lnTo>
                      <a:pt x="289" y="262"/>
                    </a:lnTo>
                    <a:lnTo>
                      <a:pt x="289" y="262"/>
                    </a:lnTo>
                    <a:lnTo>
                      <a:pt x="286" y="257"/>
                    </a:lnTo>
                    <a:lnTo>
                      <a:pt x="289" y="257"/>
                    </a:lnTo>
                    <a:lnTo>
                      <a:pt x="289" y="255"/>
                    </a:lnTo>
                    <a:lnTo>
                      <a:pt x="289" y="250"/>
                    </a:lnTo>
                    <a:lnTo>
                      <a:pt x="289" y="248"/>
                    </a:lnTo>
                    <a:lnTo>
                      <a:pt x="291" y="243"/>
                    </a:lnTo>
                    <a:lnTo>
                      <a:pt x="293" y="238"/>
                    </a:lnTo>
                    <a:lnTo>
                      <a:pt x="296" y="236"/>
                    </a:lnTo>
                    <a:lnTo>
                      <a:pt x="298" y="233"/>
                    </a:lnTo>
                    <a:lnTo>
                      <a:pt x="298" y="231"/>
                    </a:lnTo>
                    <a:lnTo>
                      <a:pt x="296" y="226"/>
                    </a:lnTo>
                    <a:lnTo>
                      <a:pt x="296" y="226"/>
                    </a:lnTo>
                    <a:lnTo>
                      <a:pt x="298" y="226"/>
                    </a:lnTo>
                    <a:lnTo>
                      <a:pt x="298" y="226"/>
                    </a:lnTo>
                    <a:lnTo>
                      <a:pt x="300" y="226"/>
                    </a:lnTo>
                    <a:lnTo>
                      <a:pt x="303" y="226"/>
                    </a:lnTo>
                    <a:lnTo>
                      <a:pt x="305" y="224"/>
                    </a:lnTo>
                    <a:lnTo>
                      <a:pt x="307" y="224"/>
                    </a:lnTo>
                    <a:lnTo>
                      <a:pt x="307" y="219"/>
                    </a:lnTo>
                    <a:lnTo>
                      <a:pt x="305" y="215"/>
                    </a:lnTo>
                    <a:lnTo>
                      <a:pt x="305" y="210"/>
                    </a:lnTo>
                    <a:lnTo>
                      <a:pt x="303" y="207"/>
                    </a:lnTo>
                    <a:lnTo>
                      <a:pt x="303" y="205"/>
                    </a:lnTo>
                    <a:lnTo>
                      <a:pt x="305" y="203"/>
                    </a:lnTo>
                    <a:lnTo>
                      <a:pt x="305" y="200"/>
                    </a:lnTo>
                    <a:lnTo>
                      <a:pt x="305" y="198"/>
                    </a:lnTo>
                    <a:lnTo>
                      <a:pt x="305" y="196"/>
                    </a:lnTo>
                    <a:lnTo>
                      <a:pt x="305" y="196"/>
                    </a:lnTo>
                    <a:lnTo>
                      <a:pt x="305" y="193"/>
                    </a:lnTo>
                    <a:lnTo>
                      <a:pt x="305" y="191"/>
                    </a:lnTo>
                    <a:lnTo>
                      <a:pt x="305" y="189"/>
                    </a:lnTo>
                    <a:lnTo>
                      <a:pt x="305" y="186"/>
                    </a:lnTo>
                    <a:lnTo>
                      <a:pt x="305" y="184"/>
                    </a:lnTo>
                    <a:lnTo>
                      <a:pt x="305" y="179"/>
                    </a:lnTo>
                    <a:lnTo>
                      <a:pt x="303" y="177"/>
                    </a:lnTo>
                    <a:lnTo>
                      <a:pt x="303" y="174"/>
                    </a:lnTo>
                    <a:lnTo>
                      <a:pt x="305" y="174"/>
                    </a:lnTo>
                    <a:lnTo>
                      <a:pt x="305" y="174"/>
                    </a:lnTo>
                    <a:lnTo>
                      <a:pt x="307" y="172"/>
                    </a:lnTo>
                    <a:lnTo>
                      <a:pt x="307" y="174"/>
                    </a:lnTo>
                    <a:lnTo>
                      <a:pt x="312" y="170"/>
                    </a:lnTo>
                    <a:lnTo>
                      <a:pt x="312" y="165"/>
                    </a:lnTo>
                    <a:lnTo>
                      <a:pt x="315" y="160"/>
                    </a:lnTo>
                    <a:lnTo>
                      <a:pt x="315" y="158"/>
                    </a:lnTo>
                    <a:lnTo>
                      <a:pt x="317" y="151"/>
                    </a:lnTo>
                    <a:lnTo>
                      <a:pt x="319" y="146"/>
                    </a:lnTo>
                    <a:lnTo>
                      <a:pt x="322" y="144"/>
                    </a:lnTo>
                    <a:lnTo>
                      <a:pt x="324" y="141"/>
                    </a:lnTo>
                    <a:lnTo>
                      <a:pt x="326" y="139"/>
                    </a:lnTo>
                    <a:lnTo>
                      <a:pt x="329" y="137"/>
                    </a:lnTo>
                    <a:lnTo>
                      <a:pt x="329" y="137"/>
                    </a:lnTo>
                    <a:lnTo>
                      <a:pt x="329" y="132"/>
                    </a:lnTo>
                    <a:lnTo>
                      <a:pt x="329" y="130"/>
                    </a:lnTo>
                    <a:lnTo>
                      <a:pt x="331" y="127"/>
                    </a:lnTo>
                    <a:lnTo>
                      <a:pt x="331" y="125"/>
                    </a:lnTo>
                    <a:lnTo>
                      <a:pt x="333" y="125"/>
                    </a:lnTo>
                    <a:lnTo>
                      <a:pt x="336" y="122"/>
                    </a:lnTo>
                    <a:lnTo>
                      <a:pt x="336" y="120"/>
                    </a:lnTo>
                    <a:lnTo>
                      <a:pt x="336" y="115"/>
                    </a:lnTo>
                    <a:lnTo>
                      <a:pt x="338" y="115"/>
                    </a:lnTo>
                    <a:lnTo>
                      <a:pt x="338" y="113"/>
                    </a:lnTo>
                    <a:lnTo>
                      <a:pt x="338" y="108"/>
                    </a:lnTo>
                    <a:lnTo>
                      <a:pt x="338" y="108"/>
                    </a:lnTo>
                    <a:lnTo>
                      <a:pt x="338" y="106"/>
                    </a:lnTo>
                    <a:lnTo>
                      <a:pt x="336" y="106"/>
                    </a:lnTo>
                    <a:lnTo>
                      <a:pt x="338" y="104"/>
                    </a:lnTo>
                    <a:lnTo>
                      <a:pt x="338" y="101"/>
                    </a:lnTo>
                    <a:lnTo>
                      <a:pt x="338" y="99"/>
                    </a:lnTo>
                    <a:lnTo>
                      <a:pt x="338" y="94"/>
                    </a:lnTo>
                    <a:lnTo>
                      <a:pt x="338" y="92"/>
                    </a:lnTo>
                    <a:lnTo>
                      <a:pt x="338" y="92"/>
                    </a:lnTo>
                    <a:lnTo>
                      <a:pt x="336" y="89"/>
                    </a:lnTo>
                    <a:lnTo>
                      <a:pt x="336" y="87"/>
                    </a:lnTo>
                    <a:lnTo>
                      <a:pt x="340" y="87"/>
                    </a:lnTo>
                    <a:lnTo>
                      <a:pt x="340" y="85"/>
                    </a:lnTo>
                    <a:lnTo>
                      <a:pt x="340" y="85"/>
                    </a:lnTo>
                    <a:lnTo>
                      <a:pt x="338" y="82"/>
                    </a:lnTo>
                    <a:lnTo>
                      <a:pt x="338" y="80"/>
                    </a:lnTo>
                    <a:lnTo>
                      <a:pt x="340" y="80"/>
                    </a:lnTo>
                    <a:lnTo>
                      <a:pt x="340" y="80"/>
                    </a:lnTo>
                    <a:lnTo>
                      <a:pt x="343" y="80"/>
                    </a:lnTo>
                    <a:lnTo>
                      <a:pt x="343" y="78"/>
                    </a:lnTo>
                    <a:lnTo>
                      <a:pt x="348" y="78"/>
                    </a:lnTo>
                    <a:lnTo>
                      <a:pt x="348" y="73"/>
                    </a:lnTo>
                    <a:lnTo>
                      <a:pt x="348" y="70"/>
                    </a:lnTo>
                    <a:lnTo>
                      <a:pt x="348" y="68"/>
                    </a:lnTo>
                    <a:lnTo>
                      <a:pt x="350" y="66"/>
                    </a:lnTo>
                    <a:lnTo>
                      <a:pt x="350" y="63"/>
                    </a:lnTo>
                    <a:lnTo>
                      <a:pt x="348" y="61"/>
                    </a:lnTo>
                    <a:lnTo>
                      <a:pt x="350" y="59"/>
                    </a:lnTo>
                    <a:lnTo>
                      <a:pt x="350" y="59"/>
                    </a:lnTo>
                    <a:lnTo>
                      <a:pt x="350" y="56"/>
                    </a:lnTo>
                    <a:lnTo>
                      <a:pt x="350" y="56"/>
                    </a:lnTo>
                    <a:lnTo>
                      <a:pt x="352" y="56"/>
                    </a:lnTo>
                    <a:lnTo>
                      <a:pt x="350" y="52"/>
                    </a:lnTo>
                    <a:lnTo>
                      <a:pt x="352" y="52"/>
                    </a:lnTo>
                    <a:lnTo>
                      <a:pt x="352" y="52"/>
                    </a:lnTo>
                    <a:lnTo>
                      <a:pt x="352" y="49"/>
                    </a:lnTo>
                    <a:lnTo>
                      <a:pt x="352" y="49"/>
                    </a:lnTo>
                    <a:lnTo>
                      <a:pt x="352" y="49"/>
                    </a:lnTo>
                    <a:lnTo>
                      <a:pt x="352" y="47"/>
                    </a:lnTo>
                    <a:lnTo>
                      <a:pt x="352" y="47"/>
                    </a:lnTo>
                    <a:lnTo>
                      <a:pt x="352" y="45"/>
                    </a:lnTo>
                    <a:lnTo>
                      <a:pt x="355" y="45"/>
                    </a:lnTo>
                    <a:lnTo>
                      <a:pt x="352" y="45"/>
                    </a:lnTo>
                    <a:lnTo>
                      <a:pt x="352" y="42"/>
                    </a:lnTo>
                    <a:lnTo>
                      <a:pt x="352" y="42"/>
                    </a:lnTo>
                    <a:lnTo>
                      <a:pt x="355" y="42"/>
                    </a:lnTo>
                    <a:lnTo>
                      <a:pt x="355" y="40"/>
                    </a:lnTo>
                    <a:lnTo>
                      <a:pt x="357" y="40"/>
                    </a:lnTo>
                    <a:lnTo>
                      <a:pt x="357" y="40"/>
                    </a:lnTo>
                    <a:lnTo>
                      <a:pt x="359" y="40"/>
                    </a:lnTo>
                    <a:lnTo>
                      <a:pt x="357" y="37"/>
                    </a:lnTo>
                    <a:lnTo>
                      <a:pt x="359" y="37"/>
                    </a:lnTo>
                    <a:lnTo>
                      <a:pt x="357" y="35"/>
                    </a:lnTo>
                    <a:lnTo>
                      <a:pt x="359" y="35"/>
                    </a:lnTo>
                    <a:lnTo>
                      <a:pt x="359" y="35"/>
                    </a:lnTo>
                    <a:lnTo>
                      <a:pt x="357" y="35"/>
                    </a:lnTo>
                    <a:lnTo>
                      <a:pt x="357" y="35"/>
                    </a:lnTo>
                    <a:lnTo>
                      <a:pt x="357" y="35"/>
                    </a:lnTo>
                    <a:lnTo>
                      <a:pt x="359" y="33"/>
                    </a:lnTo>
                    <a:lnTo>
                      <a:pt x="359" y="35"/>
                    </a:lnTo>
                    <a:lnTo>
                      <a:pt x="362" y="33"/>
                    </a:lnTo>
                    <a:lnTo>
                      <a:pt x="359" y="30"/>
                    </a:lnTo>
                    <a:lnTo>
                      <a:pt x="362" y="30"/>
                    </a:lnTo>
                    <a:lnTo>
                      <a:pt x="362" y="30"/>
                    </a:lnTo>
                    <a:lnTo>
                      <a:pt x="364" y="28"/>
                    </a:lnTo>
                    <a:lnTo>
                      <a:pt x="362" y="28"/>
                    </a:lnTo>
                    <a:lnTo>
                      <a:pt x="364" y="26"/>
                    </a:lnTo>
                    <a:lnTo>
                      <a:pt x="364" y="26"/>
                    </a:lnTo>
                    <a:lnTo>
                      <a:pt x="366" y="26"/>
                    </a:lnTo>
                    <a:lnTo>
                      <a:pt x="366" y="23"/>
                    </a:lnTo>
                    <a:lnTo>
                      <a:pt x="366" y="23"/>
                    </a:lnTo>
                    <a:lnTo>
                      <a:pt x="366" y="21"/>
                    </a:lnTo>
                    <a:lnTo>
                      <a:pt x="366" y="21"/>
                    </a:lnTo>
                    <a:lnTo>
                      <a:pt x="366" y="21"/>
                    </a:lnTo>
                    <a:lnTo>
                      <a:pt x="369" y="21"/>
                    </a:lnTo>
                    <a:lnTo>
                      <a:pt x="369" y="19"/>
                    </a:lnTo>
                    <a:lnTo>
                      <a:pt x="369" y="19"/>
                    </a:lnTo>
                    <a:lnTo>
                      <a:pt x="371" y="19"/>
                    </a:lnTo>
                    <a:lnTo>
                      <a:pt x="371" y="19"/>
                    </a:lnTo>
                    <a:lnTo>
                      <a:pt x="371" y="16"/>
                    </a:lnTo>
                    <a:lnTo>
                      <a:pt x="371" y="16"/>
                    </a:lnTo>
                    <a:lnTo>
                      <a:pt x="374" y="19"/>
                    </a:lnTo>
                    <a:lnTo>
                      <a:pt x="374" y="16"/>
                    </a:lnTo>
                    <a:lnTo>
                      <a:pt x="371" y="16"/>
                    </a:lnTo>
                    <a:lnTo>
                      <a:pt x="371" y="16"/>
                    </a:lnTo>
                    <a:lnTo>
                      <a:pt x="374" y="14"/>
                    </a:lnTo>
                    <a:lnTo>
                      <a:pt x="376" y="14"/>
                    </a:lnTo>
                    <a:lnTo>
                      <a:pt x="376" y="11"/>
                    </a:lnTo>
                    <a:lnTo>
                      <a:pt x="378" y="11"/>
                    </a:lnTo>
                    <a:lnTo>
                      <a:pt x="381" y="11"/>
                    </a:lnTo>
                    <a:lnTo>
                      <a:pt x="381" y="9"/>
                    </a:lnTo>
                    <a:lnTo>
                      <a:pt x="383" y="9"/>
                    </a:lnTo>
                    <a:lnTo>
                      <a:pt x="385" y="7"/>
                    </a:lnTo>
                    <a:lnTo>
                      <a:pt x="388" y="7"/>
                    </a:lnTo>
                    <a:lnTo>
                      <a:pt x="385" y="7"/>
                    </a:lnTo>
                    <a:lnTo>
                      <a:pt x="385" y="7"/>
                    </a:lnTo>
                    <a:lnTo>
                      <a:pt x="388" y="7"/>
                    </a:lnTo>
                    <a:lnTo>
                      <a:pt x="390" y="7"/>
                    </a:lnTo>
                    <a:lnTo>
                      <a:pt x="390" y="4"/>
                    </a:lnTo>
                    <a:lnTo>
                      <a:pt x="388" y="4"/>
                    </a:lnTo>
                    <a:lnTo>
                      <a:pt x="388" y="4"/>
                    </a:lnTo>
                    <a:lnTo>
                      <a:pt x="388" y="4"/>
                    </a:lnTo>
                    <a:lnTo>
                      <a:pt x="388" y="4"/>
                    </a:lnTo>
                    <a:lnTo>
                      <a:pt x="390" y="4"/>
                    </a:lnTo>
                    <a:lnTo>
                      <a:pt x="390" y="4"/>
                    </a:lnTo>
                    <a:lnTo>
                      <a:pt x="390" y="4"/>
                    </a:lnTo>
                    <a:lnTo>
                      <a:pt x="390" y="2"/>
                    </a:lnTo>
                    <a:lnTo>
                      <a:pt x="395" y="0"/>
                    </a:lnTo>
                    <a:lnTo>
                      <a:pt x="392" y="4"/>
                    </a:lnTo>
                    <a:lnTo>
                      <a:pt x="392" y="7"/>
                    </a:lnTo>
                    <a:lnTo>
                      <a:pt x="392" y="7"/>
                    </a:lnTo>
                    <a:lnTo>
                      <a:pt x="392" y="7"/>
                    </a:lnTo>
                    <a:lnTo>
                      <a:pt x="390" y="7"/>
                    </a:lnTo>
                    <a:lnTo>
                      <a:pt x="390" y="7"/>
                    </a:lnTo>
                    <a:lnTo>
                      <a:pt x="390" y="9"/>
                    </a:lnTo>
                    <a:lnTo>
                      <a:pt x="388" y="9"/>
                    </a:lnTo>
                    <a:lnTo>
                      <a:pt x="388" y="9"/>
                    </a:lnTo>
                    <a:lnTo>
                      <a:pt x="388" y="11"/>
                    </a:lnTo>
                    <a:lnTo>
                      <a:pt x="385" y="14"/>
                    </a:lnTo>
                    <a:lnTo>
                      <a:pt x="385" y="14"/>
                    </a:lnTo>
                    <a:lnTo>
                      <a:pt x="385" y="16"/>
                    </a:lnTo>
                    <a:lnTo>
                      <a:pt x="383" y="19"/>
                    </a:lnTo>
                    <a:lnTo>
                      <a:pt x="385" y="21"/>
                    </a:lnTo>
                    <a:lnTo>
                      <a:pt x="385" y="21"/>
                    </a:lnTo>
                    <a:lnTo>
                      <a:pt x="385" y="23"/>
                    </a:lnTo>
                    <a:lnTo>
                      <a:pt x="388" y="23"/>
                    </a:lnTo>
                    <a:lnTo>
                      <a:pt x="388" y="21"/>
                    </a:lnTo>
                    <a:lnTo>
                      <a:pt x="388" y="23"/>
                    </a:lnTo>
                    <a:lnTo>
                      <a:pt x="388" y="23"/>
                    </a:lnTo>
                    <a:lnTo>
                      <a:pt x="388" y="23"/>
                    </a:lnTo>
                    <a:lnTo>
                      <a:pt x="388" y="23"/>
                    </a:lnTo>
                    <a:lnTo>
                      <a:pt x="385" y="26"/>
                    </a:lnTo>
                    <a:lnTo>
                      <a:pt x="383" y="26"/>
                    </a:lnTo>
                    <a:lnTo>
                      <a:pt x="383" y="26"/>
                    </a:lnTo>
                    <a:lnTo>
                      <a:pt x="383" y="26"/>
                    </a:lnTo>
                    <a:lnTo>
                      <a:pt x="381" y="28"/>
                    </a:lnTo>
                    <a:lnTo>
                      <a:pt x="383" y="30"/>
                    </a:lnTo>
                    <a:lnTo>
                      <a:pt x="381" y="33"/>
                    </a:lnTo>
                    <a:lnTo>
                      <a:pt x="381" y="30"/>
                    </a:lnTo>
                    <a:lnTo>
                      <a:pt x="381" y="33"/>
                    </a:lnTo>
                    <a:lnTo>
                      <a:pt x="381" y="33"/>
                    </a:lnTo>
                    <a:lnTo>
                      <a:pt x="378" y="35"/>
                    </a:lnTo>
                    <a:lnTo>
                      <a:pt x="378" y="35"/>
                    </a:lnTo>
                    <a:lnTo>
                      <a:pt x="378" y="37"/>
                    </a:lnTo>
                    <a:lnTo>
                      <a:pt x="378" y="40"/>
                    </a:lnTo>
                    <a:lnTo>
                      <a:pt x="378" y="40"/>
                    </a:lnTo>
                    <a:lnTo>
                      <a:pt x="378" y="37"/>
                    </a:lnTo>
                    <a:lnTo>
                      <a:pt x="378" y="40"/>
                    </a:lnTo>
                    <a:lnTo>
                      <a:pt x="376" y="40"/>
                    </a:lnTo>
                    <a:lnTo>
                      <a:pt x="376" y="40"/>
                    </a:lnTo>
                    <a:lnTo>
                      <a:pt x="376" y="40"/>
                    </a:lnTo>
                    <a:lnTo>
                      <a:pt x="376" y="40"/>
                    </a:lnTo>
                    <a:lnTo>
                      <a:pt x="376" y="37"/>
                    </a:lnTo>
                    <a:lnTo>
                      <a:pt x="376" y="40"/>
                    </a:lnTo>
                    <a:lnTo>
                      <a:pt x="376" y="40"/>
                    </a:lnTo>
                    <a:lnTo>
                      <a:pt x="376" y="42"/>
                    </a:lnTo>
                    <a:lnTo>
                      <a:pt x="376" y="42"/>
                    </a:lnTo>
                    <a:lnTo>
                      <a:pt x="376" y="42"/>
                    </a:lnTo>
                    <a:lnTo>
                      <a:pt x="376" y="45"/>
                    </a:lnTo>
                    <a:lnTo>
                      <a:pt x="376" y="47"/>
                    </a:lnTo>
                    <a:lnTo>
                      <a:pt x="376" y="47"/>
                    </a:lnTo>
                    <a:lnTo>
                      <a:pt x="376" y="47"/>
                    </a:lnTo>
                    <a:lnTo>
                      <a:pt x="376" y="49"/>
                    </a:lnTo>
                    <a:lnTo>
                      <a:pt x="374" y="49"/>
                    </a:lnTo>
                    <a:lnTo>
                      <a:pt x="376" y="52"/>
                    </a:lnTo>
                    <a:lnTo>
                      <a:pt x="374" y="52"/>
                    </a:lnTo>
                    <a:lnTo>
                      <a:pt x="374" y="54"/>
                    </a:lnTo>
                    <a:lnTo>
                      <a:pt x="374" y="54"/>
                    </a:lnTo>
                    <a:lnTo>
                      <a:pt x="374" y="56"/>
                    </a:lnTo>
                    <a:lnTo>
                      <a:pt x="376" y="56"/>
                    </a:lnTo>
                    <a:lnTo>
                      <a:pt x="376" y="59"/>
                    </a:lnTo>
                    <a:lnTo>
                      <a:pt x="376" y="59"/>
                    </a:lnTo>
                    <a:lnTo>
                      <a:pt x="376" y="59"/>
                    </a:lnTo>
                    <a:lnTo>
                      <a:pt x="376" y="59"/>
                    </a:lnTo>
                    <a:lnTo>
                      <a:pt x="376" y="59"/>
                    </a:lnTo>
                    <a:lnTo>
                      <a:pt x="378" y="59"/>
                    </a:lnTo>
                    <a:lnTo>
                      <a:pt x="378" y="61"/>
                    </a:lnTo>
                    <a:lnTo>
                      <a:pt x="378" y="59"/>
                    </a:lnTo>
                    <a:lnTo>
                      <a:pt x="381" y="61"/>
                    </a:lnTo>
                    <a:lnTo>
                      <a:pt x="378" y="61"/>
                    </a:lnTo>
                    <a:lnTo>
                      <a:pt x="381" y="61"/>
                    </a:lnTo>
                    <a:lnTo>
                      <a:pt x="381" y="61"/>
                    </a:lnTo>
                    <a:lnTo>
                      <a:pt x="383" y="61"/>
                    </a:lnTo>
                    <a:lnTo>
                      <a:pt x="383" y="61"/>
                    </a:lnTo>
                    <a:lnTo>
                      <a:pt x="383" y="61"/>
                    </a:lnTo>
                    <a:lnTo>
                      <a:pt x="383" y="61"/>
                    </a:lnTo>
                    <a:lnTo>
                      <a:pt x="385" y="61"/>
                    </a:lnTo>
                    <a:lnTo>
                      <a:pt x="385" y="63"/>
                    </a:lnTo>
                    <a:lnTo>
                      <a:pt x="385" y="63"/>
                    </a:lnTo>
                    <a:lnTo>
                      <a:pt x="385" y="63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90" y="68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90" y="68"/>
                    </a:lnTo>
                    <a:lnTo>
                      <a:pt x="392" y="66"/>
                    </a:lnTo>
                    <a:lnTo>
                      <a:pt x="395" y="68"/>
                    </a:lnTo>
                    <a:lnTo>
                      <a:pt x="397" y="68"/>
                    </a:lnTo>
                    <a:lnTo>
                      <a:pt x="400" y="68"/>
                    </a:lnTo>
                    <a:lnTo>
                      <a:pt x="400" y="68"/>
                    </a:lnTo>
                    <a:lnTo>
                      <a:pt x="404" y="68"/>
                    </a:lnTo>
                    <a:lnTo>
                      <a:pt x="404" y="70"/>
                    </a:lnTo>
                    <a:lnTo>
                      <a:pt x="407" y="70"/>
                    </a:lnTo>
                    <a:lnTo>
                      <a:pt x="407" y="70"/>
                    </a:lnTo>
                    <a:lnTo>
                      <a:pt x="409" y="70"/>
                    </a:lnTo>
                    <a:lnTo>
                      <a:pt x="411" y="70"/>
                    </a:lnTo>
                    <a:lnTo>
                      <a:pt x="414" y="70"/>
                    </a:lnTo>
                    <a:lnTo>
                      <a:pt x="414" y="73"/>
                    </a:lnTo>
                    <a:lnTo>
                      <a:pt x="416" y="73"/>
                    </a:lnTo>
                    <a:lnTo>
                      <a:pt x="418" y="75"/>
                    </a:lnTo>
                    <a:lnTo>
                      <a:pt x="421" y="75"/>
                    </a:lnTo>
                    <a:lnTo>
                      <a:pt x="423" y="75"/>
                    </a:lnTo>
                    <a:lnTo>
                      <a:pt x="423" y="75"/>
                    </a:lnTo>
                    <a:lnTo>
                      <a:pt x="426" y="78"/>
                    </a:lnTo>
                    <a:lnTo>
                      <a:pt x="463" y="99"/>
                    </a:lnTo>
                    <a:lnTo>
                      <a:pt x="480" y="108"/>
                    </a:lnTo>
                    <a:lnTo>
                      <a:pt x="492" y="115"/>
                    </a:lnTo>
                    <a:lnTo>
                      <a:pt x="496" y="113"/>
                    </a:lnTo>
                    <a:lnTo>
                      <a:pt x="496" y="111"/>
                    </a:lnTo>
                    <a:lnTo>
                      <a:pt x="496" y="111"/>
                    </a:lnTo>
                    <a:lnTo>
                      <a:pt x="496" y="108"/>
                    </a:lnTo>
                    <a:lnTo>
                      <a:pt x="496" y="106"/>
                    </a:lnTo>
                    <a:lnTo>
                      <a:pt x="496" y="106"/>
                    </a:lnTo>
                    <a:lnTo>
                      <a:pt x="496" y="104"/>
                    </a:lnTo>
                    <a:lnTo>
                      <a:pt x="494" y="101"/>
                    </a:lnTo>
                    <a:lnTo>
                      <a:pt x="496" y="99"/>
                    </a:lnTo>
                    <a:lnTo>
                      <a:pt x="496" y="96"/>
                    </a:lnTo>
                    <a:lnTo>
                      <a:pt x="496" y="96"/>
                    </a:lnTo>
                    <a:lnTo>
                      <a:pt x="494" y="94"/>
                    </a:lnTo>
                    <a:lnTo>
                      <a:pt x="494" y="94"/>
                    </a:lnTo>
                    <a:lnTo>
                      <a:pt x="496" y="89"/>
                    </a:lnTo>
                    <a:lnTo>
                      <a:pt x="499" y="87"/>
                    </a:lnTo>
                    <a:lnTo>
                      <a:pt x="501" y="82"/>
                    </a:lnTo>
                    <a:lnTo>
                      <a:pt x="503" y="80"/>
                    </a:lnTo>
                    <a:lnTo>
                      <a:pt x="506" y="80"/>
                    </a:lnTo>
                    <a:lnTo>
                      <a:pt x="506" y="78"/>
                    </a:lnTo>
                    <a:lnTo>
                      <a:pt x="503" y="78"/>
                    </a:lnTo>
                    <a:lnTo>
                      <a:pt x="503" y="78"/>
                    </a:lnTo>
                    <a:lnTo>
                      <a:pt x="506" y="73"/>
                    </a:lnTo>
                    <a:lnTo>
                      <a:pt x="506" y="73"/>
                    </a:lnTo>
                    <a:lnTo>
                      <a:pt x="508" y="73"/>
                    </a:lnTo>
                    <a:lnTo>
                      <a:pt x="508" y="70"/>
                    </a:lnTo>
                    <a:lnTo>
                      <a:pt x="508" y="70"/>
                    </a:lnTo>
                    <a:lnTo>
                      <a:pt x="508" y="68"/>
                    </a:lnTo>
                    <a:lnTo>
                      <a:pt x="511" y="66"/>
                    </a:lnTo>
                    <a:lnTo>
                      <a:pt x="511" y="66"/>
                    </a:lnTo>
                    <a:lnTo>
                      <a:pt x="511" y="63"/>
                    </a:lnTo>
                    <a:lnTo>
                      <a:pt x="513" y="63"/>
                    </a:lnTo>
                    <a:lnTo>
                      <a:pt x="513" y="63"/>
                    </a:lnTo>
                    <a:lnTo>
                      <a:pt x="513" y="63"/>
                    </a:lnTo>
                    <a:lnTo>
                      <a:pt x="515" y="63"/>
                    </a:lnTo>
                    <a:lnTo>
                      <a:pt x="515" y="61"/>
                    </a:lnTo>
                    <a:lnTo>
                      <a:pt x="515" y="61"/>
                    </a:lnTo>
                    <a:lnTo>
                      <a:pt x="518" y="59"/>
                    </a:lnTo>
                    <a:lnTo>
                      <a:pt x="520" y="56"/>
                    </a:lnTo>
                    <a:lnTo>
                      <a:pt x="522" y="56"/>
                    </a:lnTo>
                    <a:lnTo>
                      <a:pt x="522" y="54"/>
                    </a:lnTo>
                    <a:lnTo>
                      <a:pt x="525" y="52"/>
                    </a:lnTo>
                    <a:lnTo>
                      <a:pt x="527" y="59"/>
                    </a:lnTo>
                    <a:lnTo>
                      <a:pt x="527" y="59"/>
                    </a:lnTo>
                    <a:lnTo>
                      <a:pt x="529" y="61"/>
                    </a:lnTo>
                    <a:lnTo>
                      <a:pt x="532" y="61"/>
                    </a:lnTo>
                    <a:lnTo>
                      <a:pt x="532" y="61"/>
                    </a:lnTo>
                    <a:lnTo>
                      <a:pt x="532" y="61"/>
                    </a:lnTo>
                    <a:lnTo>
                      <a:pt x="532" y="63"/>
                    </a:lnTo>
                    <a:lnTo>
                      <a:pt x="529" y="63"/>
                    </a:lnTo>
                    <a:lnTo>
                      <a:pt x="529" y="66"/>
                    </a:lnTo>
                    <a:lnTo>
                      <a:pt x="529" y="66"/>
                    </a:lnTo>
                    <a:lnTo>
                      <a:pt x="529" y="66"/>
                    </a:lnTo>
                    <a:lnTo>
                      <a:pt x="529" y="68"/>
                    </a:lnTo>
                    <a:lnTo>
                      <a:pt x="534" y="68"/>
                    </a:lnTo>
                    <a:lnTo>
                      <a:pt x="534" y="68"/>
                    </a:lnTo>
                    <a:lnTo>
                      <a:pt x="534" y="68"/>
                    </a:lnTo>
                    <a:lnTo>
                      <a:pt x="537" y="68"/>
                    </a:lnTo>
                    <a:lnTo>
                      <a:pt x="537" y="68"/>
                    </a:lnTo>
                    <a:lnTo>
                      <a:pt x="537" y="68"/>
                    </a:lnTo>
                    <a:lnTo>
                      <a:pt x="539" y="70"/>
                    </a:lnTo>
                    <a:lnTo>
                      <a:pt x="539" y="70"/>
                    </a:lnTo>
                    <a:lnTo>
                      <a:pt x="541" y="73"/>
                    </a:lnTo>
                    <a:lnTo>
                      <a:pt x="544" y="75"/>
                    </a:lnTo>
                    <a:lnTo>
                      <a:pt x="555" y="56"/>
                    </a:lnTo>
                    <a:lnTo>
                      <a:pt x="555" y="56"/>
                    </a:lnTo>
                    <a:lnTo>
                      <a:pt x="555" y="56"/>
                    </a:lnTo>
                    <a:lnTo>
                      <a:pt x="555" y="54"/>
                    </a:lnTo>
                    <a:lnTo>
                      <a:pt x="555" y="54"/>
                    </a:lnTo>
                    <a:lnTo>
                      <a:pt x="558" y="54"/>
                    </a:lnTo>
                    <a:lnTo>
                      <a:pt x="558" y="54"/>
                    </a:lnTo>
                    <a:lnTo>
                      <a:pt x="560" y="54"/>
                    </a:lnTo>
                    <a:lnTo>
                      <a:pt x="560" y="56"/>
                    </a:lnTo>
                    <a:lnTo>
                      <a:pt x="560" y="59"/>
                    </a:lnTo>
                    <a:lnTo>
                      <a:pt x="560" y="59"/>
                    </a:lnTo>
                    <a:lnTo>
                      <a:pt x="560" y="61"/>
                    </a:lnTo>
                    <a:lnTo>
                      <a:pt x="560" y="61"/>
                    </a:lnTo>
                    <a:lnTo>
                      <a:pt x="560" y="59"/>
                    </a:lnTo>
                    <a:lnTo>
                      <a:pt x="563" y="61"/>
                    </a:lnTo>
                    <a:lnTo>
                      <a:pt x="563" y="61"/>
                    </a:lnTo>
                    <a:lnTo>
                      <a:pt x="563" y="61"/>
                    </a:lnTo>
                    <a:lnTo>
                      <a:pt x="563" y="61"/>
                    </a:lnTo>
                    <a:lnTo>
                      <a:pt x="563" y="63"/>
                    </a:lnTo>
                    <a:lnTo>
                      <a:pt x="565" y="63"/>
                    </a:lnTo>
                    <a:lnTo>
                      <a:pt x="565" y="63"/>
                    </a:lnTo>
                    <a:lnTo>
                      <a:pt x="565" y="63"/>
                    </a:lnTo>
                    <a:lnTo>
                      <a:pt x="565" y="66"/>
                    </a:lnTo>
                    <a:lnTo>
                      <a:pt x="567" y="66"/>
                    </a:lnTo>
                    <a:lnTo>
                      <a:pt x="567" y="63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2" y="68"/>
                    </a:lnTo>
                    <a:lnTo>
                      <a:pt x="572" y="70"/>
                    </a:lnTo>
                    <a:lnTo>
                      <a:pt x="572" y="70"/>
                    </a:lnTo>
                    <a:lnTo>
                      <a:pt x="574" y="70"/>
                    </a:lnTo>
                    <a:lnTo>
                      <a:pt x="572" y="73"/>
                    </a:lnTo>
                    <a:lnTo>
                      <a:pt x="574" y="75"/>
                    </a:lnTo>
                    <a:lnTo>
                      <a:pt x="574" y="78"/>
                    </a:lnTo>
                    <a:lnTo>
                      <a:pt x="574" y="80"/>
                    </a:lnTo>
                    <a:lnTo>
                      <a:pt x="574" y="80"/>
                    </a:lnTo>
                    <a:lnTo>
                      <a:pt x="574" y="80"/>
                    </a:lnTo>
                    <a:lnTo>
                      <a:pt x="577" y="80"/>
                    </a:lnTo>
                    <a:lnTo>
                      <a:pt x="577" y="80"/>
                    </a:lnTo>
                    <a:lnTo>
                      <a:pt x="577" y="80"/>
                    </a:lnTo>
                    <a:lnTo>
                      <a:pt x="579" y="80"/>
                    </a:lnTo>
                    <a:lnTo>
                      <a:pt x="579" y="80"/>
                    </a:lnTo>
                    <a:lnTo>
                      <a:pt x="579" y="80"/>
                    </a:lnTo>
                    <a:lnTo>
                      <a:pt x="579" y="80"/>
                    </a:lnTo>
                    <a:lnTo>
                      <a:pt x="581" y="80"/>
                    </a:lnTo>
                    <a:lnTo>
                      <a:pt x="581" y="80"/>
                    </a:lnTo>
                    <a:lnTo>
                      <a:pt x="581" y="80"/>
                    </a:lnTo>
                    <a:lnTo>
                      <a:pt x="584" y="80"/>
                    </a:lnTo>
                    <a:lnTo>
                      <a:pt x="584" y="82"/>
                    </a:lnTo>
                    <a:lnTo>
                      <a:pt x="584" y="82"/>
                    </a:lnTo>
                    <a:lnTo>
                      <a:pt x="586" y="82"/>
                    </a:lnTo>
                    <a:lnTo>
                      <a:pt x="586" y="82"/>
                    </a:lnTo>
                    <a:lnTo>
                      <a:pt x="586" y="85"/>
                    </a:lnTo>
                    <a:lnTo>
                      <a:pt x="586" y="87"/>
                    </a:lnTo>
                    <a:lnTo>
                      <a:pt x="589" y="87"/>
                    </a:lnTo>
                    <a:lnTo>
                      <a:pt x="589" y="87"/>
                    </a:lnTo>
                    <a:lnTo>
                      <a:pt x="591" y="87"/>
                    </a:lnTo>
                    <a:lnTo>
                      <a:pt x="591" y="89"/>
                    </a:lnTo>
                    <a:lnTo>
                      <a:pt x="591" y="89"/>
                    </a:lnTo>
                    <a:lnTo>
                      <a:pt x="591" y="89"/>
                    </a:lnTo>
                    <a:lnTo>
                      <a:pt x="591" y="92"/>
                    </a:lnTo>
                    <a:lnTo>
                      <a:pt x="591" y="92"/>
                    </a:lnTo>
                    <a:lnTo>
                      <a:pt x="591" y="94"/>
                    </a:lnTo>
                    <a:lnTo>
                      <a:pt x="593" y="94"/>
                    </a:lnTo>
                    <a:lnTo>
                      <a:pt x="593" y="96"/>
                    </a:lnTo>
                    <a:lnTo>
                      <a:pt x="593" y="96"/>
                    </a:lnTo>
                    <a:lnTo>
                      <a:pt x="593" y="99"/>
                    </a:lnTo>
                    <a:lnTo>
                      <a:pt x="591" y="99"/>
                    </a:lnTo>
                    <a:lnTo>
                      <a:pt x="591" y="99"/>
                    </a:lnTo>
                    <a:lnTo>
                      <a:pt x="591" y="99"/>
                    </a:lnTo>
                    <a:lnTo>
                      <a:pt x="591" y="101"/>
                    </a:lnTo>
                    <a:lnTo>
                      <a:pt x="591" y="101"/>
                    </a:lnTo>
                    <a:lnTo>
                      <a:pt x="593" y="104"/>
                    </a:lnTo>
                    <a:lnTo>
                      <a:pt x="593" y="104"/>
                    </a:lnTo>
                    <a:lnTo>
                      <a:pt x="593" y="106"/>
                    </a:lnTo>
                    <a:lnTo>
                      <a:pt x="593" y="106"/>
                    </a:lnTo>
                    <a:lnTo>
                      <a:pt x="593" y="108"/>
                    </a:lnTo>
                    <a:lnTo>
                      <a:pt x="593" y="108"/>
                    </a:lnTo>
                    <a:lnTo>
                      <a:pt x="591" y="111"/>
                    </a:lnTo>
                    <a:lnTo>
                      <a:pt x="591" y="111"/>
                    </a:lnTo>
                    <a:lnTo>
                      <a:pt x="591" y="113"/>
                    </a:lnTo>
                    <a:lnTo>
                      <a:pt x="591" y="113"/>
                    </a:lnTo>
                    <a:lnTo>
                      <a:pt x="591" y="115"/>
                    </a:lnTo>
                    <a:lnTo>
                      <a:pt x="591" y="118"/>
                    </a:lnTo>
                    <a:lnTo>
                      <a:pt x="591" y="118"/>
                    </a:lnTo>
                    <a:lnTo>
                      <a:pt x="593" y="122"/>
                    </a:lnTo>
                    <a:lnTo>
                      <a:pt x="593" y="122"/>
                    </a:lnTo>
                    <a:lnTo>
                      <a:pt x="596" y="122"/>
                    </a:lnTo>
                    <a:lnTo>
                      <a:pt x="596" y="120"/>
                    </a:lnTo>
                    <a:lnTo>
                      <a:pt x="596" y="118"/>
                    </a:lnTo>
                    <a:lnTo>
                      <a:pt x="596" y="115"/>
                    </a:lnTo>
                    <a:lnTo>
                      <a:pt x="596" y="113"/>
                    </a:lnTo>
                    <a:lnTo>
                      <a:pt x="596" y="111"/>
                    </a:lnTo>
                    <a:lnTo>
                      <a:pt x="598" y="111"/>
                    </a:lnTo>
                    <a:lnTo>
                      <a:pt x="596" y="108"/>
                    </a:lnTo>
                    <a:lnTo>
                      <a:pt x="596" y="106"/>
                    </a:lnTo>
                    <a:lnTo>
                      <a:pt x="598" y="106"/>
                    </a:lnTo>
                    <a:lnTo>
                      <a:pt x="600" y="106"/>
                    </a:lnTo>
                    <a:lnTo>
                      <a:pt x="600" y="104"/>
                    </a:lnTo>
                    <a:lnTo>
                      <a:pt x="600" y="101"/>
                    </a:lnTo>
                    <a:lnTo>
                      <a:pt x="600" y="99"/>
                    </a:lnTo>
                    <a:lnTo>
                      <a:pt x="603" y="96"/>
                    </a:lnTo>
                    <a:lnTo>
                      <a:pt x="605" y="99"/>
                    </a:lnTo>
                    <a:lnTo>
                      <a:pt x="605" y="99"/>
                    </a:lnTo>
                    <a:lnTo>
                      <a:pt x="605" y="99"/>
                    </a:lnTo>
                    <a:lnTo>
                      <a:pt x="605" y="96"/>
                    </a:lnTo>
                    <a:lnTo>
                      <a:pt x="607" y="99"/>
                    </a:lnTo>
                    <a:lnTo>
                      <a:pt x="607" y="99"/>
                    </a:lnTo>
                    <a:lnTo>
                      <a:pt x="607" y="101"/>
                    </a:lnTo>
                    <a:lnTo>
                      <a:pt x="607" y="101"/>
                    </a:lnTo>
                    <a:lnTo>
                      <a:pt x="607" y="101"/>
                    </a:lnTo>
                    <a:lnTo>
                      <a:pt x="607" y="104"/>
                    </a:lnTo>
                    <a:lnTo>
                      <a:pt x="607" y="106"/>
                    </a:lnTo>
                    <a:lnTo>
                      <a:pt x="605" y="106"/>
                    </a:lnTo>
                    <a:lnTo>
                      <a:pt x="607" y="106"/>
                    </a:lnTo>
                    <a:lnTo>
                      <a:pt x="607" y="108"/>
                    </a:lnTo>
                    <a:lnTo>
                      <a:pt x="607" y="108"/>
                    </a:lnTo>
                    <a:lnTo>
                      <a:pt x="607" y="108"/>
                    </a:lnTo>
                    <a:lnTo>
                      <a:pt x="607" y="111"/>
                    </a:lnTo>
                    <a:lnTo>
                      <a:pt x="607" y="111"/>
                    </a:lnTo>
                    <a:lnTo>
                      <a:pt x="607" y="111"/>
                    </a:lnTo>
                    <a:lnTo>
                      <a:pt x="610" y="113"/>
                    </a:lnTo>
                    <a:lnTo>
                      <a:pt x="607" y="113"/>
                    </a:lnTo>
                    <a:lnTo>
                      <a:pt x="607" y="113"/>
                    </a:lnTo>
                    <a:lnTo>
                      <a:pt x="610" y="115"/>
                    </a:lnTo>
                    <a:lnTo>
                      <a:pt x="607" y="115"/>
                    </a:lnTo>
                    <a:lnTo>
                      <a:pt x="607" y="118"/>
                    </a:lnTo>
                    <a:lnTo>
                      <a:pt x="610" y="118"/>
                    </a:lnTo>
                    <a:lnTo>
                      <a:pt x="610" y="118"/>
                    </a:lnTo>
                    <a:lnTo>
                      <a:pt x="612" y="118"/>
                    </a:lnTo>
                    <a:lnTo>
                      <a:pt x="612" y="118"/>
                    </a:lnTo>
                    <a:lnTo>
                      <a:pt x="612" y="115"/>
                    </a:lnTo>
                    <a:lnTo>
                      <a:pt x="612" y="115"/>
                    </a:lnTo>
                    <a:lnTo>
                      <a:pt x="615" y="115"/>
                    </a:lnTo>
                    <a:lnTo>
                      <a:pt x="615" y="115"/>
                    </a:lnTo>
                    <a:lnTo>
                      <a:pt x="617" y="115"/>
                    </a:lnTo>
                    <a:lnTo>
                      <a:pt x="617" y="115"/>
                    </a:lnTo>
                    <a:lnTo>
                      <a:pt x="617" y="115"/>
                    </a:lnTo>
                    <a:lnTo>
                      <a:pt x="617" y="115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22" y="111"/>
                    </a:lnTo>
                    <a:lnTo>
                      <a:pt x="622" y="111"/>
                    </a:lnTo>
                    <a:lnTo>
                      <a:pt x="624" y="113"/>
                    </a:lnTo>
                    <a:lnTo>
                      <a:pt x="624" y="113"/>
                    </a:lnTo>
                    <a:lnTo>
                      <a:pt x="624" y="111"/>
                    </a:lnTo>
                    <a:lnTo>
                      <a:pt x="624" y="111"/>
                    </a:lnTo>
                    <a:lnTo>
                      <a:pt x="624" y="111"/>
                    </a:lnTo>
                    <a:lnTo>
                      <a:pt x="624" y="111"/>
                    </a:lnTo>
                    <a:lnTo>
                      <a:pt x="626" y="111"/>
                    </a:lnTo>
                    <a:lnTo>
                      <a:pt x="626" y="111"/>
                    </a:lnTo>
                    <a:lnTo>
                      <a:pt x="626" y="111"/>
                    </a:lnTo>
                    <a:lnTo>
                      <a:pt x="626" y="111"/>
                    </a:lnTo>
                    <a:lnTo>
                      <a:pt x="629" y="111"/>
                    </a:lnTo>
                    <a:lnTo>
                      <a:pt x="629" y="111"/>
                    </a:lnTo>
                    <a:lnTo>
                      <a:pt x="626" y="111"/>
                    </a:lnTo>
                    <a:lnTo>
                      <a:pt x="629" y="111"/>
                    </a:lnTo>
                    <a:lnTo>
                      <a:pt x="626" y="111"/>
                    </a:lnTo>
                    <a:lnTo>
                      <a:pt x="629" y="108"/>
                    </a:lnTo>
                    <a:lnTo>
                      <a:pt x="629" y="108"/>
                    </a:lnTo>
                    <a:lnTo>
                      <a:pt x="629" y="106"/>
                    </a:lnTo>
                    <a:lnTo>
                      <a:pt x="631" y="106"/>
                    </a:lnTo>
                    <a:lnTo>
                      <a:pt x="631" y="106"/>
                    </a:lnTo>
                    <a:lnTo>
                      <a:pt x="631" y="106"/>
                    </a:lnTo>
                    <a:lnTo>
                      <a:pt x="631" y="108"/>
                    </a:lnTo>
                    <a:lnTo>
                      <a:pt x="633" y="106"/>
                    </a:lnTo>
                    <a:lnTo>
                      <a:pt x="633" y="106"/>
                    </a:lnTo>
                    <a:lnTo>
                      <a:pt x="633" y="106"/>
                    </a:lnTo>
                    <a:lnTo>
                      <a:pt x="636" y="106"/>
                    </a:lnTo>
                    <a:lnTo>
                      <a:pt x="636" y="106"/>
                    </a:lnTo>
                    <a:lnTo>
                      <a:pt x="636" y="104"/>
                    </a:lnTo>
                    <a:lnTo>
                      <a:pt x="636" y="104"/>
                    </a:lnTo>
                    <a:lnTo>
                      <a:pt x="638" y="101"/>
                    </a:lnTo>
                    <a:lnTo>
                      <a:pt x="638" y="104"/>
                    </a:lnTo>
                    <a:lnTo>
                      <a:pt x="638" y="101"/>
                    </a:lnTo>
                    <a:lnTo>
                      <a:pt x="640" y="104"/>
                    </a:lnTo>
                    <a:lnTo>
                      <a:pt x="643" y="101"/>
                    </a:lnTo>
                    <a:lnTo>
                      <a:pt x="643" y="101"/>
                    </a:lnTo>
                    <a:lnTo>
                      <a:pt x="643" y="101"/>
                    </a:lnTo>
                    <a:lnTo>
                      <a:pt x="643" y="101"/>
                    </a:lnTo>
                    <a:lnTo>
                      <a:pt x="645" y="99"/>
                    </a:lnTo>
                    <a:lnTo>
                      <a:pt x="645" y="101"/>
                    </a:lnTo>
                    <a:lnTo>
                      <a:pt x="648" y="101"/>
                    </a:lnTo>
                    <a:lnTo>
                      <a:pt x="648" y="99"/>
                    </a:lnTo>
                    <a:lnTo>
                      <a:pt x="648" y="101"/>
                    </a:lnTo>
                    <a:lnTo>
                      <a:pt x="648" y="101"/>
                    </a:lnTo>
                    <a:lnTo>
                      <a:pt x="648" y="104"/>
                    </a:lnTo>
                    <a:lnTo>
                      <a:pt x="645" y="104"/>
                    </a:lnTo>
                    <a:lnTo>
                      <a:pt x="645" y="106"/>
                    </a:lnTo>
                    <a:lnTo>
                      <a:pt x="645" y="106"/>
                    </a:lnTo>
                    <a:lnTo>
                      <a:pt x="645" y="106"/>
                    </a:lnTo>
                    <a:lnTo>
                      <a:pt x="645" y="108"/>
                    </a:lnTo>
                    <a:lnTo>
                      <a:pt x="648" y="108"/>
                    </a:lnTo>
                    <a:lnTo>
                      <a:pt x="645" y="111"/>
                    </a:lnTo>
                    <a:lnTo>
                      <a:pt x="645" y="111"/>
                    </a:lnTo>
                    <a:lnTo>
                      <a:pt x="645" y="111"/>
                    </a:lnTo>
                    <a:lnTo>
                      <a:pt x="645" y="113"/>
                    </a:lnTo>
                    <a:lnTo>
                      <a:pt x="648" y="113"/>
                    </a:lnTo>
                    <a:lnTo>
                      <a:pt x="648" y="118"/>
                    </a:lnTo>
                    <a:lnTo>
                      <a:pt x="645" y="120"/>
                    </a:lnTo>
                    <a:lnTo>
                      <a:pt x="645" y="120"/>
                    </a:lnTo>
                    <a:lnTo>
                      <a:pt x="645" y="120"/>
                    </a:lnTo>
                    <a:lnTo>
                      <a:pt x="648" y="120"/>
                    </a:lnTo>
                    <a:lnTo>
                      <a:pt x="648" y="120"/>
                    </a:lnTo>
                    <a:lnTo>
                      <a:pt x="648" y="120"/>
                    </a:lnTo>
                    <a:lnTo>
                      <a:pt x="648" y="120"/>
                    </a:lnTo>
                    <a:lnTo>
                      <a:pt x="652" y="118"/>
                    </a:lnTo>
                    <a:lnTo>
                      <a:pt x="652" y="118"/>
                    </a:lnTo>
                    <a:lnTo>
                      <a:pt x="652" y="118"/>
                    </a:lnTo>
                    <a:lnTo>
                      <a:pt x="652" y="118"/>
                    </a:lnTo>
                    <a:lnTo>
                      <a:pt x="655" y="118"/>
                    </a:lnTo>
                    <a:lnTo>
                      <a:pt x="655" y="118"/>
                    </a:lnTo>
                    <a:lnTo>
                      <a:pt x="657" y="118"/>
                    </a:lnTo>
                    <a:lnTo>
                      <a:pt x="657" y="118"/>
                    </a:lnTo>
                    <a:lnTo>
                      <a:pt x="657" y="115"/>
                    </a:lnTo>
                    <a:lnTo>
                      <a:pt x="657" y="115"/>
                    </a:lnTo>
                    <a:lnTo>
                      <a:pt x="657" y="115"/>
                    </a:lnTo>
                    <a:lnTo>
                      <a:pt x="657" y="111"/>
                    </a:lnTo>
                    <a:lnTo>
                      <a:pt x="657" y="111"/>
                    </a:lnTo>
                    <a:lnTo>
                      <a:pt x="657" y="111"/>
                    </a:lnTo>
                    <a:lnTo>
                      <a:pt x="659" y="111"/>
                    </a:lnTo>
                    <a:lnTo>
                      <a:pt x="659" y="111"/>
                    </a:lnTo>
                    <a:lnTo>
                      <a:pt x="659" y="111"/>
                    </a:lnTo>
                    <a:lnTo>
                      <a:pt x="659" y="111"/>
                    </a:lnTo>
                    <a:lnTo>
                      <a:pt x="659" y="113"/>
                    </a:lnTo>
                    <a:lnTo>
                      <a:pt x="659" y="113"/>
                    </a:lnTo>
                    <a:lnTo>
                      <a:pt x="662" y="113"/>
                    </a:lnTo>
                    <a:lnTo>
                      <a:pt x="664" y="115"/>
                    </a:lnTo>
                    <a:lnTo>
                      <a:pt x="662" y="115"/>
                    </a:lnTo>
                    <a:lnTo>
                      <a:pt x="662" y="115"/>
                    </a:lnTo>
                    <a:lnTo>
                      <a:pt x="664" y="115"/>
                    </a:lnTo>
                    <a:lnTo>
                      <a:pt x="664" y="118"/>
                    </a:lnTo>
                    <a:lnTo>
                      <a:pt x="666" y="115"/>
                    </a:lnTo>
                    <a:lnTo>
                      <a:pt x="669" y="115"/>
                    </a:lnTo>
                    <a:lnTo>
                      <a:pt x="669" y="118"/>
                    </a:lnTo>
                    <a:lnTo>
                      <a:pt x="671" y="120"/>
                    </a:lnTo>
                    <a:lnTo>
                      <a:pt x="671" y="120"/>
                    </a:lnTo>
                    <a:lnTo>
                      <a:pt x="671" y="122"/>
                    </a:lnTo>
                    <a:lnTo>
                      <a:pt x="671" y="120"/>
                    </a:lnTo>
                    <a:lnTo>
                      <a:pt x="674" y="120"/>
                    </a:lnTo>
                    <a:lnTo>
                      <a:pt x="674" y="120"/>
                    </a:lnTo>
                    <a:lnTo>
                      <a:pt x="674" y="118"/>
                    </a:lnTo>
                    <a:lnTo>
                      <a:pt x="676" y="118"/>
                    </a:lnTo>
                    <a:lnTo>
                      <a:pt x="676" y="118"/>
                    </a:lnTo>
                    <a:lnTo>
                      <a:pt x="678" y="118"/>
                    </a:lnTo>
                    <a:lnTo>
                      <a:pt x="678" y="120"/>
                    </a:lnTo>
                    <a:lnTo>
                      <a:pt x="678" y="118"/>
                    </a:lnTo>
                    <a:lnTo>
                      <a:pt x="678" y="118"/>
                    </a:lnTo>
                    <a:lnTo>
                      <a:pt x="678" y="120"/>
                    </a:lnTo>
                    <a:lnTo>
                      <a:pt x="678" y="122"/>
                    </a:lnTo>
                    <a:lnTo>
                      <a:pt x="681" y="122"/>
                    </a:lnTo>
                    <a:lnTo>
                      <a:pt x="681" y="120"/>
                    </a:lnTo>
                    <a:lnTo>
                      <a:pt x="681" y="122"/>
                    </a:lnTo>
                    <a:lnTo>
                      <a:pt x="681" y="122"/>
                    </a:lnTo>
                    <a:lnTo>
                      <a:pt x="683" y="122"/>
                    </a:lnTo>
                    <a:lnTo>
                      <a:pt x="683" y="122"/>
                    </a:lnTo>
                    <a:lnTo>
                      <a:pt x="688" y="122"/>
                    </a:lnTo>
                    <a:lnTo>
                      <a:pt x="690" y="122"/>
                    </a:lnTo>
                    <a:lnTo>
                      <a:pt x="692" y="122"/>
                    </a:lnTo>
                    <a:lnTo>
                      <a:pt x="692" y="125"/>
                    </a:lnTo>
                    <a:lnTo>
                      <a:pt x="707" y="141"/>
                    </a:lnTo>
                    <a:lnTo>
                      <a:pt x="709" y="139"/>
                    </a:lnTo>
                    <a:lnTo>
                      <a:pt x="709" y="137"/>
                    </a:lnTo>
                    <a:lnTo>
                      <a:pt x="709" y="137"/>
                    </a:lnTo>
                    <a:lnTo>
                      <a:pt x="711" y="134"/>
                    </a:lnTo>
                    <a:lnTo>
                      <a:pt x="711" y="134"/>
                    </a:lnTo>
                    <a:lnTo>
                      <a:pt x="711" y="132"/>
                    </a:lnTo>
                    <a:lnTo>
                      <a:pt x="714" y="132"/>
                    </a:lnTo>
                    <a:lnTo>
                      <a:pt x="714" y="132"/>
                    </a:lnTo>
                    <a:lnTo>
                      <a:pt x="714" y="127"/>
                    </a:lnTo>
                    <a:lnTo>
                      <a:pt x="711" y="127"/>
                    </a:lnTo>
                    <a:lnTo>
                      <a:pt x="711" y="127"/>
                    </a:lnTo>
                    <a:lnTo>
                      <a:pt x="711" y="125"/>
                    </a:lnTo>
                    <a:lnTo>
                      <a:pt x="709" y="122"/>
                    </a:lnTo>
                    <a:lnTo>
                      <a:pt x="711" y="122"/>
                    </a:lnTo>
                    <a:lnTo>
                      <a:pt x="709" y="120"/>
                    </a:lnTo>
                    <a:lnTo>
                      <a:pt x="709" y="118"/>
                    </a:lnTo>
                    <a:lnTo>
                      <a:pt x="709" y="115"/>
                    </a:lnTo>
                    <a:lnTo>
                      <a:pt x="711" y="115"/>
                    </a:lnTo>
                    <a:lnTo>
                      <a:pt x="711" y="115"/>
                    </a:lnTo>
                    <a:lnTo>
                      <a:pt x="711" y="113"/>
                    </a:lnTo>
                    <a:lnTo>
                      <a:pt x="711" y="111"/>
                    </a:lnTo>
                    <a:lnTo>
                      <a:pt x="709" y="111"/>
                    </a:lnTo>
                    <a:lnTo>
                      <a:pt x="711" y="111"/>
                    </a:lnTo>
                    <a:lnTo>
                      <a:pt x="711" y="108"/>
                    </a:lnTo>
                    <a:lnTo>
                      <a:pt x="709" y="108"/>
                    </a:lnTo>
                    <a:lnTo>
                      <a:pt x="709" y="108"/>
                    </a:lnTo>
                    <a:lnTo>
                      <a:pt x="709" y="108"/>
                    </a:lnTo>
                    <a:lnTo>
                      <a:pt x="709" y="106"/>
                    </a:lnTo>
                    <a:lnTo>
                      <a:pt x="709" y="106"/>
                    </a:lnTo>
                    <a:lnTo>
                      <a:pt x="709" y="106"/>
                    </a:lnTo>
                    <a:lnTo>
                      <a:pt x="709" y="106"/>
                    </a:lnTo>
                    <a:lnTo>
                      <a:pt x="711" y="104"/>
                    </a:lnTo>
                    <a:lnTo>
                      <a:pt x="709" y="101"/>
                    </a:lnTo>
                    <a:lnTo>
                      <a:pt x="709" y="101"/>
                    </a:lnTo>
                    <a:lnTo>
                      <a:pt x="711" y="101"/>
                    </a:lnTo>
                    <a:lnTo>
                      <a:pt x="711" y="99"/>
                    </a:lnTo>
                    <a:lnTo>
                      <a:pt x="711" y="99"/>
                    </a:lnTo>
                    <a:lnTo>
                      <a:pt x="711" y="99"/>
                    </a:lnTo>
                    <a:lnTo>
                      <a:pt x="711" y="99"/>
                    </a:lnTo>
                    <a:lnTo>
                      <a:pt x="711" y="96"/>
                    </a:lnTo>
                    <a:lnTo>
                      <a:pt x="711" y="96"/>
                    </a:lnTo>
                    <a:lnTo>
                      <a:pt x="711" y="96"/>
                    </a:lnTo>
                    <a:lnTo>
                      <a:pt x="711" y="96"/>
                    </a:lnTo>
                    <a:lnTo>
                      <a:pt x="714" y="94"/>
                    </a:lnTo>
                    <a:lnTo>
                      <a:pt x="714" y="94"/>
                    </a:lnTo>
                    <a:lnTo>
                      <a:pt x="716" y="94"/>
                    </a:lnTo>
                    <a:lnTo>
                      <a:pt x="718" y="96"/>
                    </a:lnTo>
                    <a:lnTo>
                      <a:pt x="721" y="96"/>
                    </a:lnTo>
                    <a:lnTo>
                      <a:pt x="721" y="96"/>
                    </a:lnTo>
                    <a:lnTo>
                      <a:pt x="721" y="99"/>
                    </a:lnTo>
                    <a:lnTo>
                      <a:pt x="721" y="104"/>
                    </a:lnTo>
                    <a:lnTo>
                      <a:pt x="726" y="106"/>
                    </a:lnTo>
                    <a:lnTo>
                      <a:pt x="726" y="104"/>
                    </a:lnTo>
                    <a:lnTo>
                      <a:pt x="728" y="104"/>
                    </a:lnTo>
                    <a:lnTo>
                      <a:pt x="728" y="106"/>
                    </a:lnTo>
                    <a:lnTo>
                      <a:pt x="730" y="106"/>
                    </a:lnTo>
                    <a:lnTo>
                      <a:pt x="730" y="104"/>
                    </a:lnTo>
                    <a:lnTo>
                      <a:pt x="733" y="104"/>
                    </a:lnTo>
                    <a:lnTo>
                      <a:pt x="730" y="108"/>
                    </a:lnTo>
                    <a:lnTo>
                      <a:pt x="730" y="108"/>
                    </a:lnTo>
                    <a:lnTo>
                      <a:pt x="735" y="111"/>
                    </a:lnTo>
                    <a:lnTo>
                      <a:pt x="737" y="108"/>
                    </a:lnTo>
                    <a:lnTo>
                      <a:pt x="737" y="111"/>
                    </a:lnTo>
                    <a:lnTo>
                      <a:pt x="740" y="111"/>
                    </a:lnTo>
                    <a:lnTo>
                      <a:pt x="737" y="111"/>
                    </a:lnTo>
                    <a:lnTo>
                      <a:pt x="735" y="113"/>
                    </a:lnTo>
                    <a:lnTo>
                      <a:pt x="737" y="115"/>
                    </a:lnTo>
                    <a:lnTo>
                      <a:pt x="737" y="118"/>
                    </a:lnTo>
                    <a:lnTo>
                      <a:pt x="740" y="118"/>
                    </a:lnTo>
                    <a:lnTo>
                      <a:pt x="740" y="118"/>
                    </a:lnTo>
                    <a:lnTo>
                      <a:pt x="740" y="115"/>
                    </a:lnTo>
                    <a:lnTo>
                      <a:pt x="744" y="115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1"/>
                    </a:lnTo>
                    <a:lnTo>
                      <a:pt x="747" y="111"/>
                    </a:lnTo>
                    <a:lnTo>
                      <a:pt x="747" y="111"/>
                    </a:lnTo>
                    <a:lnTo>
                      <a:pt x="749" y="113"/>
                    </a:lnTo>
                    <a:lnTo>
                      <a:pt x="749" y="113"/>
                    </a:lnTo>
                    <a:lnTo>
                      <a:pt x="754" y="113"/>
                    </a:lnTo>
                    <a:lnTo>
                      <a:pt x="754" y="113"/>
                    </a:lnTo>
                    <a:lnTo>
                      <a:pt x="756" y="113"/>
                    </a:lnTo>
                    <a:lnTo>
                      <a:pt x="756" y="113"/>
                    </a:lnTo>
                    <a:lnTo>
                      <a:pt x="756" y="113"/>
                    </a:lnTo>
                    <a:lnTo>
                      <a:pt x="756" y="115"/>
                    </a:lnTo>
                    <a:lnTo>
                      <a:pt x="759" y="115"/>
                    </a:lnTo>
                    <a:lnTo>
                      <a:pt x="759" y="113"/>
                    </a:lnTo>
                    <a:lnTo>
                      <a:pt x="759" y="113"/>
                    </a:lnTo>
                    <a:lnTo>
                      <a:pt x="759" y="111"/>
                    </a:lnTo>
                    <a:lnTo>
                      <a:pt x="761" y="111"/>
                    </a:lnTo>
                    <a:lnTo>
                      <a:pt x="763" y="111"/>
                    </a:lnTo>
                    <a:lnTo>
                      <a:pt x="761" y="108"/>
                    </a:lnTo>
                    <a:lnTo>
                      <a:pt x="763" y="106"/>
                    </a:lnTo>
                    <a:lnTo>
                      <a:pt x="763" y="106"/>
                    </a:lnTo>
                    <a:lnTo>
                      <a:pt x="766" y="106"/>
                    </a:lnTo>
                    <a:lnTo>
                      <a:pt x="766" y="106"/>
                    </a:lnTo>
                    <a:lnTo>
                      <a:pt x="766" y="106"/>
                    </a:lnTo>
                    <a:lnTo>
                      <a:pt x="768" y="106"/>
                    </a:lnTo>
                    <a:lnTo>
                      <a:pt x="770" y="106"/>
                    </a:lnTo>
                    <a:lnTo>
                      <a:pt x="770" y="106"/>
                    </a:lnTo>
                    <a:lnTo>
                      <a:pt x="770" y="106"/>
                    </a:lnTo>
                    <a:lnTo>
                      <a:pt x="773" y="108"/>
                    </a:lnTo>
                    <a:lnTo>
                      <a:pt x="773" y="106"/>
                    </a:lnTo>
                    <a:lnTo>
                      <a:pt x="775" y="108"/>
                    </a:lnTo>
                    <a:lnTo>
                      <a:pt x="775" y="106"/>
                    </a:lnTo>
                    <a:lnTo>
                      <a:pt x="775" y="106"/>
                    </a:lnTo>
                    <a:lnTo>
                      <a:pt x="775" y="106"/>
                    </a:lnTo>
                    <a:lnTo>
                      <a:pt x="778" y="104"/>
                    </a:lnTo>
                    <a:lnTo>
                      <a:pt x="780" y="104"/>
                    </a:lnTo>
                    <a:lnTo>
                      <a:pt x="780" y="101"/>
                    </a:lnTo>
                    <a:lnTo>
                      <a:pt x="780" y="104"/>
                    </a:lnTo>
                    <a:lnTo>
                      <a:pt x="780" y="104"/>
                    </a:lnTo>
                    <a:lnTo>
                      <a:pt x="780" y="104"/>
                    </a:lnTo>
                    <a:lnTo>
                      <a:pt x="782" y="101"/>
                    </a:lnTo>
                    <a:lnTo>
                      <a:pt x="782" y="104"/>
                    </a:lnTo>
                    <a:lnTo>
                      <a:pt x="782" y="104"/>
                    </a:lnTo>
                    <a:lnTo>
                      <a:pt x="782" y="104"/>
                    </a:lnTo>
                    <a:lnTo>
                      <a:pt x="782" y="101"/>
                    </a:lnTo>
                    <a:lnTo>
                      <a:pt x="782" y="101"/>
                    </a:lnTo>
                    <a:lnTo>
                      <a:pt x="785" y="101"/>
                    </a:lnTo>
                    <a:lnTo>
                      <a:pt x="785" y="101"/>
                    </a:lnTo>
                    <a:lnTo>
                      <a:pt x="785" y="101"/>
                    </a:lnTo>
                    <a:lnTo>
                      <a:pt x="787" y="101"/>
                    </a:lnTo>
                    <a:lnTo>
                      <a:pt x="789" y="99"/>
                    </a:lnTo>
                    <a:lnTo>
                      <a:pt x="789" y="99"/>
                    </a:lnTo>
                    <a:lnTo>
                      <a:pt x="792" y="99"/>
                    </a:lnTo>
                    <a:lnTo>
                      <a:pt x="792" y="99"/>
                    </a:lnTo>
                    <a:lnTo>
                      <a:pt x="792" y="96"/>
                    </a:lnTo>
                    <a:lnTo>
                      <a:pt x="792" y="96"/>
                    </a:lnTo>
                    <a:lnTo>
                      <a:pt x="794" y="96"/>
                    </a:lnTo>
                    <a:lnTo>
                      <a:pt x="794" y="96"/>
                    </a:lnTo>
                    <a:lnTo>
                      <a:pt x="794" y="96"/>
                    </a:lnTo>
                    <a:lnTo>
                      <a:pt x="794" y="96"/>
                    </a:lnTo>
                    <a:lnTo>
                      <a:pt x="796" y="96"/>
                    </a:lnTo>
                    <a:lnTo>
                      <a:pt x="796" y="96"/>
                    </a:lnTo>
                    <a:lnTo>
                      <a:pt x="799" y="94"/>
                    </a:lnTo>
                    <a:lnTo>
                      <a:pt x="799" y="94"/>
                    </a:lnTo>
                    <a:lnTo>
                      <a:pt x="801" y="92"/>
                    </a:lnTo>
                    <a:lnTo>
                      <a:pt x="803" y="92"/>
                    </a:lnTo>
                    <a:lnTo>
                      <a:pt x="803" y="92"/>
                    </a:lnTo>
                    <a:lnTo>
                      <a:pt x="803" y="89"/>
                    </a:lnTo>
                    <a:lnTo>
                      <a:pt x="806" y="89"/>
                    </a:lnTo>
                    <a:lnTo>
                      <a:pt x="808" y="87"/>
                    </a:lnTo>
                    <a:lnTo>
                      <a:pt x="808" y="87"/>
                    </a:lnTo>
                    <a:lnTo>
                      <a:pt x="808" y="87"/>
                    </a:lnTo>
                    <a:lnTo>
                      <a:pt x="808" y="89"/>
                    </a:lnTo>
                    <a:lnTo>
                      <a:pt x="811" y="87"/>
                    </a:lnTo>
                    <a:lnTo>
                      <a:pt x="811" y="89"/>
                    </a:lnTo>
                    <a:lnTo>
                      <a:pt x="811" y="89"/>
                    </a:lnTo>
                    <a:lnTo>
                      <a:pt x="813" y="89"/>
                    </a:lnTo>
                    <a:lnTo>
                      <a:pt x="813" y="87"/>
                    </a:lnTo>
                    <a:lnTo>
                      <a:pt x="813" y="87"/>
                    </a:lnTo>
                    <a:lnTo>
                      <a:pt x="813" y="87"/>
                    </a:lnTo>
                    <a:lnTo>
                      <a:pt x="813" y="87"/>
                    </a:lnTo>
                    <a:lnTo>
                      <a:pt x="813" y="85"/>
                    </a:lnTo>
                    <a:lnTo>
                      <a:pt x="815" y="85"/>
                    </a:lnTo>
                    <a:lnTo>
                      <a:pt x="815" y="82"/>
                    </a:lnTo>
                    <a:lnTo>
                      <a:pt x="818" y="82"/>
                    </a:lnTo>
                    <a:lnTo>
                      <a:pt x="815" y="80"/>
                    </a:lnTo>
                    <a:lnTo>
                      <a:pt x="818" y="80"/>
                    </a:lnTo>
                    <a:lnTo>
                      <a:pt x="825" y="75"/>
                    </a:lnTo>
                    <a:lnTo>
                      <a:pt x="839" y="78"/>
                    </a:lnTo>
                    <a:lnTo>
                      <a:pt x="860" y="78"/>
                    </a:lnTo>
                    <a:lnTo>
                      <a:pt x="863" y="78"/>
                    </a:lnTo>
                    <a:lnTo>
                      <a:pt x="863" y="73"/>
                    </a:lnTo>
                    <a:lnTo>
                      <a:pt x="865" y="73"/>
                    </a:lnTo>
                    <a:lnTo>
                      <a:pt x="865" y="70"/>
                    </a:lnTo>
                    <a:lnTo>
                      <a:pt x="865" y="70"/>
                    </a:lnTo>
                    <a:lnTo>
                      <a:pt x="867" y="56"/>
                    </a:lnTo>
                    <a:lnTo>
                      <a:pt x="867" y="59"/>
                    </a:lnTo>
                    <a:lnTo>
                      <a:pt x="867" y="59"/>
                    </a:lnTo>
                    <a:lnTo>
                      <a:pt x="867" y="61"/>
                    </a:lnTo>
                    <a:lnTo>
                      <a:pt x="870" y="61"/>
                    </a:lnTo>
                    <a:lnTo>
                      <a:pt x="870" y="61"/>
                    </a:lnTo>
                    <a:lnTo>
                      <a:pt x="872" y="61"/>
                    </a:lnTo>
                    <a:lnTo>
                      <a:pt x="872" y="61"/>
                    </a:lnTo>
                    <a:lnTo>
                      <a:pt x="872" y="61"/>
                    </a:lnTo>
                    <a:lnTo>
                      <a:pt x="872" y="61"/>
                    </a:lnTo>
                    <a:lnTo>
                      <a:pt x="874" y="63"/>
                    </a:lnTo>
                    <a:lnTo>
                      <a:pt x="874" y="63"/>
                    </a:lnTo>
                    <a:lnTo>
                      <a:pt x="874" y="63"/>
                    </a:lnTo>
                    <a:lnTo>
                      <a:pt x="874" y="66"/>
                    </a:lnTo>
                    <a:lnTo>
                      <a:pt x="874" y="66"/>
                    </a:lnTo>
                    <a:lnTo>
                      <a:pt x="874" y="68"/>
                    </a:lnTo>
                    <a:lnTo>
                      <a:pt x="874" y="68"/>
                    </a:lnTo>
                    <a:lnTo>
                      <a:pt x="874" y="68"/>
                    </a:lnTo>
                    <a:lnTo>
                      <a:pt x="874" y="70"/>
                    </a:lnTo>
                    <a:lnTo>
                      <a:pt x="874" y="73"/>
                    </a:lnTo>
                    <a:lnTo>
                      <a:pt x="874" y="73"/>
                    </a:lnTo>
                    <a:lnTo>
                      <a:pt x="874" y="75"/>
                    </a:lnTo>
                    <a:lnTo>
                      <a:pt x="872" y="75"/>
                    </a:lnTo>
                    <a:lnTo>
                      <a:pt x="874" y="78"/>
                    </a:lnTo>
                    <a:lnTo>
                      <a:pt x="872" y="78"/>
                    </a:lnTo>
                    <a:lnTo>
                      <a:pt x="874" y="80"/>
                    </a:lnTo>
                    <a:lnTo>
                      <a:pt x="877" y="78"/>
                    </a:lnTo>
                    <a:lnTo>
                      <a:pt x="877" y="78"/>
                    </a:lnTo>
                    <a:lnTo>
                      <a:pt x="881" y="78"/>
                    </a:lnTo>
                    <a:lnTo>
                      <a:pt x="884" y="78"/>
                    </a:lnTo>
                    <a:lnTo>
                      <a:pt x="884" y="75"/>
                    </a:lnTo>
                    <a:lnTo>
                      <a:pt x="886" y="78"/>
                    </a:lnTo>
                    <a:lnTo>
                      <a:pt x="891" y="75"/>
                    </a:lnTo>
                    <a:lnTo>
                      <a:pt x="891" y="75"/>
                    </a:lnTo>
                    <a:lnTo>
                      <a:pt x="893" y="75"/>
                    </a:lnTo>
                    <a:lnTo>
                      <a:pt x="896" y="75"/>
                    </a:lnTo>
                    <a:lnTo>
                      <a:pt x="896" y="73"/>
                    </a:lnTo>
                    <a:lnTo>
                      <a:pt x="898" y="73"/>
                    </a:lnTo>
                    <a:lnTo>
                      <a:pt x="898" y="73"/>
                    </a:lnTo>
                    <a:lnTo>
                      <a:pt x="900" y="70"/>
                    </a:lnTo>
                    <a:lnTo>
                      <a:pt x="903" y="73"/>
                    </a:lnTo>
                    <a:lnTo>
                      <a:pt x="905" y="70"/>
                    </a:lnTo>
                    <a:lnTo>
                      <a:pt x="905" y="70"/>
                    </a:lnTo>
                    <a:lnTo>
                      <a:pt x="905" y="70"/>
                    </a:lnTo>
                    <a:lnTo>
                      <a:pt x="905" y="75"/>
                    </a:lnTo>
                    <a:lnTo>
                      <a:pt x="903" y="75"/>
                    </a:lnTo>
                    <a:lnTo>
                      <a:pt x="900" y="78"/>
                    </a:lnTo>
                    <a:lnTo>
                      <a:pt x="900" y="78"/>
                    </a:lnTo>
                    <a:lnTo>
                      <a:pt x="898" y="78"/>
                    </a:lnTo>
                    <a:lnTo>
                      <a:pt x="896" y="80"/>
                    </a:lnTo>
                    <a:lnTo>
                      <a:pt x="896" y="80"/>
                    </a:lnTo>
                    <a:lnTo>
                      <a:pt x="893" y="80"/>
                    </a:lnTo>
                    <a:lnTo>
                      <a:pt x="893" y="80"/>
                    </a:lnTo>
                    <a:lnTo>
                      <a:pt x="893" y="80"/>
                    </a:lnTo>
                    <a:lnTo>
                      <a:pt x="891" y="80"/>
                    </a:lnTo>
                    <a:lnTo>
                      <a:pt x="891" y="80"/>
                    </a:lnTo>
                    <a:lnTo>
                      <a:pt x="889" y="80"/>
                    </a:lnTo>
                    <a:lnTo>
                      <a:pt x="889" y="80"/>
                    </a:lnTo>
                    <a:lnTo>
                      <a:pt x="886" y="82"/>
                    </a:lnTo>
                    <a:lnTo>
                      <a:pt x="886" y="82"/>
                    </a:lnTo>
                    <a:lnTo>
                      <a:pt x="884" y="85"/>
                    </a:lnTo>
                    <a:lnTo>
                      <a:pt x="884" y="85"/>
                    </a:lnTo>
                    <a:lnTo>
                      <a:pt x="884" y="87"/>
                    </a:lnTo>
                    <a:lnTo>
                      <a:pt x="884" y="87"/>
                    </a:lnTo>
                    <a:lnTo>
                      <a:pt x="884" y="89"/>
                    </a:lnTo>
                    <a:lnTo>
                      <a:pt x="881" y="89"/>
                    </a:lnTo>
                    <a:lnTo>
                      <a:pt x="879" y="92"/>
                    </a:lnTo>
                    <a:lnTo>
                      <a:pt x="881" y="94"/>
                    </a:lnTo>
                    <a:lnTo>
                      <a:pt x="881" y="96"/>
                    </a:lnTo>
                    <a:lnTo>
                      <a:pt x="881" y="96"/>
                    </a:lnTo>
                    <a:lnTo>
                      <a:pt x="884" y="96"/>
                    </a:lnTo>
                    <a:lnTo>
                      <a:pt x="884" y="99"/>
                    </a:lnTo>
                    <a:lnTo>
                      <a:pt x="881" y="101"/>
                    </a:lnTo>
                    <a:lnTo>
                      <a:pt x="881" y="101"/>
                    </a:lnTo>
                    <a:lnTo>
                      <a:pt x="881" y="104"/>
                    </a:lnTo>
                    <a:lnTo>
                      <a:pt x="881" y="104"/>
                    </a:lnTo>
                    <a:lnTo>
                      <a:pt x="881" y="104"/>
                    </a:lnTo>
                    <a:lnTo>
                      <a:pt x="881" y="106"/>
                    </a:lnTo>
                    <a:lnTo>
                      <a:pt x="881" y="106"/>
                    </a:lnTo>
                    <a:lnTo>
                      <a:pt x="881" y="108"/>
                    </a:lnTo>
                    <a:lnTo>
                      <a:pt x="881" y="108"/>
                    </a:lnTo>
                    <a:lnTo>
                      <a:pt x="879" y="111"/>
                    </a:lnTo>
                    <a:lnTo>
                      <a:pt x="879" y="113"/>
                    </a:lnTo>
                    <a:lnTo>
                      <a:pt x="879" y="113"/>
                    </a:lnTo>
                    <a:lnTo>
                      <a:pt x="881" y="113"/>
                    </a:lnTo>
                    <a:lnTo>
                      <a:pt x="881" y="115"/>
                    </a:lnTo>
                    <a:lnTo>
                      <a:pt x="881" y="118"/>
                    </a:lnTo>
                    <a:lnTo>
                      <a:pt x="881" y="120"/>
                    </a:lnTo>
                    <a:lnTo>
                      <a:pt x="884" y="122"/>
                    </a:lnTo>
                    <a:lnTo>
                      <a:pt x="884" y="122"/>
                    </a:lnTo>
                    <a:lnTo>
                      <a:pt x="884" y="122"/>
                    </a:lnTo>
                    <a:lnTo>
                      <a:pt x="884" y="125"/>
                    </a:lnTo>
                    <a:lnTo>
                      <a:pt x="886" y="125"/>
                    </a:lnTo>
                    <a:lnTo>
                      <a:pt x="886" y="125"/>
                    </a:lnTo>
                    <a:lnTo>
                      <a:pt x="891" y="125"/>
                    </a:lnTo>
                    <a:lnTo>
                      <a:pt x="893" y="122"/>
                    </a:lnTo>
                    <a:lnTo>
                      <a:pt x="893" y="122"/>
                    </a:lnTo>
                    <a:lnTo>
                      <a:pt x="898" y="122"/>
                    </a:lnTo>
                    <a:lnTo>
                      <a:pt x="903" y="118"/>
                    </a:lnTo>
                    <a:lnTo>
                      <a:pt x="905" y="118"/>
                    </a:lnTo>
                    <a:lnTo>
                      <a:pt x="905" y="118"/>
                    </a:lnTo>
                    <a:lnTo>
                      <a:pt x="907" y="115"/>
                    </a:lnTo>
                    <a:lnTo>
                      <a:pt x="912" y="115"/>
                    </a:lnTo>
                    <a:lnTo>
                      <a:pt x="915" y="115"/>
                    </a:lnTo>
                    <a:lnTo>
                      <a:pt x="915" y="115"/>
                    </a:lnTo>
                    <a:lnTo>
                      <a:pt x="915" y="118"/>
                    </a:lnTo>
                    <a:lnTo>
                      <a:pt x="915" y="120"/>
                    </a:lnTo>
                    <a:lnTo>
                      <a:pt x="910" y="122"/>
                    </a:lnTo>
                    <a:lnTo>
                      <a:pt x="907" y="125"/>
                    </a:lnTo>
                    <a:lnTo>
                      <a:pt x="905" y="127"/>
                    </a:lnTo>
                    <a:lnTo>
                      <a:pt x="905" y="127"/>
                    </a:lnTo>
                    <a:lnTo>
                      <a:pt x="903" y="130"/>
                    </a:lnTo>
                    <a:lnTo>
                      <a:pt x="900" y="130"/>
                    </a:lnTo>
                    <a:lnTo>
                      <a:pt x="898" y="132"/>
                    </a:lnTo>
                    <a:lnTo>
                      <a:pt x="896" y="132"/>
                    </a:lnTo>
                    <a:lnTo>
                      <a:pt x="893" y="132"/>
                    </a:lnTo>
                    <a:lnTo>
                      <a:pt x="893" y="134"/>
                    </a:lnTo>
                    <a:lnTo>
                      <a:pt x="891" y="137"/>
                    </a:lnTo>
                    <a:lnTo>
                      <a:pt x="891" y="137"/>
                    </a:lnTo>
                    <a:lnTo>
                      <a:pt x="891" y="137"/>
                    </a:lnTo>
                    <a:lnTo>
                      <a:pt x="891" y="137"/>
                    </a:lnTo>
                    <a:lnTo>
                      <a:pt x="893" y="139"/>
                    </a:lnTo>
                    <a:lnTo>
                      <a:pt x="893" y="141"/>
                    </a:lnTo>
                    <a:lnTo>
                      <a:pt x="893" y="141"/>
                    </a:lnTo>
                    <a:lnTo>
                      <a:pt x="891" y="144"/>
                    </a:lnTo>
                    <a:lnTo>
                      <a:pt x="891" y="144"/>
                    </a:lnTo>
                    <a:lnTo>
                      <a:pt x="893" y="144"/>
                    </a:lnTo>
                    <a:lnTo>
                      <a:pt x="893" y="146"/>
                    </a:lnTo>
                    <a:lnTo>
                      <a:pt x="891" y="146"/>
                    </a:lnTo>
                    <a:lnTo>
                      <a:pt x="891" y="148"/>
                    </a:lnTo>
                    <a:lnTo>
                      <a:pt x="891" y="151"/>
                    </a:lnTo>
                    <a:lnTo>
                      <a:pt x="891" y="153"/>
                    </a:lnTo>
                    <a:lnTo>
                      <a:pt x="891" y="153"/>
                    </a:lnTo>
                    <a:lnTo>
                      <a:pt x="891" y="156"/>
                    </a:lnTo>
                    <a:lnTo>
                      <a:pt x="893" y="153"/>
                    </a:lnTo>
                    <a:lnTo>
                      <a:pt x="893" y="156"/>
                    </a:lnTo>
                    <a:lnTo>
                      <a:pt x="896" y="153"/>
                    </a:lnTo>
                    <a:lnTo>
                      <a:pt x="900" y="156"/>
                    </a:lnTo>
                    <a:lnTo>
                      <a:pt x="900" y="158"/>
                    </a:lnTo>
                    <a:lnTo>
                      <a:pt x="896" y="160"/>
                    </a:lnTo>
                    <a:lnTo>
                      <a:pt x="893" y="163"/>
                    </a:lnTo>
                    <a:lnTo>
                      <a:pt x="893" y="165"/>
                    </a:lnTo>
                    <a:lnTo>
                      <a:pt x="891" y="165"/>
                    </a:lnTo>
                    <a:lnTo>
                      <a:pt x="891" y="165"/>
                    </a:lnTo>
                    <a:lnTo>
                      <a:pt x="889" y="170"/>
                    </a:lnTo>
                    <a:lnTo>
                      <a:pt x="886" y="170"/>
                    </a:lnTo>
                    <a:lnTo>
                      <a:pt x="889" y="172"/>
                    </a:lnTo>
                    <a:lnTo>
                      <a:pt x="891" y="172"/>
                    </a:lnTo>
                    <a:lnTo>
                      <a:pt x="891" y="172"/>
                    </a:lnTo>
                    <a:lnTo>
                      <a:pt x="891" y="174"/>
                    </a:lnTo>
                    <a:lnTo>
                      <a:pt x="891" y="174"/>
                    </a:lnTo>
                    <a:lnTo>
                      <a:pt x="886" y="177"/>
                    </a:lnTo>
                    <a:lnTo>
                      <a:pt x="886" y="177"/>
                    </a:lnTo>
                    <a:lnTo>
                      <a:pt x="889" y="179"/>
                    </a:lnTo>
                    <a:lnTo>
                      <a:pt x="891" y="177"/>
                    </a:lnTo>
                    <a:lnTo>
                      <a:pt x="893" y="182"/>
                    </a:lnTo>
                    <a:lnTo>
                      <a:pt x="891" y="182"/>
                    </a:lnTo>
                    <a:lnTo>
                      <a:pt x="886" y="184"/>
                    </a:lnTo>
                    <a:lnTo>
                      <a:pt x="884" y="184"/>
                    </a:lnTo>
                    <a:lnTo>
                      <a:pt x="886" y="186"/>
                    </a:lnTo>
                    <a:lnTo>
                      <a:pt x="886" y="189"/>
                    </a:lnTo>
                    <a:lnTo>
                      <a:pt x="886" y="189"/>
                    </a:lnTo>
                    <a:lnTo>
                      <a:pt x="889" y="189"/>
                    </a:lnTo>
                    <a:lnTo>
                      <a:pt x="891" y="191"/>
                    </a:lnTo>
                    <a:lnTo>
                      <a:pt x="891" y="191"/>
                    </a:lnTo>
                    <a:lnTo>
                      <a:pt x="891" y="191"/>
                    </a:lnTo>
                    <a:lnTo>
                      <a:pt x="886" y="198"/>
                    </a:lnTo>
                    <a:lnTo>
                      <a:pt x="886" y="200"/>
                    </a:lnTo>
                    <a:lnTo>
                      <a:pt x="886" y="205"/>
                    </a:lnTo>
                    <a:lnTo>
                      <a:pt x="891" y="207"/>
                    </a:lnTo>
                    <a:lnTo>
                      <a:pt x="893" y="207"/>
                    </a:lnTo>
                    <a:lnTo>
                      <a:pt x="893" y="207"/>
                    </a:lnTo>
                    <a:lnTo>
                      <a:pt x="893" y="210"/>
                    </a:lnTo>
                    <a:lnTo>
                      <a:pt x="893" y="212"/>
                    </a:lnTo>
                    <a:lnTo>
                      <a:pt x="893" y="215"/>
                    </a:lnTo>
                    <a:lnTo>
                      <a:pt x="891" y="217"/>
                    </a:lnTo>
                    <a:lnTo>
                      <a:pt x="889" y="219"/>
                    </a:lnTo>
                    <a:lnTo>
                      <a:pt x="891" y="219"/>
                    </a:lnTo>
                    <a:lnTo>
                      <a:pt x="891" y="219"/>
                    </a:lnTo>
                    <a:lnTo>
                      <a:pt x="891" y="219"/>
                    </a:lnTo>
                    <a:lnTo>
                      <a:pt x="891" y="224"/>
                    </a:lnTo>
                    <a:lnTo>
                      <a:pt x="889" y="224"/>
                    </a:lnTo>
                    <a:lnTo>
                      <a:pt x="889" y="222"/>
                    </a:lnTo>
                    <a:lnTo>
                      <a:pt x="886" y="224"/>
                    </a:lnTo>
                    <a:lnTo>
                      <a:pt x="889" y="224"/>
                    </a:lnTo>
                    <a:lnTo>
                      <a:pt x="891" y="224"/>
                    </a:lnTo>
                    <a:lnTo>
                      <a:pt x="893" y="226"/>
                    </a:lnTo>
                    <a:lnTo>
                      <a:pt x="896" y="226"/>
                    </a:lnTo>
                    <a:lnTo>
                      <a:pt x="896" y="226"/>
                    </a:lnTo>
                    <a:lnTo>
                      <a:pt x="896" y="229"/>
                    </a:lnTo>
                    <a:lnTo>
                      <a:pt x="896" y="231"/>
                    </a:lnTo>
                    <a:lnTo>
                      <a:pt x="900" y="231"/>
                    </a:lnTo>
                    <a:lnTo>
                      <a:pt x="903" y="231"/>
                    </a:lnTo>
                    <a:lnTo>
                      <a:pt x="905" y="231"/>
                    </a:lnTo>
                    <a:lnTo>
                      <a:pt x="905" y="233"/>
                    </a:lnTo>
                    <a:lnTo>
                      <a:pt x="905" y="236"/>
                    </a:lnTo>
                    <a:lnTo>
                      <a:pt x="907" y="236"/>
                    </a:lnTo>
                    <a:lnTo>
                      <a:pt x="907" y="238"/>
                    </a:lnTo>
                    <a:lnTo>
                      <a:pt x="910" y="238"/>
                    </a:lnTo>
                    <a:lnTo>
                      <a:pt x="910" y="236"/>
                    </a:lnTo>
                    <a:lnTo>
                      <a:pt x="912" y="236"/>
                    </a:lnTo>
                    <a:lnTo>
                      <a:pt x="915" y="238"/>
                    </a:lnTo>
                    <a:lnTo>
                      <a:pt x="912" y="241"/>
                    </a:lnTo>
                    <a:lnTo>
                      <a:pt x="915" y="243"/>
                    </a:lnTo>
                    <a:lnTo>
                      <a:pt x="917" y="243"/>
                    </a:lnTo>
                    <a:lnTo>
                      <a:pt x="917" y="245"/>
                    </a:lnTo>
                    <a:lnTo>
                      <a:pt x="917" y="245"/>
                    </a:lnTo>
                    <a:lnTo>
                      <a:pt x="919" y="245"/>
                    </a:lnTo>
                    <a:lnTo>
                      <a:pt x="919" y="245"/>
                    </a:lnTo>
                    <a:lnTo>
                      <a:pt x="922" y="245"/>
                    </a:lnTo>
                    <a:lnTo>
                      <a:pt x="922" y="245"/>
                    </a:lnTo>
                    <a:lnTo>
                      <a:pt x="922" y="248"/>
                    </a:lnTo>
                    <a:lnTo>
                      <a:pt x="924" y="248"/>
                    </a:lnTo>
                    <a:lnTo>
                      <a:pt x="924" y="248"/>
                    </a:lnTo>
                    <a:lnTo>
                      <a:pt x="926" y="252"/>
                    </a:lnTo>
                    <a:lnTo>
                      <a:pt x="926" y="255"/>
                    </a:lnTo>
                    <a:lnTo>
                      <a:pt x="929" y="255"/>
                    </a:lnTo>
                    <a:lnTo>
                      <a:pt x="929" y="257"/>
                    </a:lnTo>
                    <a:lnTo>
                      <a:pt x="931" y="257"/>
                    </a:lnTo>
                    <a:lnTo>
                      <a:pt x="931" y="257"/>
                    </a:lnTo>
                    <a:lnTo>
                      <a:pt x="931" y="259"/>
                    </a:lnTo>
                    <a:lnTo>
                      <a:pt x="931" y="259"/>
                    </a:lnTo>
                    <a:lnTo>
                      <a:pt x="931" y="262"/>
                    </a:lnTo>
                    <a:lnTo>
                      <a:pt x="929" y="262"/>
                    </a:lnTo>
                    <a:lnTo>
                      <a:pt x="929" y="264"/>
                    </a:lnTo>
                    <a:lnTo>
                      <a:pt x="929" y="264"/>
                    </a:lnTo>
                    <a:lnTo>
                      <a:pt x="926" y="264"/>
                    </a:lnTo>
                    <a:lnTo>
                      <a:pt x="924" y="267"/>
                    </a:lnTo>
                    <a:lnTo>
                      <a:pt x="924" y="267"/>
                    </a:lnTo>
                    <a:lnTo>
                      <a:pt x="924" y="267"/>
                    </a:lnTo>
                    <a:lnTo>
                      <a:pt x="922" y="267"/>
                    </a:lnTo>
                    <a:lnTo>
                      <a:pt x="919" y="264"/>
                    </a:lnTo>
                    <a:lnTo>
                      <a:pt x="919" y="264"/>
                    </a:lnTo>
                    <a:lnTo>
                      <a:pt x="919" y="267"/>
                    </a:lnTo>
                    <a:lnTo>
                      <a:pt x="919" y="267"/>
                    </a:lnTo>
                    <a:lnTo>
                      <a:pt x="919" y="267"/>
                    </a:lnTo>
                    <a:lnTo>
                      <a:pt x="919" y="267"/>
                    </a:lnTo>
                    <a:lnTo>
                      <a:pt x="919" y="269"/>
                    </a:lnTo>
                    <a:lnTo>
                      <a:pt x="919" y="271"/>
                    </a:lnTo>
                    <a:lnTo>
                      <a:pt x="919" y="271"/>
                    </a:lnTo>
                    <a:lnTo>
                      <a:pt x="919" y="274"/>
                    </a:lnTo>
                    <a:lnTo>
                      <a:pt x="922" y="274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19" y="276"/>
                    </a:lnTo>
                    <a:lnTo>
                      <a:pt x="922" y="276"/>
                    </a:lnTo>
                    <a:lnTo>
                      <a:pt x="919" y="278"/>
                    </a:lnTo>
                    <a:lnTo>
                      <a:pt x="922" y="278"/>
                    </a:lnTo>
                    <a:lnTo>
                      <a:pt x="922" y="281"/>
                    </a:lnTo>
                    <a:lnTo>
                      <a:pt x="924" y="281"/>
                    </a:lnTo>
                    <a:lnTo>
                      <a:pt x="922" y="283"/>
                    </a:lnTo>
                    <a:lnTo>
                      <a:pt x="922" y="281"/>
                    </a:lnTo>
                    <a:lnTo>
                      <a:pt x="922" y="283"/>
                    </a:lnTo>
                    <a:lnTo>
                      <a:pt x="922" y="283"/>
                    </a:lnTo>
                    <a:lnTo>
                      <a:pt x="922" y="283"/>
                    </a:lnTo>
                    <a:lnTo>
                      <a:pt x="922" y="285"/>
                    </a:lnTo>
                    <a:lnTo>
                      <a:pt x="922" y="285"/>
                    </a:lnTo>
                    <a:lnTo>
                      <a:pt x="922" y="285"/>
                    </a:lnTo>
                    <a:lnTo>
                      <a:pt x="922" y="285"/>
                    </a:lnTo>
                    <a:lnTo>
                      <a:pt x="922" y="288"/>
                    </a:lnTo>
                    <a:lnTo>
                      <a:pt x="919" y="290"/>
                    </a:lnTo>
                    <a:lnTo>
                      <a:pt x="922" y="293"/>
                    </a:lnTo>
                    <a:lnTo>
                      <a:pt x="922" y="293"/>
                    </a:lnTo>
                    <a:lnTo>
                      <a:pt x="922" y="295"/>
                    </a:lnTo>
                    <a:lnTo>
                      <a:pt x="922" y="295"/>
                    </a:lnTo>
                    <a:lnTo>
                      <a:pt x="922" y="297"/>
                    </a:lnTo>
                    <a:lnTo>
                      <a:pt x="919" y="297"/>
                    </a:lnTo>
                    <a:lnTo>
                      <a:pt x="919" y="297"/>
                    </a:lnTo>
                    <a:lnTo>
                      <a:pt x="919" y="297"/>
                    </a:lnTo>
                    <a:lnTo>
                      <a:pt x="919" y="297"/>
                    </a:lnTo>
                    <a:lnTo>
                      <a:pt x="917" y="297"/>
                    </a:lnTo>
                    <a:lnTo>
                      <a:pt x="917" y="300"/>
                    </a:lnTo>
                    <a:lnTo>
                      <a:pt x="917" y="300"/>
                    </a:lnTo>
                    <a:lnTo>
                      <a:pt x="917" y="300"/>
                    </a:lnTo>
                    <a:lnTo>
                      <a:pt x="917" y="302"/>
                    </a:lnTo>
                    <a:lnTo>
                      <a:pt x="919" y="302"/>
                    </a:lnTo>
                    <a:lnTo>
                      <a:pt x="919" y="302"/>
                    </a:lnTo>
                    <a:lnTo>
                      <a:pt x="919" y="304"/>
                    </a:lnTo>
                    <a:lnTo>
                      <a:pt x="919" y="307"/>
                    </a:lnTo>
                    <a:lnTo>
                      <a:pt x="919" y="307"/>
                    </a:lnTo>
                    <a:lnTo>
                      <a:pt x="919" y="309"/>
                    </a:lnTo>
                    <a:lnTo>
                      <a:pt x="919" y="311"/>
                    </a:lnTo>
                    <a:lnTo>
                      <a:pt x="919" y="311"/>
                    </a:lnTo>
                    <a:lnTo>
                      <a:pt x="919" y="311"/>
                    </a:lnTo>
                    <a:lnTo>
                      <a:pt x="919" y="316"/>
                    </a:lnTo>
                    <a:lnTo>
                      <a:pt x="919" y="316"/>
                    </a:lnTo>
                    <a:lnTo>
                      <a:pt x="917" y="316"/>
                    </a:lnTo>
                    <a:lnTo>
                      <a:pt x="917" y="319"/>
                    </a:lnTo>
                    <a:lnTo>
                      <a:pt x="915" y="319"/>
                    </a:lnTo>
                    <a:lnTo>
                      <a:pt x="915" y="319"/>
                    </a:lnTo>
                    <a:lnTo>
                      <a:pt x="915" y="321"/>
                    </a:lnTo>
                    <a:lnTo>
                      <a:pt x="915" y="321"/>
                    </a:lnTo>
                    <a:lnTo>
                      <a:pt x="917" y="323"/>
                    </a:lnTo>
                    <a:lnTo>
                      <a:pt x="915" y="326"/>
                    </a:lnTo>
                    <a:lnTo>
                      <a:pt x="915" y="326"/>
                    </a:lnTo>
                    <a:lnTo>
                      <a:pt x="915" y="328"/>
                    </a:lnTo>
                    <a:lnTo>
                      <a:pt x="912" y="330"/>
                    </a:lnTo>
                    <a:lnTo>
                      <a:pt x="910" y="328"/>
                    </a:lnTo>
                    <a:lnTo>
                      <a:pt x="910" y="333"/>
                    </a:lnTo>
                    <a:lnTo>
                      <a:pt x="910" y="333"/>
                    </a:lnTo>
                    <a:lnTo>
                      <a:pt x="907" y="333"/>
                    </a:lnTo>
                    <a:lnTo>
                      <a:pt x="905" y="333"/>
                    </a:lnTo>
                    <a:lnTo>
                      <a:pt x="905" y="330"/>
                    </a:lnTo>
                    <a:lnTo>
                      <a:pt x="903" y="330"/>
                    </a:lnTo>
                    <a:lnTo>
                      <a:pt x="903" y="333"/>
                    </a:lnTo>
                    <a:lnTo>
                      <a:pt x="903" y="333"/>
                    </a:lnTo>
                    <a:lnTo>
                      <a:pt x="900" y="330"/>
                    </a:lnTo>
                    <a:lnTo>
                      <a:pt x="900" y="330"/>
                    </a:lnTo>
                    <a:lnTo>
                      <a:pt x="900" y="330"/>
                    </a:lnTo>
                    <a:lnTo>
                      <a:pt x="900" y="333"/>
                    </a:lnTo>
                    <a:lnTo>
                      <a:pt x="898" y="335"/>
                    </a:lnTo>
                    <a:lnTo>
                      <a:pt x="893" y="333"/>
                    </a:lnTo>
                    <a:lnTo>
                      <a:pt x="893" y="333"/>
                    </a:lnTo>
                    <a:lnTo>
                      <a:pt x="893" y="335"/>
                    </a:lnTo>
                    <a:lnTo>
                      <a:pt x="891" y="335"/>
                    </a:lnTo>
                    <a:lnTo>
                      <a:pt x="891" y="330"/>
                    </a:lnTo>
                    <a:lnTo>
                      <a:pt x="889" y="330"/>
                    </a:lnTo>
                    <a:lnTo>
                      <a:pt x="886" y="333"/>
                    </a:lnTo>
                    <a:lnTo>
                      <a:pt x="884" y="333"/>
                    </a:lnTo>
                    <a:lnTo>
                      <a:pt x="884" y="330"/>
                    </a:lnTo>
                    <a:lnTo>
                      <a:pt x="884" y="330"/>
                    </a:lnTo>
                    <a:lnTo>
                      <a:pt x="881" y="330"/>
                    </a:lnTo>
                    <a:lnTo>
                      <a:pt x="881" y="328"/>
                    </a:lnTo>
                    <a:lnTo>
                      <a:pt x="879" y="328"/>
                    </a:lnTo>
                    <a:lnTo>
                      <a:pt x="881" y="328"/>
                    </a:lnTo>
                    <a:lnTo>
                      <a:pt x="881" y="326"/>
                    </a:lnTo>
                    <a:lnTo>
                      <a:pt x="881" y="326"/>
                    </a:lnTo>
                    <a:lnTo>
                      <a:pt x="881" y="323"/>
                    </a:lnTo>
                    <a:lnTo>
                      <a:pt x="881" y="323"/>
                    </a:lnTo>
                    <a:lnTo>
                      <a:pt x="879" y="321"/>
                    </a:lnTo>
                    <a:lnTo>
                      <a:pt x="879" y="321"/>
                    </a:lnTo>
                    <a:lnTo>
                      <a:pt x="879" y="319"/>
                    </a:lnTo>
                    <a:lnTo>
                      <a:pt x="877" y="319"/>
                    </a:lnTo>
                    <a:lnTo>
                      <a:pt x="877" y="316"/>
                    </a:lnTo>
                    <a:lnTo>
                      <a:pt x="874" y="316"/>
                    </a:lnTo>
                    <a:lnTo>
                      <a:pt x="874" y="316"/>
                    </a:lnTo>
                    <a:lnTo>
                      <a:pt x="874" y="314"/>
                    </a:lnTo>
                    <a:lnTo>
                      <a:pt x="872" y="314"/>
                    </a:lnTo>
                    <a:lnTo>
                      <a:pt x="870" y="311"/>
                    </a:lnTo>
                    <a:lnTo>
                      <a:pt x="865" y="309"/>
                    </a:lnTo>
                    <a:lnTo>
                      <a:pt x="865" y="307"/>
                    </a:lnTo>
                    <a:lnTo>
                      <a:pt x="863" y="307"/>
                    </a:lnTo>
                    <a:lnTo>
                      <a:pt x="860" y="304"/>
                    </a:lnTo>
                    <a:lnTo>
                      <a:pt x="860" y="302"/>
                    </a:lnTo>
                    <a:lnTo>
                      <a:pt x="858" y="304"/>
                    </a:lnTo>
                    <a:lnTo>
                      <a:pt x="855" y="302"/>
                    </a:lnTo>
                    <a:lnTo>
                      <a:pt x="855" y="304"/>
                    </a:lnTo>
                    <a:lnTo>
                      <a:pt x="855" y="307"/>
                    </a:lnTo>
                    <a:lnTo>
                      <a:pt x="855" y="307"/>
                    </a:lnTo>
                    <a:lnTo>
                      <a:pt x="855" y="309"/>
                    </a:lnTo>
                    <a:lnTo>
                      <a:pt x="853" y="309"/>
                    </a:lnTo>
                    <a:lnTo>
                      <a:pt x="851" y="309"/>
                    </a:lnTo>
                    <a:lnTo>
                      <a:pt x="851" y="311"/>
                    </a:lnTo>
                    <a:lnTo>
                      <a:pt x="848" y="314"/>
                    </a:lnTo>
                    <a:lnTo>
                      <a:pt x="848" y="316"/>
                    </a:lnTo>
                    <a:lnTo>
                      <a:pt x="848" y="316"/>
                    </a:lnTo>
                    <a:lnTo>
                      <a:pt x="848" y="319"/>
                    </a:lnTo>
                    <a:lnTo>
                      <a:pt x="848" y="319"/>
                    </a:lnTo>
                    <a:lnTo>
                      <a:pt x="853" y="319"/>
                    </a:lnTo>
                    <a:lnTo>
                      <a:pt x="853" y="319"/>
                    </a:lnTo>
                    <a:lnTo>
                      <a:pt x="855" y="321"/>
                    </a:lnTo>
                    <a:lnTo>
                      <a:pt x="853" y="326"/>
                    </a:lnTo>
                    <a:lnTo>
                      <a:pt x="853" y="328"/>
                    </a:lnTo>
                    <a:lnTo>
                      <a:pt x="851" y="333"/>
                    </a:lnTo>
                    <a:lnTo>
                      <a:pt x="853" y="335"/>
                    </a:lnTo>
                    <a:lnTo>
                      <a:pt x="853" y="335"/>
                    </a:lnTo>
                    <a:lnTo>
                      <a:pt x="853" y="337"/>
                    </a:lnTo>
                    <a:lnTo>
                      <a:pt x="855" y="337"/>
                    </a:lnTo>
                    <a:lnTo>
                      <a:pt x="855" y="337"/>
                    </a:lnTo>
                    <a:lnTo>
                      <a:pt x="855" y="340"/>
                    </a:lnTo>
                    <a:lnTo>
                      <a:pt x="853" y="340"/>
                    </a:lnTo>
                    <a:lnTo>
                      <a:pt x="853" y="342"/>
                    </a:lnTo>
                    <a:lnTo>
                      <a:pt x="855" y="345"/>
                    </a:lnTo>
                    <a:lnTo>
                      <a:pt x="855" y="345"/>
                    </a:lnTo>
                    <a:lnTo>
                      <a:pt x="855" y="345"/>
                    </a:lnTo>
                    <a:lnTo>
                      <a:pt x="855" y="349"/>
                    </a:lnTo>
                    <a:lnTo>
                      <a:pt x="855" y="349"/>
                    </a:lnTo>
                    <a:lnTo>
                      <a:pt x="853" y="349"/>
                    </a:lnTo>
                    <a:lnTo>
                      <a:pt x="853" y="349"/>
                    </a:lnTo>
                    <a:lnTo>
                      <a:pt x="851" y="349"/>
                    </a:lnTo>
                    <a:lnTo>
                      <a:pt x="851" y="349"/>
                    </a:lnTo>
                    <a:lnTo>
                      <a:pt x="848" y="352"/>
                    </a:lnTo>
                    <a:lnTo>
                      <a:pt x="848" y="354"/>
                    </a:lnTo>
                    <a:lnTo>
                      <a:pt x="846" y="352"/>
                    </a:lnTo>
                    <a:lnTo>
                      <a:pt x="844" y="354"/>
                    </a:lnTo>
                    <a:lnTo>
                      <a:pt x="844" y="354"/>
                    </a:lnTo>
                    <a:lnTo>
                      <a:pt x="841" y="354"/>
                    </a:lnTo>
                    <a:lnTo>
                      <a:pt x="839" y="354"/>
                    </a:lnTo>
                    <a:lnTo>
                      <a:pt x="837" y="352"/>
                    </a:lnTo>
                    <a:lnTo>
                      <a:pt x="834" y="349"/>
                    </a:lnTo>
                    <a:lnTo>
                      <a:pt x="832" y="349"/>
                    </a:lnTo>
                    <a:lnTo>
                      <a:pt x="827" y="347"/>
                    </a:lnTo>
                    <a:lnTo>
                      <a:pt x="825" y="347"/>
                    </a:lnTo>
                    <a:lnTo>
                      <a:pt x="820" y="345"/>
                    </a:lnTo>
                    <a:lnTo>
                      <a:pt x="815" y="345"/>
                    </a:lnTo>
                    <a:lnTo>
                      <a:pt x="811" y="342"/>
                    </a:lnTo>
                    <a:lnTo>
                      <a:pt x="811" y="345"/>
                    </a:lnTo>
                    <a:lnTo>
                      <a:pt x="803" y="349"/>
                    </a:lnTo>
                    <a:lnTo>
                      <a:pt x="803" y="349"/>
                    </a:lnTo>
                    <a:lnTo>
                      <a:pt x="803" y="352"/>
                    </a:lnTo>
                    <a:lnTo>
                      <a:pt x="803" y="354"/>
                    </a:lnTo>
                    <a:lnTo>
                      <a:pt x="806" y="354"/>
                    </a:lnTo>
                    <a:lnTo>
                      <a:pt x="806" y="356"/>
                    </a:lnTo>
                    <a:lnTo>
                      <a:pt x="808" y="356"/>
                    </a:lnTo>
                    <a:lnTo>
                      <a:pt x="808" y="356"/>
                    </a:lnTo>
                    <a:lnTo>
                      <a:pt x="806" y="359"/>
                    </a:lnTo>
                    <a:lnTo>
                      <a:pt x="803" y="363"/>
                    </a:lnTo>
                    <a:lnTo>
                      <a:pt x="803" y="366"/>
                    </a:lnTo>
                    <a:lnTo>
                      <a:pt x="801" y="368"/>
                    </a:lnTo>
                    <a:lnTo>
                      <a:pt x="801" y="370"/>
                    </a:lnTo>
                    <a:lnTo>
                      <a:pt x="801" y="373"/>
                    </a:lnTo>
                    <a:lnTo>
                      <a:pt x="803" y="375"/>
                    </a:lnTo>
                    <a:lnTo>
                      <a:pt x="803" y="373"/>
                    </a:lnTo>
                    <a:lnTo>
                      <a:pt x="806" y="373"/>
                    </a:lnTo>
                    <a:lnTo>
                      <a:pt x="806" y="373"/>
                    </a:lnTo>
                    <a:lnTo>
                      <a:pt x="808" y="373"/>
                    </a:lnTo>
                    <a:lnTo>
                      <a:pt x="808" y="380"/>
                    </a:lnTo>
                    <a:lnTo>
                      <a:pt x="811" y="380"/>
                    </a:lnTo>
                    <a:lnTo>
                      <a:pt x="813" y="385"/>
                    </a:lnTo>
                    <a:lnTo>
                      <a:pt x="813" y="387"/>
                    </a:lnTo>
                    <a:lnTo>
                      <a:pt x="811" y="387"/>
                    </a:lnTo>
                    <a:lnTo>
                      <a:pt x="811" y="389"/>
                    </a:lnTo>
                    <a:lnTo>
                      <a:pt x="813" y="389"/>
                    </a:lnTo>
                    <a:lnTo>
                      <a:pt x="813" y="392"/>
                    </a:lnTo>
                    <a:lnTo>
                      <a:pt x="811" y="392"/>
                    </a:lnTo>
                    <a:lnTo>
                      <a:pt x="808" y="394"/>
                    </a:lnTo>
                    <a:lnTo>
                      <a:pt x="806" y="394"/>
                    </a:lnTo>
                    <a:lnTo>
                      <a:pt x="803" y="396"/>
                    </a:lnTo>
                    <a:lnTo>
                      <a:pt x="801" y="399"/>
                    </a:lnTo>
                    <a:lnTo>
                      <a:pt x="801" y="404"/>
                    </a:lnTo>
                    <a:lnTo>
                      <a:pt x="801" y="411"/>
                    </a:lnTo>
                    <a:lnTo>
                      <a:pt x="801" y="413"/>
                    </a:lnTo>
                    <a:lnTo>
                      <a:pt x="801" y="415"/>
                    </a:lnTo>
                    <a:lnTo>
                      <a:pt x="803" y="418"/>
                    </a:lnTo>
                    <a:lnTo>
                      <a:pt x="806" y="420"/>
                    </a:lnTo>
                    <a:lnTo>
                      <a:pt x="808" y="420"/>
                    </a:lnTo>
                    <a:lnTo>
                      <a:pt x="808" y="420"/>
                    </a:lnTo>
                    <a:lnTo>
                      <a:pt x="808" y="422"/>
                    </a:lnTo>
                    <a:lnTo>
                      <a:pt x="813" y="422"/>
                    </a:lnTo>
                    <a:lnTo>
                      <a:pt x="813" y="422"/>
                    </a:lnTo>
                    <a:lnTo>
                      <a:pt x="811" y="425"/>
                    </a:lnTo>
                    <a:lnTo>
                      <a:pt x="813" y="427"/>
                    </a:lnTo>
                    <a:lnTo>
                      <a:pt x="811" y="432"/>
                    </a:lnTo>
                    <a:lnTo>
                      <a:pt x="813" y="434"/>
                    </a:lnTo>
                    <a:lnTo>
                      <a:pt x="815" y="437"/>
                    </a:lnTo>
                    <a:lnTo>
                      <a:pt x="815" y="439"/>
                    </a:lnTo>
                    <a:lnTo>
                      <a:pt x="818" y="444"/>
                    </a:lnTo>
                    <a:lnTo>
                      <a:pt x="815" y="448"/>
                    </a:lnTo>
                    <a:lnTo>
                      <a:pt x="818" y="448"/>
                    </a:lnTo>
                    <a:lnTo>
                      <a:pt x="815" y="448"/>
                    </a:lnTo>
                    <a:lnTo>
                      <a:pt x="818" y="453"/>
                    </a:lnTo>
                    <a:lnTo>
                      <a:pt x="818" y="456"/>
                    </a:lnTo>
                    <a:lnTo>
                      <a:pt x="818" y="456"/>
                    </a:lnTo>
                    <a:lnTo>
                      <a:pt x="818" y="458"/>
                    </a:lnTo>
                    <a:lnTo>
                      <a:pt x="815" y="458"/>
                    </a:lnTo>
                    <a:lnTo>
                      <a:pt x="799" y="463"/>
                    </a:lnTo>
                    <a:lnTo>
                      <a:pt x="787" y="465"/>
                    </a:lnTo>
                    <a:lnTo>
                      <a:pt x="782" y="467"/>
                    </a:lnTo>
                    <a:lnTo>
                      <a:pt x="782" y="467"/>
                    </a:lnTo>
                    <a:lnTo>
                      <a:pt x="782" y="467"/>
                    </a:lnTo>
                    <a:lnTo>
                      <a:pt x="780" y="467"/>
                    </a:lnTo>
                    <a:lnTo>
                      <a:pt x="780" y="467"/>
                    </a:lnTo>
                    <a:lnTo>
                      <a:pt x="778" y="465"/>
                    </a:lnTo>
                    <a:lnTo>
                      <a:pt x="775" y="465"/>
                    </a:lnTo>
                    <a:lnTo>
                      <a:pt x="778" y="465"/>
                    </a:lnTo>
                    <a:lnTo>
                      <a:pt x="775" y="463"/>
                    </a:lnTo>
                    <a:lnTo>
                      <a:pt x="775" y="463"/>
                    </a:lnTo>
                    <a:lnTo>
                      <a:pt x="775" y="463"/>
                    </a:lnTo>
                    <a:lnTo>
                      <a:pt x="775" y="465"/>
                    </a:lnTo>
                    <a:lnTo>
                      <a:pt x="775" y="465"/>
                    </a:lnTo>
                    <a:lnTo>
                      <a:pt x="775" y="465"/>
                    </a:lnTo>
                    <a:lnTo>
                      <a:pt x="773" y="465"/>
                    </a:lnTo>
                    <a:lnTo>
                      <a:pt x="773" y="465"/>
                    </a:lnTo>
                    <a:lnTo>
                      <a:pt x="773" y="465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67"/>
                    </a:lnTo>
                    <a:lnTo>
                      <a:pt x="773" y="470"/>
                    </a:lnTo>
                    <a:lnTo>
                      <a:pt x="770" y="470"/>
                    </a:lnTo>
                    <a:lnTo>
                      <a:pt x="770" y="467"/>
                    </a:lnTo>
                    <a:lnTo>
                      <a:pt x="770" y="470"/>
                    </a:lnTo>
                    <a:lnTo>
                      <a:pt x="770" y="470"/>
                    </a:lnTo>
                    <a:lnTo>
                      <a:pt x="770" y="470"/>
                    </a:lnTo>
                    <a:lnTo>
                      <a:pt x="768" y="470"/>
                    </a:lnTo>
                    <a:lnTo>
                      <a:pt x="768" y="472"/>
                    </a:lnTo>
                    <a:lnTo>
                      <a:pt x="768" y="472"/>
                    </a:lnTo>
                    <a:lnTo>
                      <a:pt x="768" y="472"/>
                    </a:lnTo>
                    <a:lnTo>
                      <a:pt x="766" y="472"/>
                    </a:lnTo>
                    <a:lnTo>
                      <a:pt x="766" y="474"/>
                    </a:lnTo>
                    <a:lnTo>
                      <a:pt x="766" y="474"/>
                    </a:lnTo>
                    <a:lnTo>
                      <a:pt x="766" y="474"/>
                    </a:lnTo>
                    <a:lnTo>
                      <a:pt x="763" y="474"/>
                    </a:lnTo>
                    <a:lnTo>
                      <a:pt x="763" y="474"/>
                    </a:lnTo>
                    <a:lnTo>
                      <a:pt x="761" y="474"/>
                    </a:lnTo>
                    <a:lnTo>
                      <a:pt x="761" y="474"/>
                    </a:lnTo>
                    <a:lnTo>
                      <a:pt x="759" y="474"/>
                    </a:lnTo>
                    <a:lnTo>
                      <a:pt x="759" y="474"/>
                    </a:lnTo>
                    <a:lnTo>
                      <a:pt x="759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6" y="477"/>
                    </a:lnTo>
                    <a:lnTo>
                      <a:pt x="754" y="477"/>
                    </a:lnTo>
                    <a:lnTo>
                      <a:pt x="754" y="477"/>
                    </a:lnTo>
                    <a:lnTo>
                      <a:pt x="754" y="477"/>
                    </a:lnTo>
                    <a:lnTo>
                      <a:pt x="754" y="477"/>
                    </a:lnTo>
                    <a:lnTo>
                      <a:pt x="752" y="477"/>
                    </a:lnTo>
                    <a:lnTo>
                      <a:pt x="752" y="474"/>
                    </a:lnTo>
                    <a:lnTo>
                      <a:pt x="749" y="474"/>
                    </a:lnTo>
                    <a:lnTo>
                      <a:pt x="749" y="474"/>
                    </a:lnTo>
                    <a:lnTo>
                      <a:pt x="749" y="474"/>
                    </a:lnTo>
                    <a:lnTo>
                      <a:pt x="749" y="474"/>
                    </a:lnTo>
                    <a:lnTo>
                      <a:pt x="747" y="474"/>
                    </a:lnTo>
                    <a:lnTo>
                      <a:pt x="747" y="472"/>
                    </a:lnTo>
                    <a:lnTo>
                      <a:pt x="747" y="472"/>
                    </a:lnTo>
                    <a:lnTo>
                      <a:pt x="747" y="472"/>
                    </a:lnTo>
                    <a:lnTo>
                      <a:pt x="747" y="472"/>
                    </a:lnTo>
                    <a:lnTo>
                      <a:pt x="747" y="472"/>
                    </a:lnTo>
                    <a:lnTo>
                      <a:pt x="747" y="470"/>
                    </a:lnTo>
                    <a:lnTo>
                      <a:pt x="747" y="467"/>
                    </a:lnTo>
                    <a:lnTo>
                      <a:pt x="747" y="467"/>
                    </a:lnTo>
                    <a:lnTo>
                      <a:pt x="747" y="467"/>
                    </a:lnTo>
                    <a:lnTo>
                      <a:pt x="747" y="467"/>
                    </a:lnTo>
                    <a:lnTo>
                      <a:pt x="747" y="465"/>
                    </a:lnTo>
                    <a:lnTo>
                      <a:pt x="747" y="465"/>
                    </a:lnTo>
                    <a:lnTo>
                      <a:pt x="747" y="465"/>
                    </a:lnTo>
                    <a:lnTo>
                      <a:pt x="747" y="465"/>
                    </a:lnTo>
                    <a:lnTo>
                      <a:pt x="747" y="463"/>
                    </a:lnTo>
                    <a:lnTo>
                      <a:pt x="747" y="463"/>
                    </a:lnTo>
                    <a:lnTo>
                      <a:pt x="747" y="463"/>
                    </a:lnTo>
                    <a:lnTo>
                      <a:pt x="747" y="463"/>
                    </a:lnTo>
                    <a:lnTo>
                      <a:pt x="747" y="460"/>
                    </a:lnTo>
                    <a:lnTo>
                      <a:pt x="747" y="460"/>
                    </a:lnTo>
                    <a:lnTo>
                      <a:pt x="747" y="460"/>
                    </a:lnTo>
                    <a:lnTo>
                      <a:pt x="747" y="458"/>
                    </a:lnTo>
                    <a:lnTo>
                      <a:pt x="747" y="458"/>
                    </a:lnTo>
                    <a:lnTo>
                      <a:pt x="744" y="458"/>
                    </a:lnTo>
                    <a:lnTo>
                      <a:pt x="747" y="458"/>
                    </a:lnTo>
                    <a:lnTo>
                      <a:pt x="747" y="456"/>
                    </a:lnTo>
                    <a:lnTo>
                      <a:pt x="747" y="456"/>
                    </a:lnTo>
                    <a:lnTo>
                      <a:pt x="747" y="456"/>
                    </a:lnTo>
                    <a:lnTo>
                      <a:pt x="747" y="453"/>
                    </a:lnTo>
                    <a:lnTo>
                      <a:pt x="747" y="453"/>
                    </a:lnTo>
                    <a:lnTo>
                      <a:pt x="747" y="451"/>
                    </a:lnTo>
                    <a:lnTo>
                      <a:pt x="747" y="451"/>
                    </a:lnTo>
                    <a:lnTo>
                      <a:pt x="747" y="451"/>
                    </a:lnTo>
                    <a:lnTo>
                      <a:pt x="747" y="448"/>
                    </a:lnTo>
                    <a:lnTo>
                      <a:pt x="749" y="448"/>
                    </a:lnTo>
                    <a:lnTo>
                      <a:pt x="749" y="448"/>
                    </a:lnTo>
                    <a:lnTo>
                      <a:pt x="749" y="448"/>
                    </a:lnTo>
                    <a:lnTo>
                      <a:pt x="749" y="446"/>
                    </a:lnTo>
                    <a:lnTo>
                      <a:pt x="749" y="446"/>
                    </a:lnTo>
                    <a:lnTo>
                      <a:pt x="752" y="444"/>
                    </a:lnTo>
                    <a:lnTo>
                      <a:pt x="752" y="444"/>
                    </a:lnTo>
                    <a:lnTo>
                      <a:pt x="752" y="441"/>
                    </a:lnTo>
                    <a:lnTo>
                      <a:pt x="752" y="441"/>
                    </a:lnTo>
                    <a:lnTo>
                      <a:pt x="754" y="441"/>
                    </a:lnTo>
                    <a:lnTo>
                      <a:pt x="754" y="439"/>
                    </a:lnTo>
                    <a:lnTo>
                      <a:pt x="754" y="441"/>
                    </a:lnTo>
                    <a:lnTo>
                      <a:pt x="754" y="439"/>
                    </a:lnTo>
                    <a:lnTo>
                      <a:pt x="754" y="439"/>
                    </a:lnTo>
                    <a:lnTo>
                      <a:pt x="754" y="439"/>
                    </a:lnTo>
                    <a:lnTo>
                      <a:pt x="754" y="437"/>
                    </a:lnTo>
                    <a:lnTo>
                      <a:pt x="754" y="437"/>
                    </a:lnTo>
                    <a:lnTo>
                      <a:pt x="754" y="434"/>
                    </a:lnTo>
                    <a:lnTo>
                      <a:pt x="754" y="432"/>
                    </a:lnTo>
                    <a:lnTo>
                      <a:pt x="754" y="432"/>
                    </a:lnTo>
                    <a:lnTo>
                      <a:pt x="752" y="432"/>
                    </a:lnTo>
                    <a:lnTo>
                      <a:pt x="752" y="430"/>
                    </a:lnTo>
                    <a:lnTo>
                      <a:pt x="752" y="430"/>
                    </a:lnTo>
                    <a:lnTo>
                      <a:pt x="752" y="427"/>
                    </a:lnTo>
                    <a:lnTo>
                      <a:pt x="752" y="427"/>
                    </a:lnTo>
                    <a:lnTo>
                      <a:pt x="752" y="425"/>
                    </a:lnTo>
                    <a:lnTo>
                      <a:pt x="754" y="420"/>
                    </a:lnTo>
                    <a:lnTo>
                      <a:pt x="754" y="420"/>
                    </a:lnTo>
                    <a:lnTo>
                      <a:pt x="754" y="418"/>
                    </a:lnTo>
                    <a:lnTo>
                      <a:pt x="752" y="418"/>
                    </a:lnTo>
                    <a:lnTo>
                      <a:pt x="749" y="418"/>
                    </a:lnTo>
                    <a:lnTo>
                      <a:pt x="747" y="418"/>
                    </a:lnTo>
                    <a:lnTo>
                      <a:pt x="744" y="418"/>
                    </a:lnTo>
                    <a:lnTo>
                      <a:pt x="744" y="415"/>
                    </a:lnTo>
                    <a:lnTo>
                      <a:pt x="744" y="415"/>
                    </a:lnTo>
                    <a:lnTo>
                      <a:pt x="742" y="413"/>
                    </a:lnTo>
                    <a:lnTo>
                      <a:pt x="740" y="413"/>
                    </a:lnTo>
                    <a:lnTo>
                      <a:pt x="740" y="408"/>
                    </a:lnTo>
                    <a:lnTo>
                      <a:pt x="730" y="408"/>
                    </a:lnTo>
                    <a:lnTo>
                      <a:pt x="721" y="408"/>
                    </a:lnTo>
                    <a:lnTo>
                      <a:pt x="709" y="408"/>
                    </a:lnTo>
                    <a:lnTo>
                      <a:pt x="695" y="408"/>
                    </a:lnTo>
                    <a:lnTo>
                      <a:pt x="662" y="408"/>
                    </a:lnTo>
                    <a:lnTo>
                      <a:pt x="659" y="408"/>
                    </a:lnTo>
                    <a:lnTo>
                      <a:pt x="640" y="408"/>
                    </a:lnTo>
                    <a:lnTo>
                      <a:pt x="640" y="408"/>
                    </a:lnTo>
                    <a:lnTo>
                      <a:pt x="640" y="422"/>
                    </a:lnTo>
                    <a:lnTo>
                      <a:pt x="638" y="422"/>
                    </a:lnTo>
                    <a:lnTo>
                      <a:pt x="638" y="425"/>
                    </a:lnTo>
                    <a:lnTo>
                      <a:pt x="636" y="427"/>
                    </a:lnTo>
                    <a:lnTo>
                      <a:pt x="636" y="432"/>
                    </a:lnTo>
                    <a:lnTo>
                      <a:pt x="636" y="434"/>
                    </a:lnTo>
                    <a:lnTo>
                      <a:pt x="638" y="434"/>
                    </a:lnTo>
                    <a:lnTo>
                      <a:pt x="638" y="434"/>
                    </a:lnTo>
                    <a:lnTo>
                      <a:pt x="640" y="437"/>
                    </a:lnTo>
                    <a:lnTo>
                      <a:pt x="640" y="439"/>
                    </a:lnTo>
                    <a:lnTo>
                      <a:pt x="640" y="441"/>
                    </a:lnTo>
                    <a:lnTo>
                      <a:pt x="638" y="441"/>
                    </a:lnTo>
                    <a:lnTo>
                      <a:pt x="636" y="444"/>
                    </a:lnTo>
                    <a:lnTo>
                      <a:pt x="636" y="446"/>
                    </a:lnTo>
                    <a:lnTo>
                      <a:pt x="633" y="446"/>
                    </a:lnTo>
                    <a:lnTo>
                      <a:pt x="631" y="448"/>
                    </a:lnTo>
                    <a:lnTo>
                      <a:pt x="631" y="451"/>
                    </a:lnTo>
                    <a:lnTo>
                      <a:pt x="631" y="451"/>
                    </a:lnTo>
                    <a:lnTo>
                      <a:pt x="631" y="456"/>
                    </a:lnTo>
                    <a:lnTo>
                      <a:pt x="633" y="458"/>
                    </a:lnTo>
                    <a:lnTo>
                      <a:pt x="631" y="458"/>
                    </a:lnTo>
                    <a:lnTo>
                      <a:pt x="631" y="458"/>
                    </a:lnTo>
                    <a:lnTo>
                      <a:pt x="631" y="460"/>
                    </a:lnTo>
                    <a:lnTo>
                      <a:pt x="633" y="460"/>
                    </a:lnTo>
                    <a:lnTo>
                      <a:pt x="633" y="463"/>
                    </a:lnTo>
                    <a:lnTo>
                      <a:pt x="631" y="463"/>
                    </a:lnTo>
                    <a:lnTo>
                      <a:pt x="631" y="463"/>
                    </a:lnTo>
                    <a:lnTo>
                      <a:pt x="633" y="465"/>
                    </a:lnTo>
                    <a:lnTo>
                      <a:pt x="633" y="463"/>
                    </a:lnTo>
                    <a:lnTo>
                      <a:pt x="636" y="465"/>
                    </a:lnTo>
                    <a:lnTo>
                      <a:pt x="636" y="465"/>
                    </a:lnTo>
                    <a:lnTo>
                      <a:pt x="636" y="467"/>
                    </a:lnTo>
                    <a:lnTo>
                      <a:pt x="633" y="467"/>
                    </a:lnTo>
                    <a:lnTo>
                      <a:pt x="633" y="470"/>
                    </a:lnTo>
                    <a:lnTo>
                      <a:pt x="633" y="472"/>
                    </a:lnTo>
                    <a:lnTo>
                      <a:pt x="633" y="474"/>
                    </a:lnTo>
                    <a:lnTo>
                      <a:pt x="633" y="477"/>
                    </a:lnTo>
                    <a:lnTo>
                      <a:pt x="631" y="479"/>
                    </a:lnTo>
                    <a:lnTo>
                      <a:pt x="631" y="479"/>
                    </a:lnTo>
                    <a:lnTo>
                      <a:pt x="655" y="479"/>
                    </a:lnTo>
                    <a:lnTo>
                      <a:pt x="662" y="479"/>
                    </a:lnTo>
                    <a:lnTo>
                      <a:pt x="664" y="479"/>
                    </a:lnTo>
                    <a:lnTo>
                      <a:pt x="674" y="479"/>
                    </a:lnTo>
                    <a:lnTo>
                      <a:pt x="690" y="479"/>
                    </a:lnTo>
                    <a:lnTo>
                      <a:pt x="707" y="479"/>
                    </a:lnTo>
                    <a:lnTo>
                      <a:pt x="716" y="479"/>
                    </a:lnTo>
                    <a:lnTo>
                      <a:pt x="754" y="479"/>
                    </a:lnTo>
                    <a:lnTo>
                      <a:pt x="754" y="479"/>
                    </a:lnTo>
                    <a:lnTo>
                      <a:pt x="754" y="482"/>
                    </a:lnTo>
                    <a:lnTo>
                      <a:pt x="754" y="482"/>
                    </a:lnTo>
                    <a:lnTo>
                      <a:pt x="754" y="482"/>
                    </a:lnTo>
                    <a:lnTo>
                      <a:pt x="754" y="484"/>
                    </a:lnTo>
                    <a:lnTo>
                      <a:pt x="754" y="484"/>
                    </a:lnTo>
                    <a:lnTo>
                      <a:pt x="754" y="484"/>
                    </a:lnTo>
                    <a:lnTo>
                      <a:pt x="754" y="484"/>
                    </a:lnTo>
                    <a:lnTo>
                      <a:pt x="754" y="484"/>
                    </a:lnTo>
                    <a:lnTo>
                      <a:pt x="752" y="484"/>
                    </a:lnTo>
                    <a:lnTo>
                      <a:pt x="752" y="484"/>
                    </a:lnTo>
                    <a:lnTo>
                      <a:pt x="752" y="484"/>
                    </a:lnTo>
                    <a:lnTo>
                      <a:pt x="752" y="484"/>
                    </a:lnTo>
                    <a:lnTo>
                      <a:pt x="752" y="486"/>
                    </a:lnTo>
                    <a:lnTo>
                      <a:pt x="752" y="486"/>
                    </a:lnTo>
                    <a:lnTo>
                      <a:pt x="749" y="486"/>
                    </a:lnTo>
                    <a:lnTo>
                      <a:pt x="752" y="489"/>
                    </a:lnTo>
                    <a:lnTo>
                      <a:pt x="749" y="489"/>
                    </a:lnTo>
                    <a:lnTo>
                      <a:pt x="749" y="489"/>
                    </a:lnTo>
                    <a:lnTo>
                      <a:pt x="749" y="491"/>
                    </a:lnTo>
                    <a:lnTo>
                      <a:pt x="749" y="491"/>
                    </a:lnTo>
                    <a:lnTo>
                      <a:pt x="749" y="491"/>
                    </a:lnTo>
                    <a:lnTo>
                      <a:pt x="749" y="491"/>
                    </a:lnTo>
                    <a:lnTo>
                      <a:pt x="749" y="493"/>
                    </a:lnTo>
                    <a:lnTo>
                      <a:pt x="749" y="493"/>
                    </a:lnTo>
                    <a:lnTo>
                      <a:pt x="749" y="493"/>
                    </a:lnTo>
                    <a:lnTo>
                      <a:pt x="749" y="493"/>
                    </a:lnTo>
                    <a:lnTo>
                      <a:pt x="752" y="496"/>
                    </a:lnTo>
                    <a:lnTo>
                      <a:pt x="752" y="496"/>
                    </a:lnTo>
                    <a:lnTo>
                      <a:pt x="749" y="496"/>
                    </a:lnTo>
                    <a:lnTo>
                      <a:pt x="752" y="496"/>
                    </a:lnTo>
                    <a:lnTo>
                      <a:pt x="752" y="498"/>
                    </a:lnTo>
                    <a:lnTo>
                      <a:pt x="752" y="498"/>
                    </a:lnTo>
                    <a:lnTo>
                      <a:pt x="752" y="500"/>
                    </a:lnTo>
                    <a:lnTo>
                      <a:pt x="754" y="500"/>
                    </a:lnTo>
                    <a:lnTo>
                      <a:pt x="752" y="500"/>
                    </a:lnTo>
                    <a:lnTo>
                      <a:pt x="754" y="503"/>
                    </a:lnTo>
                    <a:lnTo>
                      <a:pt x="752" y="505"/>
                    </a:lnTo>
                    <a:lnTo>
                      <a:pt x="752" y="505"/>
                    </a:lnTo>
                    <a:lnTo>
                      <a:pt x="752" y="505"/>
                    </a:lnTo>
                    <a:lnTo>
                      <a:pt x="749" y="507"/>
                    </a:lnTo>
                    <a:lnTo>
                      <a:pt x="749" y="510"/>
                    </a:lnTo>
                    <a:lnTo>
                      <a:pt x="749" y="510"/>
                    </a:lnTo>
                    <a:lnTo>
                      <a:pt x="749" y="510"/>
                    </a:lnTo>
                    <a:lnTo>
                      <a:pt x="749" y="512"/>
                    </a:lnTo>
                    <a:lnTo>
                      <a:pt x="747" y="512"/>
                    </a:lnTo>
                    <a:lnTo>
                      <a:pt x="747" y="515"/>
                    </a:lnTo>
                    <a:lnTo>
                      <a:pt x="747" y="515"/>
                    </a:lnTo>
                    <a:lnTo>
                      <a:pt x="744" y="517"/>
                    </a:lnTo>
                    <a:lnTo>
                      <a:pt x="742" y="522"/>
                    </a:lnTo>
                    <a:lnTo>
                      <a:pt x="740" y="522"/>
                    </a:lnTo>
                    <a:lnTo>
                      <a:pt x="740" y="524"/>
                    </a:lnTo>
                    <a:lnTo>
                      <a:pt x="740" y="524"/>
                    </a:lnTo>
                    <a:lnTo>
                      <a:pt x="740" y="529"/>
                    </a:lnTo>
                    <a:lnTo>
                      <a:pt x="740" y="531"/>
                    </a:lnTo>
                    <a:lnTo>
                      <a:pt x="737" y="531"/>
                    </a:lnTo>
                    <a:lnTo>
                      <a:pt x="737" y="533"/>
                    </a:lnTo>
                    <a:lnTo>
                      <a:pt x="735" y="533"/>
                    </a:lnTo>
                    <a:lnTo>
                      <a:pt x="735" y="536"/>
                    </a:lnTo>
                    <a:lnTo>
                      <a:pt x="735" y="538"/>
                    </a:lnTo>
                    <a:lnTo>
                      <a:pt x="735" y="538"/>
                    </a:lnTo>
                    <a:lnTo>
                      <a:pt x="737" y="541"/>
                    </a:lnTo>
                    <a:lnTo>
                      <a:pt x="737" y="541"/>
                    </a:lnTo>
                    <a:lnTo>
                      <a:pt x="737" y="543"/>
                    </a:lnTo>
                    <a:lnTo>
                      <a:pt x="740" y="543"/>
                    </a:lnTo>
                    <a:lnTo>
                      <a:pt x="737" y="543"/>
                    </a:lnTo>
                    <a:lnTo>
                      <a:pt x="740" y="545"/>
                    </a:lnTo>
                    <a:lnTo>
                      <a:pt x="740" y="543"/>
                    </a:lnTo>
                    <a:lnTo>
                      <a:pt x="740" y="545"/>
                    </a:lnTo>
                    <a:lnTo>
                      <a:pt x="740" y="543"/>
                    </a:lnTo>
                    <a:lnTo>
                      <a:pt x="742" y="545"/>
                    </a:lnTo>
                    <a:lnTo>
                      <a:pt x="740" y="545"/>
                    </a:lnTo>
                    <a:lnTo>
                      <a:pt x="742" y="545"/>
                    </a:lnTo>
                    <a:lnTo>
                      <a:pt x="740" y="548"/>
                    </a:lnTo>
                    <a:lnTo>
                      <a:pt x="742" y="548"/>
                    </a:lnTo>
                    <a:lnTo>
                      <a:pt x="740" y="548"/>
                    </a:lnTo>
                    <a:lnTo>
                      <a:pt x="742" y="548"/>
                    </a:lnTo>
                    <a:lnTo>
                      <a:pt x="744" y="548"/>
                    </a:lnTo>
                    <a:lnTo>
                      <a:pt x="744" y="548"/>
                    </a:lnTo>
                    <a:lnTo>
                      <a:pt x="744" y="550"/>
                    </a:lnTo>
                    <a:lnTo>
                      <a:pt x="744" y="548"/>
                    </a:lnTo>
                    <a:lnTo>
                      <a:pt x="747" y="548"/>
                    </a:lnTo>
                    <a:lnTo>
                      <a:pt x="747" y="550"/>
                    </a:lnTo>
                    <a:lnTo>
                      <a:pt x="747" y="550"/>
                    </a:lnTo>
                    <a:lnTo>
                      <a:pt x="747" y="550"/>
                    </a:lnTo>
                    <a:lnTo>
                      <a:pt x="747" y="550"/>
                    </a:lnTo>
                    <a:lnTo>
                      <a:pt x="749" y="550"/>
                    </a:lnTo>
                    <a:lnTo>
                      <a:pt x="749" y="550"/>
                    </a:lnTo>
                    <a:lnTo>
                      <a:pt x="749" y="550"/>
                    </a:lnTo>
                    <a:lnTo>
                      <a:pt x="749" y="550"/>
                    </a:lnTo>
                    <a:lnTo>
                      <a:pt x="752" y="550"/>
                    </a:lnTo>
                    <a:lnTo>
                      <a:pt x="749" y="550"/>
                    </a:lnTo>
                    <a:lnTo>
                      <a:pt x="752" y="552"/>
                    </a:lnTo>
                    <a:lnTo>
                      <a:pt x="749" y="552"/>
                    </a:lnTo>
                    <a:lnTo>
                      <a:pt x="752" y="555"/>
                    </a:lnTo>
                    <a:lnTo>
                      <a:pt x="754" y="552"/>
                    </a:lnTo>
                    <a:lnTo>
                      <a:pt x="754" y="550"/>
                    </a:lnTo>
                    <a:lnTo>
                      <a:pt x="754" y="552"/>
                    </a:lnTo>
                    <a:lnTo>
                      <a:pt x="754" y="555"/>
                    </a:lnTo>
                    <a:lnTo>
                      <a:pt x="754" y="552"/>
                    </a:lnTo>
                    <a:lnTo>
                      <a:pt x="754" y="555"/>
                    </a:lnTo>
                    <a:lnTo>
                      <a:pt x="754" y="555"/>
                    </a:lnTo>
                    <a:lnTo>
                      <a:pt x="756" y="555"/>
                    </a:lnTo>
                    <a:lnTo>
                      <a:pt x="756" y="555"/>
                    </a:lnTo>
                    <a:lnTo>
                      <a:pt x="756" y="557"/>
                    </a:lnTo>
                    <a:lnTo>
                      <a:pt x="756" y="555"/>
                    </a:lnTo>
                    <a:lnTo>
                      <a:pt x="756" y="557"/>
                    </a:lnTo>
                    <a:lnTo>
                      <a:pt x="756" y="557"/>
                    </a:lnTo>
                    <a:lnTo>
                      <a:pt x="759" y="557"/>
                    </a:lnTo>
                    <a:lnTo>
                      <a:pt x="759" y="559"/>
                    </a:lnTo>
                    <a:lnTo>
                      <a:pt x="759" y="559"/>
                    </a:lnTo>
                    <a:lnTo>
                      <a:pt x="759" y="559"/>
                    </a:lnTo>
                    <a:lnTo>
                      <a:pt x="761" y="557"/>
                    </a:lnTo>
                    <a:lnTo>
                      <a:pt x="761" y="559"/>
                    </a:lnTo>
                    <a:lnTo>
                      <a:pt x="761" y="559"/>
                    </a:lnTo>
                    <a:lnTo>
                      <a:pt x="761" y="559"/>
                    </a:lnTo>
                    <a:lnTo>
                      <a:pt x="763" y="559"/>
                    </a:lnTo>
                    <a:lnTo>
                      <a:pt x="761" y="562"/>
                    </a:lnTo>
                    <a:lnTo>
                      <a:pt x="761" y="562"/>
                    </a:lnTo>
                    <a:lnTo>
                      <a:pt x="763" y="562"/>
                    </a:lnTo>
                    <a:lnTo>
                      <a:pt x="763" y="564"/>
                    </a:lnTo>
                    <a:lnTo>
                      <a:pt x="761" y="564"/>
                    </a:lnTo>
                    <a:lnTo>
                      <a:pt x="763" y="564"/>
                    </a:lnTo>
                    <a:lnTo>
                      <a:pt x="763" y="564"/>
                    </a:lnTo>
                    <a:lnTo>
                      <a:pt x="766" y="567"/>
                    </a:lnTo>
                    <a:lnTo>
                      <a:pt x="766" y="567"/>
                    </a:lnTo>
                    <a:lnTo>
                      <a:pt x="766" y="569"/>
                    </a:lnTo>
                    <a:lnTo>
                      <a:pt x="763" y="569"/>
                    </a:lnTo>
                    <a:lnTo>
                      <a:pt x="766" y="569"/>
                    </a:lnTo>
                    <a:lnTo>
                      <a:pt x="763" y="569"/>
                    </a:lnTo>
                    <a:lnTo>
                      <a:pt x="763" y="571"/>
                    </a:lnTo>
                    <a:lnTo>
                      <a:pt x="763" y="574"/>
                    </a:lnTo>
                    <a:lnTo>
                      <a:pt x="766" y="574"/>
                    </a:lnTo>
                    <a:lnTo>
                      <a:pt x="763" y="574"/>
                    </a:lnTo>
                    <a:lnTo>
                      <a:pt x="763" y="574"/>
                    </a:lnTo>
                    <a:lnTo>
                      <a:pt x="766" y="574"/>
                    </a:lnTo>
                    <a:lnTo>
                      <a:pt x="766" y="576"/>
                    </a:lnTo>
                    <a:lnTo>
                      <a:pt x="766" y="576"/>
                    </a:lnTo>
                    <a:lnTo>
                      <a:pt x="766" y="576"/>
                    </a:lnTo>
                    <a:lnTo>
                      <a:pt x="766" y="578"/>
                    </a:lnTo>
                    <a:lnTo>
                      <a:pt x="766" y="578"/>
                    </a:lnTo>
                    <a:lnTo>
                      <a:pt x="768" y="578"/>
                    </a:lnTo>
                    <a:lnTo>
                      <a:pt x="766" y="581"/>
                    </a:lnTo>
                    <a:lnTo>
                      <a:pt x="766" y="581"/>
                    </a:lnTo>
                    <a:lnTo>
                      <a:pt x="770" y="581"/>
                    </a:lnTo>
                    <a:lnTo>
                      <a:pt x="768" y="583"/>
                    </a:lnTo>
                    <a:lnTo>
                      <a:pt x="768" y="585"/>
                    </a:lnTo>
                    <a:lnTo>
                      <a:pt x="768" y="585"/>
                    </a:lnTo>
                    <a:lnTo>
                      <a:pt x="766" y="585"/>
                    </a:lnTo>
                    <a:lnTo>
                      <a:pt x="768" y="588"/>
                    </a:lnTo>
                    <a:lnTo>
                      <a:pt x="768" y="588"/>
                    </a:lnTo>
                    <a:lnTo>
                      <a:pt x="768" y="588"/>
                    </a:lnTo>
                    <a:lnTo>
                      <a:pt x="770" y="588"/>
                    </a:lnTo>
                    <a:lnTo>
                      <a:pt x="768" y="588"/>
                    </a:lnTo>
                    <a:lnTo>
                      <a:pt x="768" y="588"/>
                    </a:lnTo>
                    <a:lnTo>
                      <a:pt x="768" y="590"/>
                    </a:lnTo>
                    <a:lnTo>
                      <a:pt x="770" y="590"/>
                    </a:lnTo>
                    <a:lnTo>
                      <a:pt x="768" y="593"/>
                    </a:lnTo>
                    <a:lnTo>
                      <a:pt x="770" y="590"/>
                    </a:lnTo>
                    <a:lnTo>
                      <a:pt x="770" y="590"/>
                    </a:lnTo>
                    <a:lnTo>
                      <a:pt x="773" y="593"/>
                    </a:lnTo>
                    <a:lnTo>
                      <a:pt x="773" y="593"/>
                    </a:lnTo>
                    <a:lnTo>
                      <a:pt x="773" y="593"/>
                    </a:lnTo>
                    <a:lnTo>
                      <a:pt x="770" y="595"/>
                    </a:lnTo>
                    <a:lnTo>
                      <a:pt x="773" y="595"/>
                    </a:lnTo>
                    <a:lnTo>
                      <a:pt x="773" y="595"/>
                    </a:lnTo>
                    <a:lnTo>
                      <a:pt x="773" y="595"/>
                    </a:lnTo>
                    <a:lnTo>
                      <a:pt x="773" y="595"/>
                    </a:lnTo>
                    <a:lnTo>
                      <a:pt x="773" y="597"/>
                    </a:lnTo>
                    <a:lnTo>
                      <a:pt x="775" y="597"/>
                    </a:lnTo>
                    <a:lnTo>
                      <a:pt x="773" y="597"/>
                    </a:lnTo>
                    <a:lnTo>
                      <a:pt x="775" y="600"/>
                    </a:lnTo>
                    <a:lnTo>
                      <a:pt x="775" y="597"/>
                    </a:lnTo>
                    <a:lnTo>
                      <a:pt x="775" y="600"/>
                    </a:lnTo>
                    <a:lnTo>
                      <a:pt x="778" y="600"/>
                    </a:lnTo>
                    <a:lnTo>
                      <a:pt x="778" y="602"/>
                    </a:lnTo>
                    <a:lnTo>
                      <a:pt x="778" y="602"/>
                    </a:lnTo>
                    <a:lnTo>
                      <a:pt x="775" y="602"/>
                    </a:lnTo>
                    <a:lnTo>
                      <a:pt x="775" y="602"/>
                    </a:lnTo>
                    <a:lnTo>
                      <a:pt x="775" y="604"/>
                    </a:lnTo>
                    <a:lnTo>
                      <a:pt x="775" y="604"/>
                    </a:lnTo>
                    <a:lnTo>
                      <a:pt x="775" y="604"/>
                    </a:lnTo>
                    <a:lnTo>
                      <a:pt x="778" y="604"/>
                    </a:lnTo>
                    <a:lnTo>
                      <a:pt x="778" y="604"/>
                    </a:lnTo>
                    <a:lnTo>
                      <a:pt x="775" y="604"/>
                    </a:lnTo>
                    <a:lnTo>
                      <a:pt x="775" y="607"/>
                    </a:lnTo>
                    <a:lnTo>
                      <a:pt x="775" y="607"/>
                    </a:lnTo>
                    <a:lnTo>
                      <a:pt x="775" y="607"/>
                    </a:lnTo>
                    <a:lnTo>
                      <a:pt x="775" y="607"/>
                    </a:lnTo>
                    <a:lnTo>
                      <a:pt x="775" y="607"/>
                    </a:lnTo>
                    <a:lnTo>
                      <a:pt x="775" y="607"/>
                    </a:lnTo>
                    <a:lnTo>
                      <a:pt x="773" y="607"/>
                    </a:lnTo>
                    <a:lnTo>
                      <a:pt x="773" y="607"/>
                    </a:lnTo>
                    <a:lnTo>
                      <a:pt x="773" y="607"/>
                    </a:lnTo>
                    <a:lnTo>
                      <a:pt x="773" y="607"/>
                    </a:lnTo>
                    <a:lnTo>
                      <a:pt x="773" y="609"/>
                    </a:lnTo>
                    <a:lnTo>
                      <a:pt x="773" y="609"/>
                    </a:lnTo>
                    <a:lnTo>
                      <a:pt x="773" y="609"/>
                    </a:lnTo>
                    <a:lnTo>
                      <a:pt x="770" y="609"/>
                    </a:lnTo>
                    <a:lnTo>
                      <a:pt x="770" y="607"/>
                    </a:lnTo>
                    <a:lnTo>
                      <a:pt x="770" y="607"/>
                    </a:lnTo>
                    <a:lnTo>
                      <a:pt x="770" y="611"/>
                    </a:lnTo>
                    <a:lnTo>
                      <a:pt x="770" y="611"/>
                    </a:lnTo>
                    <a:lnTo>
                      <a:pt x="770" y="611"/>
                    </a:lnTo>
                    <a:lnTo>
                      <a:pt x="770" y="611"/>
                    </a:lnTo>
                    <a:lnTo>
                      <a:pt x="770" y="611"/>
                    </a:lnTo>
                    <a:lnTo>
                      <a:pt x="768" y="611"/>
                    </a:lnTo>
                    <a:lnTo>
                      <a:pt x="768" y="611"/>
                    </a:lnTo>
                    <a:lnTo>
                      <a:pt x="770" y="611"/>
                    </a:lnTo>
                    <a:lnTo>
                      <a:pt x="768" y="614"/>
                    </a:lnTo>
                    <a:lnTo>
                      <a:pt x="768" y="611"/>
                    </a:lnTo>
                    <a:lnTo>
                      <a:pt x="766" y="614"/>
                    </a:lnTo>
                    <a:lnTo>
                      <a:pt x="768" y="614"/>
                    </a:lnTo>
                    <a:lnTo>
                      <a:pt x="766" y="614"/>
                    </a:lnTo>
                    <a:lnTo>
                      <a:pt x="766" y="614"/>
                    </a:lnTo>
                    <a:lnTo>
                      <a:pt x="763" y="614"/>
                    </a:lnTo>
                    <a:lnTo>
                      <a:pt x="763" y="614"/>
                    </a:lnTo>
                    <a:lnTo>
                      <a:pt x="766" y="614"/>
                    </a:lnTo>
                    <a:lnTo>
                      <a:pt x="763" y="614"/>
                    </a:lnTo>
                    <a:lnTo>
                      <a:pt x="763" y="614"/>
                    </a:lnTo>
                    <a:lnTo>
                      <a:pt x="763" y="614"/>
                    </a:lnTo>
                    <a:lnTo>
                      <a:pt x="763" y="614"/>
                    </a:lnTo>
                    <a:lnTo>
                      <a:pt x="763" y="616"/>
                    </a:lnTo>
                    <a:lnTo>
                      <a:pt x="761" y="616"/>
                    </a:lnTo>
                    <a:lnTo>
                      <a:pt x="761" y="616"/>
                    </a:lnTo>
                    <a:lnTo>
                      <a:pt x="761" y="616"/>
                    </a:lnTo>
                    <a:lnTo>
                      <a:pt x="759" y="616"/>
                    </a:lnTo>
                    <a:lnTo>
                      <a:pt x="759" y="619"/>
                    </a:lnTo>
                    <a:lnTo>
                      <a:pt x="759" y="616"/>
                    </a:lnTo>
                    <a:lnTo>
                      <a:pt x="759" y="619"/>
                    </a:lnTo>
                    <a:lnTo>
                      <a:pt x="759" y="619"/>
                    </a:lnTo>
                    <a:lnTo>
                      <a:pt x="759" y="619"/>
                    </a:lnTo>
                    <a:lnTo>
                      <a:pt x="759" y="621"/>
                    </a:lnTo>
                    <a:lnTo>
                      <a:pt x="756" y="621"/>
                    </a:lnTo>
                    <a:lnTo>
                      <a:pt x="759" y="623"/>
                    </a:lnTo>
                    <a:lnTo>
                      <a:pt x="756" y="621"/>
                    </a:lnTo>
                    <a:lnTo>
                      <a:pt x="754" y="623"/>
                    </a:lnTo>
                    <a:lnTo>
                      <a:pt x="756" y="623"/>
                    </a:lnTo>
                    <a:lnTo>
                      <a:pt x="754" y="623"/>
                    </a:lnTo>
                    <a:lnTo>
                      <a:pt x="754" y="623"/>
                    </a:lnTo>
                    <a:lnTo>
                      <a:pt x="752" y="623"/>
                    </a:lnTo>
                    <a:lnTo>
                      <a:pt x="752" y="623"/>
                    </a:lnTo>
                    <a:lnTo>
                      <a:pt x="752" y="623"/>
                    </a:lnTo>
                    <a:lnTo>
                      <a:pt x="752" y="623"/>
                    </a:lnTo>
                    <a:lnTo>
                      <a:pt x="752" y="626"/>
                    </a:lnTo>
                    <a:lnTo>
                      <a:pt x="749" y="626"/>
                    </a:lnTo>
                    <a:lnTo>
                      <a:pt x="749" y="626"/>
                    </a:lnTo>
                    <a:lnTo>
                      <a:pt x="749" y="626"/>
                    </a:lnTo>
                    <a:lnTo>
                      <a:pt x="749" y="628"/>
                    </a:lnTo>
                    <a:lnTo>
                      <a:pt x="749" y="628"/>
                    </a:lnTo>
                    <a:lnTo>
                      <a:pt x="749" y="628"/>
                    </a:lnTo>
                    <a:lnTo>
                      <a:pt x="747" y="628"/>
                    </a:lnTo>
                    <a:lnTo>
                      <a:pt x="749" y="628"/>
                    </a:lnTo>
                    <a:lnTo>
                      <a:pt x="749" y="630"/>
                    </a:lnTo>
                    <a:lnTo>
                      <a:pt x="749" y="630"/>
                    </a:lnTo>
                    <a:lnTo>
                      <a:pt x="749" y="630"/>
                    </a:lnTo>
                    <a:lnTo>
                      <a:pt x="749" y="630"/>
                    </a:lnTo>
                    <a:lnTo>
                      <a:pt x="747" y="630"/>
                    </a:lnTo>
                    <a:lnTo>
                      <a:pt x="747" y="630"/>
                    </a:lnTo>
                    <a:lnTo>
                      <a:pt x="747" y="633"/>
                    </a:lnTo>
                    <a:lnTo>
                      <a:pt x="747" y="633"/>
                    </a:lnTo>
                    <a:lnTo>
                      <a:pt x="744" y="633"/>
                    </a:lnTo>
                    <a:lnTo>
                      <a:pt x="744" y="633"/>
                    </a:lnTo>
                    <a:lnTo>
                      <a:pt x="744" y="635"/>
                    </a:lnTo>
                    <a:lnTo>
                      <a:pt x="744" y="635"/>
                    </a:lnTo>
                    <a:lnTo>
                      <a:pt x="744" y="635"/>
                    </a:lnTo>
                    <a:lnTo>
                      <a:pt x="744" y="637"/>
                    </a:lnTo>
                    <a:lnTo>
                      <a:pt x="744" y="635"/>
                    </a:lnTo>
                    <a:lnTo>
                      <a:pt x="742" y="635"/>
                    </a:lnTo>
                    <a:lnTo>
                      <a:pt x="742" y="637"/>
                    </a:lnTo>
                    <a:lnTo>
                      <a:pt x="742" y="637"/>
                    </a:lnTo>
                    <a:lnTo>
                      <a:pt x="740" y="637"/>
                    </a:lnTo>
                    <a:lnTo>
                      <a:pt x="740" y="637"/>
                    </a:lnTo>
                    <a:lnTo>
                      <a:pt x="740" y="640"/>
                    </a:lnTo>
                    <a:lnTo>
                      <a:pt x="737" y="640"/>
                    </a:lnTo>
                    <a:lnTo>
                      <a:pt x="737" y="640"/>
                    </a:lnTo>
                    <a:lnTo>
                      <a:pt x="740" y="640"/>
                    </a:lnTo>
                    <a:lnTo>
                      <a:pt x="740" y="642"/>
                    </a:lnTo>
                    <a:lnTo>
                      <a:pt x="740" y="642"/>
                    </a:lnTo>
                    <a:lnTo>
                      <a:pt x="740" y="642"/>
                    </a:lnTo>
                    <a:lnTo>
                      <a:pt x="740" y="644"/>
                    </a:lnTo>
                    <a:lnTo>
                      <a:pt x="740" y="647"/>
                    </a:lnTo>
                    <a:lnTo>
                      <a:pt x="737" y="644"/>
                    </a:lnTo>
                    <a:lnTo>
                      <a:pt x="737" y="647"/>
                    </a:lnTo>
                    <a:lnTo>
                      <a:pt x="737" y="647"/>
                    </a:lnTo>
                    <a:lnTo>
                      <a:pt x="737" y="647"/>
                    </a:lnTo>
                    <a:lnTo>
                      <a:pt x="735" y="647"/>
                    </a:lnTo>
                    <a:lnTo>
                      <a:pt x="737" y="649"/>
                    </a:lnTo>
                    <a:lnTo>
                      <a:pt x="737" y="649"/>
                    </a:lnTo>
                    <a:lnTo>
                      <a:pt x="737" y="649"/>
                    </a:lnTo>
                    <a:lnTo>
                      <a:pt x="735" y="649"/>
                    </a:lnTo>
                    <a:lnTo>
                      <a:pt x="735" y="649"/>
                    </a:lnTo>
                    <a:lnTo>
                      <a:pt x="735" y="649"/>
                    </a:lnTo>
                    <a:lnTo>
                      <a:pt x="735" y="649"/>
                    </a:lnTo>
                    <a:lnTo>
                      <a:pt x="730" y="649"/>
                    </a:lnTo>
                    <a:lnTo>
                      <a:pt x="730" y="649"/>
                    </a:lnTo>
                    <a:lnTo>
                      <a:pt x="730" y="649"/>
                    </a:lnTo>
                    <a:lnTo>
                      <a:pt x="730" y="647"/>
                    </a:lnTo>
                    <a:lnTo>
                      <a:pt x="728" y="647"/>
                    </a:lnTo>
                    <a:lnTo>
                      <a:pt x="728" y="647"/>
                    </a:lnTo>
                    <a:lnTo>
                      <a:pt x="728" y="647"/>
                    </a:lnTo>
                    <a:lnTo>
                      <a:pt x="730" y="647"/>
                    </a:lnTo>
                    <a:lnTo>
                      <a:pt x="728" y="649"/>
                    </a:lnTo>
                    <a:lnTo>
                      <a:pt x="728" y="649"/>
                    </a:lnTo>
                    <a:lnTo>
                      <a:pt x="728" y="652"/>
                    </a:lnTo>
                    <a:lnTo>
                      <a:pt x="728" y="654"/>
                    </a:lnTo>
                    <a:lnTo>
                      <a:pt x="726" y="652"/>
                    </a:lnTo>
                    <a:lnTo>
                      <a:pt x="726" y="654"/>
                    </a:lnTo>
                    <a:lnTo>
                      <a:pt x="726" y="654"/>
                    </a:lnTo>
                    <a:lnTo>
                      <a:pt x="726" y="654"/>
                    </a:lnTo>
                    <a:lnTo>
                      <a:pt x="726" y="656"/>
                    </a:lnTo>
                    <a:lnTo>
                      <a:pt x="726" y="656"/>
                    </a:lnTo>
                    <a:lnTo>
                      <a:pt x="728" y="656"/>
                    </a:lnTo>
                    <a:lnTo>
                      <a:pt x="728" y="656"/>
                    </a:lnTo>
                    <a:lnTo>
                      <a:pt x="726" y="656"/>
                    </a:lnTo>
                    <a:lnTo>
                      <a:pt x="726" y="659"/>
                    </a:lnTo>
                    <a:lnTo>
                      <a:pt x="726" y="659"/>
                    </a:lnTo>
                    <a:lnTo>
                      <a:pt x="728" y="659"/>
                    </a:lnTo>
                    <a:lnTo>
                      <a:pt x="728" y="659"/>
                    </a:lnTo>
                    <a:lnTo>
                      <a:pt x="728" y="661"/>
                    </a:lnTo>
                    <a:lnTo>
                      <a:pt x="726" y="661"/>
                    </a:lnTo>
                    <a:lnTo>
                      <a:pt x="726" y="663"/>
                    </a:lnTo>
                    <a:lnTo>
                      <a:pt x="726" y="663"/>
                    </a:lnTo>
                    <a:lnTo>
                      <a:pt x="728" y="663"/>
                    </a:lnTo>
                    <a:lnTo>
                      <a:pt x="728" y="666"/>
                    </a:lnTo>
                    <a:lnTo>
                      <a:pt x="730" y="666"/>
                    </a:lnTo>
                    <a:lnTo>
                      <a:pt x="730" y="668"/>
                    </a:lnTo>
                    <a:lnTo>
                      <a:pt x="730" y="670"/>
                    </a:lnTo>
                    <a:lnTo>
                      <a:pt x="730" y="670"/>
                    </a:lnTo>
                    <a:lnTo>
                      <a:pt x="730" y="670"/>
                    </a:lnTo>
                    <a:lnTo>
                      <a:pt x="730" y="673"/>
                    </a:lnTo>
                    <a:lnTo>
                      <a:pt x="733" y="670"/>
                    </a:lnTo>
                    <a:lnTo>
                      <a:pt x="735" y="673"/>
                    </a:lnTo>
                    <a:lnTo>
                      <a:pt x="735" y="673"/>
                    </a:lnTo>
                    <a:lnTo>
                      <a:pt x="735" y="673"/>
                    </a:lnTo>
                    <a:lnTo>
                      <a:pt x="737" y="673"/>
                    </a:lnTo>
                    <a:lnTo>
                      <a:pt x="740" y="670"/>
                    </a:lnTo>
                    <a:lnTo>
                      <a:pt x="742" y="670"/>
                    </a:lnTo>
                    <a:lnTo>
                      <a:pt x="744" y="670"/>
                    </a:lnTo>
                    <a:lnTo>
                      <a:pt x="747" y="670"/>
                    </a:lnTo>
                    <a:lnTo>
                      <a:pt x="749" y="673"/>
                    </a:lnTo>
                    <a:lnTo>
                      <a:pt x="752" y="670"/>
                    </a:lnTo>
                    <a:lnTo>
                      <a:pt x="754" y="673"/>
                    </a:lnTo>
                    <a:lnTo>
                      <a:pt x="754" y="675"/>
                    </a:lnTo>
                    <a:lnTo>
                      <a:pt x="754" y="675"/>
                    </a:lnTo>
                    <a:lnTo>
                      <a:pt x="756" y="678"/>
                    </a:lnTo>
                    <a:lnTo>
                      <a:pt x="759" y="680"/>
                    </a:lnTo>
                    <a:lnTo>
                      <a:pt x="759" y="682"/>
                    </a:lnTo>
                    <a:lnTo>
                      <a:pt x="759" y="685"/>
                    </a:lnTo>
                    <a:lnTo>
                      <a:pt x="759" y="687"/>
                    </a:lnTo>
                    <a:lnTo>
                      <a:pt x="759" y="687"/>
                    </a:lnTo>
                    <a:lnTo>
                      <a:pt x="759" y="689"/>
                    </a:lnTo>
                    <a:lnTo>
                      <a:pt x="759" y="689"/>
                    </a:lnTo>
                    <a:lnTo>
                      <a:pt x="759" y="689"/>
                    </a:lnTo>
                    <a:lnTo>
                      <a:pt x="759" y="689"/>
                    </a:lnTo>
                    <a:lnTo>
                      <a:pt x="759" y="692"/>
                    </a:lnTo>
                    <a:lnTo>
                      <a:pt x="756" y="694"/>
                    </a:lnTo>
                    <a:lnTo>
                      <a:pt x="756" y="694"/>
                    </a:lnTo>
                    <a:lnTo>
                      <a:pt x="756" y="694"/>
                    </a:lnTo>
                    <a:lnTo>
                      <a:pt x="754" y="694"/>
                    </a:lnTo>
                    <a:lnTo>
                      <a:pt x="754" y="694"/>
                    </a:lnTo>
                    <a:lnTo>
                      <a:pt x="754" y="696"/>
                    </a:lnTo>
                    <a:lnTo>
                      <a:pt x="754" y="699"/>
                    </a:lnTo>
                    <a:lnTo>
                      <a:pt x="752" y="699"/>
                    </a:lnTo>
                    <a:lnTo>
                      <a:pt x="749" y="701"/>
                    </a:lnTo>
                    <a:lnTo>
                      <a:pt x="749" y="701"/>
                    </a:lnTo>
                    <a:lnTo>
                      <a:pt x="752" y="704"/>
                    </a:lnTo>
                    <a:lnTo>
                      <a:pt x="752" y="704"/>
                    </a:lnTo>
                    <a:lnTo>
                      <a:pt x="749" y="704"/>
                    </a:lnTo>
                    <a:lnTo>
                      <a:pt x="749" y="706"/>
                    </a:lnTo>
                    <a:lnTo>
                      <a:pt x="749" y="706"/>
                    </a:lnTo>
                    <a:lnTo>
                      <a:pt x="749" y="706"/>
                    </a:lnTo>
                    <a:lnTo>
                      <a:pt x="749" y="708"/>
                    </a:lnTo>
                    <a:lnTo>
                      <a:pt x="749" y="708"/>
                    </a:lnTo>
                    <a:lnTo>
                      <a:pt x="747" y="708"/>
                    </a:lnTo>
                    <a:lnTo>
                      <a:pt x="749" y="708"/>
                    </a:lnTo>
                    <a:lnTo>
                      <a:pt x="749" y="708"/>
                    </a:lnTo>
                    <a:lnTo>
                      <a:pt x="747" y="711"/>
                    </a:lnTo>
                    <a:lnTo>
                      <a:pt x="747" y="711"/>
                    </a:lnTo>
                    <a:lnTo>
                      <a:pt x="747" y="713"/>
                    </a:lnTo>
                    <a:lnTo>
                      <a:pt x="747" y="713"/>
                    </a:lnTo>
                    <a:lnTo>
                      <a:pt x="747" y="715"/>
                    </a:lnTo>
                    <a:lnTo>
                      <a:pt x="747" y="715"/>
                    </a:lnTo>
                    <a:lnTo>
                      <a:pt x="747" y="715"/>
                    </a:lnTo>
                    <a:lnTo>
                      <a:pt x="749" y="718"/>
                    </a:lnTo>
                    <a:lnTo>
                      <a:pt x="747" y="720"/>
                    </a:lnTo>
                    <a:lnTo>
                      <a:pt x="749" y="720"/>
                    </a:lnTo>
                    <a:lnTo>
                      <a:pt x="747" y="720"/>
                    </a:lnTo>
                    <a:lnTo>
                      <a:pt x="749" y="720"/>
                    </a:lnTo>
                    <a:lnTo>
                      <a:pt x="749" y="720"/>
                    </a:lnTo>
                    <a:lnTo>
                      <a:pt x="749" y="722"/>
                    </a:lnTo>
                    <a:lnTo>
                      <a:pt x="749" y="722"/>
                    </a:lnTo>
                    <a:lnTo>
                      <a:pt x="749" y="722"/>
                    </a:lnTo>
                    <a:lnTo>
                      <a:pt x="749" y="722"/>
                    </a:lnTo>
                    <a:lnTo>
                      <a:pt x="749" y="725"/>
                    </a:lnTo>
                    <a:lnTo>
                      <a:pt x="749" y="725"/>
                    </a:lnTo>
                    <a:lnTo>
                      <a:pt x="749" y="725"/>
                    </a:lnTo>
                    <a:lnTo>
                      <a:pt x="749" y="725"/>
                    </a:lnTo>
                    <a:lnTo>
                      <a:pt x="752" y="725"/>
                    </a:lnTo>
                    <a:lnTo>
                      <a:pt x="752" y="727"/>
                    </a:lnTo>
                    <a:lnTo>
                      <a:pt x="754" y="730"/>
                    </a:lnTo>
                    <a:lnTo>
                      <a:pt x="754" y="732"/>
                    </a:lnTo>
                    <a:lnTo>
                      <a:pt x="754" y="732"/>
                    </a:lnTo>
                    <a:lnTo>
                      <a:pt x="754" y="732"/>
                    </a:lnTo>
                    <a:lnTo>
                      <a:pt x="754" y="734"/>
                    </a:lnTo>
                    <a:lnTo>
                      <a:pt x="754" y="734"/>
                    </a:lnTo>
                    <a:lnTo>
                      <a:pt x="754" y="734"/>
                    </a:lnTo>
                    <a:lnTo>
                      <a:pt x="756" y="734"/>
                    </a:lnTo>
                    <a:lnTo>
                      <a:pt x="756" y="737"/>
                    </a:lnTo>
                    <a:lnTo>
                      <a:pt x="756" y="737"/>
                    </a:lnTo>
                    <a:lnTo>
                      <a:pt x="756" y="739"/>
                    </a:lnTo>
                    <a:lnTo>
                      <a:pt x="756" y="739"/>
                    </a:lnTo>
                    <a:lnTo>
                      <a:pt x="756" y="739"/>
                    </a:lnTo>
                    <a:lnTo>
                      <a:pt x="756" y="739"/>
                    </a:lnTo>
                    <a:lnTo>
                      <a:pt x="756" y="741"/>
                    </a:lnTo>
                    <a:lnTo>
                      <a:pt x="756" y="741"/>
                    </a:lnTo>
                    <a:lnTo>
                      <a:pt x="756" y="741"/>
                    </a:lnTo>
                    <a:lnTo>
                      <a:pt x="754" y="741"/>
                    </a:lnTo>
                    <a:lnTo>
                      <a:pt x="756" y="744"/>
                    </a:lnTo>
                    <a:lnTo>
                      <a:pt x="754" y="744"/>
                    </a:lnTo>
                    <a:lnTo>
                      <a:pt x="754" y="744"/>
                    </a:lnTo>
                    <a:lnTo>
                      <a:pt x="749" y="744"/>
                    </a:lnTo>
                    <a:lnTo>
                      <a:pt x="749" y="746"/>
                    </a:lnTo>
                    <a:lnTo>
                      <a:pt x="747" y="744"/>
                    </a:lnTo>
                    <a:lnTo>
                      <a:pt x="747" y="746"/>
                    </a:lnTo>
                    <a:lnTo>
                      <a:pt x="749" y="746"/>
                    </a:lnTo>
                    <a:lnTo>
                      <a:pt x="749" y="748"/>
                    </a:lnTo>
                    <a:lnTo>
                      <a:pt x="747" y="748"/>
                    </a:lnTo>
                    <a:lnTo>
                      <a:pt x="747" y="748"/>
                    </a:lnTo>
                    <a:lnTo>
                      <a:pt x="744" y="748"/>
                    </a:lnTo>
                    <a:lnTo>
                      <a:pt x="744" y="751"/>
                    </a:lnTo>
                    <a:lnTo>
                      <a:pt x="744" y="748"/>
                    </a:lnTo>
                    <a:lnTo>
                      <a:pt x="744" y="751"/>
                    </a:lnTo>
                    <a:lnTo>
                      <a:pt x="742" y="751"/>
                    </a:lnTo>
                    <a:lnTo>
                      <a:pt x="744" y="751"/>
                    </a:lnTo>
                    <a:lnTo>
                      <a:pt x="744" y="753"/>
                    </a:lnTo>
                    <a:lnTo>
                      <a:pt x="742" y="753"/>
                    </a:lnTo>
                    <a:lnTo>
                      <a:pt x="740" y="753"/>
                    </a:lnTo>
                    <a:lnTo>
                      <a:pt x="740" y="753"/>
                    </a:lnTo>
                    <a:lnTo>
                      <a:pt x="740" y="753"/>
                    </a:lnTo>
                    <a:lnTo>
                      <a:pt x="737" y="753"/>
                    </a:lnTo>
                    <a:lnTo>
                      <a:pt x="740" y="756"/>
                    </a:lnTo>
                    <a:lnTo>
                      <a:pt x="740" y="756"/>
                    </a:lnTo>
                    <a:lnTo>
                      <a:pt x="737" y="756"/>
                    </a:lnTo>
                    <a:lnTo>
                      <a:pt x="737" y="756"/>
                    </a:lnTo>
                    <a:lnTo>
                      <a:pt x="737" y="756"/>
                    </a:lnTo>
                    <a:lnTo>
                      <a:pt x="735" y="758"/>
                    </a:lnTo>
                    <a:lnTo>
                      <a:pt x="735" y="758"/>
                    </a:lnTo>
                    <a:lnTo>
                      <a:pt x="735" y="758"/>
                    </a:lnTo>
                    <a:lnTo>
                      <a:pt x="733" y="758"/>
                    </a:lnTo>
                    <a:lnTo>
                      <a:pt x="733" y="758"/>
                    </a:lnTo>
                    <a:lnTo>
                      <a:pt x="730" y="758"/>
                    </a:lnTo>
                    <a:lnTo>
                      <a:pt x="733" y="760"/>
                    </a:lnTo>
                    <a:lnTo>
                      <a:pt x="730" y="760"/>
                    </a:lnTo>
                    <a:lnTo>
                      <a:pt x="730" y="760"/>
                    </a:lnTo>
                    <a:lnTo>
                      <a:pt x="730" y="760"/>
                    </a:lnTo>
                    <a:lnTo>
                      <a:pt x="728" y="760"/>
                    </a:lnTo>
                    <a:lnTo>
                      <a:pt x="728" y="763"/>
                    </a:lnTo>
                    <a:lnTo>
                      <a:pt x="726" y="763"/>
                    </a:lnTo>
                    <a:lnTo>
                      <a:pt x="726" y="763"/>
                    </a:lnTo>
                    <a:lnTo>
                      <a:pt x="726" y="765"/>
                    </a:lnTo>
                    <a:lnTo>
                      <a:pt x="726" y="763"/>
                    </a:lnTo>
                    <a:lnTo>
                      <a:pt x="726" y="763"/>
                    </a:lnTo>
                    <a:lnTo>
                      <a:pt x="726" y="760"/>
                    </a:lnTo>
                    <a:lnTo>
                      <a:pt x="726" y="760"/>
                    </a:lnTo>
                    <a:lnTo>
                      <a:pt x="726" y="760"/>
                    </a:lnTo>
                    <a:lnTo>
                      <a:pt x="723" y="760"/>
                    </a:lnTo>
                    <a:lnTo>
                      <a:pt x="721" y="760"/>
                    </a:lnTo>
                    <a:lnTo>
                      <a:pt x="721" y="763"/>
                    </a:lnTo>
                    <a:lnTo>
                      <a:pt x="721" y="763"/>
                    </a:lnTo>
                    <a:lnTo>
                      <a:pt x="718" y="763"/>
                    </a:lnTo>
                    <a:lnTo>
                      <a:pt x="721" y="765"/>
                    </a:lnTo>
                    <a:lnTo>
                      <a:pt x="718" y="765"/>
                    </a:lnTo>
                    <a:lnTo>
                      <a:pt x="718" y="765"/>
                    </a:lnTo>
                    <a:lnTo>
                      <a:pt x="716" y="767"/>
                    </a:lnTo>
                    <a:lnTo>
                      <a:pt x="716" y="767"/>
                    </a:lnTo>
                    <a:lnTo>
                      <a:pt x="716" y="767"/>
                    </a:lnTo>
                    <a:lnTo>
                      <a:pt x="716" y="770"/>
                    </a:lnTo>
                    <a:lnTo>
                      <a:pt x="716" y="767"/>
                    </a:lnTo>
                    <a:lnTo>
                      <a:pt x="716" y="767"/>
                    </a:lnTo>
                    <a:lnTo>
                      <a:pt x="714" y="767"/>
                    </a:lnTo>
                    <a:lnTo>
                      <a:pt x="716" y="770"/>
                    </a:lnTo>
                    <a:lnTo>
                      <a:pt x="714" y="770"/>
                    </a:lnTo>
                    <a:lnTo>
                      <a:pt x="711" y="772"/>
                    </a:lnTo>
                    <a:lnTo>
                      <a:pt x="714" y="772"/>
                    </a:lnTo>
                    <a:lnTo>
                      <a:pt x="714" y="774"/>
                    </a:lnTo>
                    <a:lnTo>
                      <a:pt x="716" y="774"/>
                    </a:lnTo>
                    <a:lnTo>
                      <a:pt x="714" y="777"/>
                    </a:lnTo>
                    <a:lnTo>
                      <a:pt x="714" y="777"/>
                    </a:lnTo>
                    <a:lnTo>
                      <a:pt x="714" y="777"/>
                    </a:lnTo>
                    <a:lnTo>
                      <a:pt x="711" y="779"/>
                    </a:lnTo>
                    <a:lnTo>
                      <a:pt x="711" y="777"/>
                    </a:lnTo>
                    <a:lnTo>
                      <a:pt x="711" y="777"/>
                    </a:lnTo>
                    <a:lnTo>
                      <a:pt x="709" y="777"/>
                    </a:lnTo>
                    <a:lnTo>
                      <a:pt x="709" y="782"/>
                    </a:lnTo>
                    <a:lnTo>
                      <a:pt x="707" y="782"/>
                    </a:lnTo>
                    <a:lnTo>
                      <a:pt x="707" y="782"/>
                    </a:lnTo>
                    <a:lnTo>
                      <a:pt x="707" y="782"/>
                    </a:lnTo>
                    <a:lnTo>
                      <a:pt x="704" y="784"/>
                    </a:lnTo>
                    <a:lnTo>
                      <a:pt x="704" y="784"/>
                    </a:lnTo>
                    <a:lnTo>
                      <a:pt x="702" y="784"/>
                    </a:lnTo>
                    <a:lnTo>
                      <a:pt x="702" y="782"/>
                    </a:lnTo>
                    <a:lnTo>
                      <a:pt x="700" y="782"/>
                    </a:lnTo>
                    <a:lnTo>
                      <a:pt x="700" y="784"/>
                    </a:lnTo>
                    <a:lnTo>
                      <a:pt x="700" y="784"/>
                    </a:lnTo>
                    <a:lnTo>
                      <a:pt x="700" y="784"/>
                    </a:lnTo>
                    <a:lnTo>
                      <a:pt x="697" y="786"/>
                    </a:lnTo>
                    <a:lnTo>
                      <a:pt x="700" y="786"/>
                    </a:lnTo>
                    <a:lnTo>
                      <a:pt x="700" y="789"/>
                    </a:lnTo>
                    <a:lnTo>
                      <a:pt x="697" y="789"/>
                    </a:lnTo>
                    <a:lnTo>
                      <a:pt x="697" y="789"/>
                    </a:lnTo>
                    <a:lnTo>
                      <a:pt x="695" y="789"/>
                    </a:lnTo>
                    <a:lnTo>
                      <a:pt x="692" y="789"/>
                    </a:lnTo>
                    <a:lnTo>
                      <a:pt x="692" y="789"/>
                    </a:lnTo>
                    <a:lnTo>
                      <a:pt x="692" y="789"/>
                    </a:lnTo>
                    <a:lnTo>
                      <a:pt x="692" y="786"/>
                    </a:lnTo>
                    <a:lnTo>
                      <a:pt x="692" y="786"/>
                    </a:lnTo>
                    <a:lnTo>
                      <a:pt x="690" y="786"/>
                    </a:lnTo>
                    <a:lnTo>
                      <a:pt x="690" y="786"/>
                    </a:lnTo>
                    <a:lnTo>
                      <a:pt x="688" y="789"/>
                    </a:lnTo>
                    <a:lnTo>
                      <a:pt x="688" y="789"/>
                    </a:lnTo>
                    <a:lnTo>
                      <a:pt x="688" y="791"/>
                    </a:lnTo>
                    <a:lnTo>
                      <a:pt x="688" y="791"/>
                    </a:lnTo>
                    <a:lnTo>
                      <a:pt x="688" y="793"/>
                    </a:lnTo>
                    <a:lnTo>
                      <a:pt x="688" y="793"/>
                    </a:lnTo>
                    <a:lnTo>
                      <a:pt x="685" y="791"/>
                    </a:lnTo>
                    <a:lnTo>
                      <a:pt x="685" y="791"/>
                    </a:lnTo>
                    <a:lnTo>
                      <a:pt x="683" y="791"/>
                    </a:lnTo>
                    <a:lnTo>
                      <a:pt x="683" y="793"/>
                    </a:lnTo>
                    <a:lnTo>
                      <a:pt x="683" y="793"/>
                    </a:lnTo>
                    <a:lnTo>
                      <a:pt x="683" y="796"/>
                    </a:lnTo>
                    <a:lnTo>
                      <a:pt x="683" y="796"/>
                    </a:lnTo>
                    <a:lnTo>
                      <a:pt x="683" y="796"/>
                    </a:lnTo>
                    <a:lnTo>
                      <a:pt x="683" y="796"/>
                    </a:lnTo>
                    <a:lnTo>
                      <a:pt x="681" y="796"/>
                    </a:lnTo>
                    <a:lnTo>
                      <a:pt x="681" y="796"/>
                    </a:lnTo>
                    <a:lnTo>
                      <a:pt x="678" y="796"/>
                    </a:lnTo>
                    <a:lnTo>
                      <a:pt x="676" y="796"/>
                    </a:lnTo>
                    <a:lnTo>
                      <a:pt x="676" y="798"/>
                    </a:lnTo>
                    <a:lnTo>
                      <a:pt x="674" y="798"/>
                    </a:lnTo>
                    <a:lnTo>
                      <a:pt x="674" y="798"/>
                    </a:lnTo>
                    <a:lnTo>
                      <a:pt x="671" y="800"/>
                    </a:lnTo>
                    <a:lnTo>
                      <a:pt x="671" y="798"/>
                    </a:lnTo>
                    <a:lnTo>
                      <a:pt x="671" y="796"/>
                    </a:lnTo>
                    <a:lnTo>
                      <a:pt x="671" y="796"/>
                    </a:lnTo>
                    <a:lnTo>
                      <a:pt x="669" y="796"/>
                    </a:lnTo>
                    <a:lnTo>
                      <a:pt x="669" y="796"/>
                    </a:lnTo>
                    <a:lnTo>
                      <a:pt x="669" y="793"/>
                    </a:lnTo>
                    <a:lnTo>
                      <a:pt x="669" y="791"/>
                    </a:lnTo>
                    <a:lnTo>
                      <a:pt x="666" y="793"/>
                    </a:lnTo>
                    <a:lnTo>
                      <a:pt x="666" y="793"/>
                    </a:lnTo>
                    <a:lnTo>
                      <a:pt x="664" y="793"/>
                    </a:lnTo>
                    <a:lnTo>
                      <a:pt x="664" y="791"/>
                    </a:lnTo>
                    <a:lnTo>
                      <a:pt x="664" y="791"/>
                    </a:lnTo>
                    <a:lnTo>
                      <a:pt x="662" y="791"/>
                    </a:lnTo>
                    <a:lnTo>
                      <a:pt x="662" y="789"/>
                    </a:lnTo>
                    <a:lnTo>
                      <a:pt x="659" y="789"/>
                    </a:lnTo>
                    <a:lnTo>
                      <a:pt x="659" y="789"/>
                    </a:lnTo>
                    <a:lnTo>
                      <a:pt x="657" y="789"/>
                    </a:lnTo>
                    <a:lnTo>
                      <a:pt x="657" y="791"/>
                    </a:lnTo>
                    <a:lnTo>
                      <a:pt x="655" y="791"/>
                    </a:lnTo>
                    <a:lnTo>
                      <a:pt x="655" y="791"/>
                    </a:lnTo>
                    <a:lnTo>
                      <a:pt x="652" y="789"/>
                    </a:lnTo>
                    <a:lnTo>
                      <a:pt x="650" y="789"/>
                    </a:lnTo>
                    <a:lnTo>
                      <a:pt x="648" y="789"/>
                    </a:lnTo>
                    <a:lnTo>
                      <a:pt x="648" y="786"/>
                    </a:lnTo>
                    <a:lnTo>
                      <a:pt x="645" y="784"/>
                    </a:lnTo>
                    <a:lnTo>
                      <a:pt x="645" y="782"/>
                    </a:lnTo>
                    <a:lnTo>
                      <a:pt x="645" y="782"/>
                    </a:lnTo>
                    <a:lnTo>
                      <a:pt x="643" y="782"/>
                    </a:lnTo>
                    <a:lnTo>
                      <a:pt x="638" y="782"/>
                    </a:lnTo>
                    <a:lnTo>
                      <a:pt x="638" y="782"/>
                    </a:lnTo>
                    <a:lnTo>
                      <a:pt x="638" y="779"/>
                    </a:lnTo>
                    <a:lnTo>
                      <a:pt x="633" y="779"/>
                    </a:lnTo>
                    <a:lnTo>
                      <a:pt x="633" y="777"/>
                    </a:lnTo>
                    <a:lnTo>
                      <a:pt x="633" y="777"/>
                    </a:lnTo>
                    <a:lnTo>
                      <a:pt x="631" y="777"/>
                    </a:lnTo>
                    <a:lnTo>
                      <a:pt x="629" y="779"/>
                    </a:lnTo>
                    <a:lnTo>
                      <a:pt x="626" y="782"/>
                    </a:lnTo>
                    <a:lnTo>
                      <a:pt x="626" y="782"/>
                    </a:lnTo>
                    <a:lnTo>
                      <a:pt x="629" y="784"/>
                    </a:lnTo>
                    <a:lnTo>
                      <a:pt x="629" y="784"/>
                    </a:lnTo>
                    <a:lnTo>
                      <a:pt x="626" y="784"/>
                    </a:lnTo>
                    <a:lnTo>
                      <a:pt x="626" y="784"/>
                    </a:lnTo>
                    <a:lnTo>
                      <a:pt x="624" y="782"/>
                    </a:lnTo>
                    <a:lnTo>
                      <a:pt x="624" y="782"/>
                    </a:lnTo>
                    <a:lnTo>
                      <a:pt x="624" y="782"/>
                    </a:lnTo>
                    <a:lnTo>
                      <a:pt x="622" y="782"/>
                    </a:lnTo>
                    <a:lnTo>
                      <a:pt x="619" y="782"/>
                    </a:lnTo>
                    <a:lnTo>
                      <a:pt x="617" y="782"/>
                    </a:lnTo>
                    <a:lnTo>
                      <a:pt x="615" y="782"/>
                    </a:lnTo>
                    <a:lnTo>
                      <a:pt x="615" y="782"/>
                    </a:lnTo>
                    <a:lnTo>
                      <a:pt x="615" y="782"/>
                    </a:lnTo>
                    <a:lnTo>
                      <a:pt x="615" y="782"/>
                    </a:lnTo>
                    <a:lnTo>
                      <a:pt x="612" y="782"/>
                    </a:lnTo>
                    <a:lnTo>
                      <a:pt x="610" y="782"/>
                    </a:lnTo>
                    <a:lnTo>
                      <a:pt x="605" y="784"/>
                    </a:lnTo>
                    <a:lnTo>
                      <a:pt x="605" y="782"/>
                    </a:lnTo>
                    <a:lnTo>
                      <a:pt x="605" y="782"/>
                    </a:lnTo>
                    <a:lnTo>
                      <a:pt x="605" y="779"/>
                    </a:lnTo>
                    <a:lnTo>
                      <a:pt x="605" y="779"/>
                    </a:lnTo>
                    <a:lnTo>
                      <a:pt x="600" y="782"/>
                    </a:lnTo>
                    <a:lnTo>
                      <a:pt x="600" y="779"/>
                    </a:lnTo>
                    <a:lnTo>
                      <a:pt x="598" y="779"/>
                    </a:lnTo>
                    <a:lnTo>
                      <a:pt x="596" y="779"/>
                    </a:lnTo>
                    <a:lnTo>
                      <a:pt x="596" y="777"/>
                    </a:lnTo>
                    <a:lnTo>
                      <a:pt x="596" y="777"/>
                    </a:lnTo>
                    <a:lnTo>
                      <a:pt x="593" y="777"/>
                    </a:lnTo>
                    <a:lnTo>
                      <a:pt x="591" y="777"/>
                    </a:lnTo>
                    <a:lnTo>
                      <a:pt x="591" y="777"/>
                    </a:lnTo>
                    <a:lnTo>
                      <a:pt x="586" y="777"/>
                    </a:lnTo>
                    <a:lnTo>
                      <a:pt x="584" y="777"/>
                    </a:lnTo>
                    <a:lnTo>
                      <a:pt x="584" y="779"/>
                    </a:lnTo>
                    <a:lnTo>
                      <a:pt x="584" y="779"/>
                    </a:lnTo>
                    <a:lnTo>
                      <a:pt x="584" y="779"/>
                    </a:lnTo>
                    <a:lnTo>
                      <a:pt x="581" y="779"/>
                    </a:lnTo>
                    <a:lnTo>
                      <a:pt x="579" y="779"/>
                    </a:lnTo>
                    <a:lnTo>
                      <a:pt x="579" y="779"/>
                    </a:lnTo>
                    <a:lnTo>
                      <a:pt x="577" y="779"/>
                    </a:lnTo>
                    <a:lnTo>
                      <a:pt x="574" y="779"/>
                    </a:lnTo>
                    <a:lnTo>
                      <a:pt x="572" y="779"/>
                    </a:lnTo>
                    <a:lnTo>
                      <a:pt x="570" y="782"/>
                    </a:lnTo>
                    <a:lnTo>
                      <a:pt x="567" y="779"/>
                    </a:lnTo>
                    <a:lnTo>
                      <a:pt x="565" y="782"/>
                    </a:lnTo>
                    <a:lnTo>
                      <a:pt x="563" y="784"/>
                    </a:lnTo>
                    <a:lnTo>
                      <a:pt x="563" y="784"/>
                    </a:lnTo>
                    <a:lnTo>
                      <a:pt x="560" y="779"/>
                    </a:lnTo>
                    <a:lnTo>
                      <a:pt x="560" y="779"/>
                    </a:lnTo>
                    <a:lnTo>
                      <a:pt x="555" y="777"/>
                    </a:lnTo>
                    <a:lnTo>
                      <a:pt x="555" y="777"/>
                    </a:lnTo>
                    <a:lnTo>
                      <a:pt x="551" y="777"/>
                    </a:lnTo>
                    <a:lnTo>
                      <a:pt x="551" y="774"/>
                    </a:lnTo>
                    <a:lnTo>
                      <a:pt x="548" y="774"/>
                    </a:lnTo>
                    <a:lnTo>
                      <a:pt x="546" y="777"/>
                    </a:lnTo>
                    <a:lnTo>
                      <a:pt x="544" y="777"/>
                    </a:lnTo>
                    <a:lnTo>
                      <a:pt x="544" y="779"/>
                    </a:lnTo>
                    <a:lnTo>
                      <a:pt x="541" y="779"/>
                    </a:lnTo>
                    <a:lnTo>
                      <a:pt x="541" y="782"/>
                    </a:lnTo>
                    <a:lnTo>
                      <a:pt x="541" y="782"/>
                    </a:lnTo>
                    <a:lnTo>
                      <a:pt x="541" y="782"/>
                    </a:lnTo>
                    <a:lnTo>
                      <a:pt x="539" y="782"/>
                    </a:lnTo>
                    <a:lnTo>
                      <a:pt x="537" y="782"/>
                    </a:lnTo>
                    <a:lnTo>
                      <a:pt x="534" y="784"/>
                    </a:lnTo>
                    <a:lnTo>
                      <a:pt x="534" y="786"/>
                    </a:lnTo>
                    <a:lnTo>
                      <a:pt x="534" y="786"/>
                    </a:lnTo>
                    <a:lnTo>
                      <a:pt x="529" y="789"/>
                    </a:lnTo>
                    <a:lnTo>
                      <a:pt x="529" y="789"/>
                    </a:lnTo>
                    <a:lnTo>
                      <a:pt x="527" y="789"/>
                    </a:lnTo>
                    <a:lnTo>
                      <a:pt x="527" y="786"/>
                    </a:lnTo>
                    <a:lnTo>
                      <a:pt x="525" y="786"/>
                    </a:lnTo>
                    <a:lnTo>
                      <a:pt x="525" y="786"/>
                    </a:lnTo>
                    <a:lnTo>
                      <a:pt x="527" y="786"/>
                    </a:lnTo>
                    <a:lnTo>
                      <a:pt x="527" y="784"/>
                    </a:lnTo>
                    <a:lnTo>
                      <a:pt x="525" y="784"/>
                    </a:lnTo>
                    <a:lnTo>
                      <a:pt x="520" y="786"/>
                    </a:lnTo>
                    <a:lnTo>
                      <a:pt x="520" y="789"/>
                    </a:lnTo>
                    <a:lnTo>
                      <a:pt x="515" y="789"/>
                    </a:lnTo>
                    <a:lnTo>
                      <a:pt x="513" y="789"/>
                    </a:lnTo>
                    <a:lnTo>
                      <a:pt x="513" y="789"/>
                    </a:lnTo>
                    <a:lnTo>
                      <a:pt x="513" y="789"/>
                    </a:lnTo>
                    <a:lnTo>
                      <a:pt x="515" y="791"/>
                    </a:lnTo>
                    <a:lnTo>
                      <a:pt x="515" y="791"/>
                    </a:lnTo>
                    <a:lnTo>
                      <a:pt x="515" y="793"/>
                    </a:lnTo>
                    <a:lnTo>
                      <a:pt x="515" y="793"/>
                    </a:lnTo>
                    <a:lnTo>
                      <a:pt x="513" y="796"/>
                    </a:lnTo>
                    <a:lnTo>
                      <a:pt x="511" y="796"/>
                    </a:lnTo>
                    <a:lnTo>
                      <a:pt x="508" y="800"/>
                    </a:lnTo>
                    <a:lnTo>
                      <a:pt x="508" y="803"/>
                    </a:lnTo>
                    <a:lnTo>
                      <a:pt x="506" y="803"/>
                    </a:lnTo>
                    <a:lnTo>
                      <a:pt x="506" y="803"/>
                    </a:lnTo>
                    <a:lnTo>
                      <a:pt x="503" y="805"/>
                    </a:lnTo>
                    <a:lnTo>
                      <a:pt x="503" y="805"/>
                    </a:lnTo>
                    <a:lnTo>
                      <a:pt x="503" y="807"/>
                    </a:lnTo>
                    <a:lnTo>
                      <a:pt x="501" y="807"/>
                    </a:lnTo>
                    <a:lnTo>
                      <a:pt x="499" y="807"/>
                    </a:lnTo>
                    <a:lnTo>
                      <a:pt x="499" y="807"/>
                    </a:lnTo>
                    <a:lnTo>
                      <a:pt x="496" y="812"/>
                    </a:lnTo>
                    <a:lnTo>
                      <a:pt x="494" y="815"/>
                    </a:lnTo>
                    <a:lnTo>
                      <a:pt x="492" y="817"/>
                    </a:lnTo>
                    <a:lnTo>
                      <a:pt x="492" y="817"/>
                    </a:lnTo>
                    <a:lnTo>
                      <a:pt x="489" y="819"/>
                    </a:lnTo>
                    <a:lnTo>
                      <a:pt x="487" y="817"/>
                    </a:lnTo>
                    <a:lnTo>
                      <a:pt x="487" y="817"/>
                    </a:lnTo>
                    <a:lnTo>
                      <a:pt x="485" y="815"/>
                    </a:lnTo>
                    <a:lnTo>
                      <a:pt x="480" y="807"/>
                    </a:lnTo>
                    <a:lnTo>
                      <a:pt x="478" y="805"/>
                    </a:lnTo>
                    <a:lnTo>
                      <a:pt x="478" y="803"/>
                    </a:lnTo>
                    <a:lnTo>
                      <a:pt x="478" y="800"/>
                    </a:lnTo>
                    <a:lnTo>
                      <a:pt x="478" y="800"/>
                    </a:lnTo>
                    <a:lnTo>
                      <a:pt x="478" y="798"/>
                    </a:lnTo>
                    <a:lnTo>
                      <a:pt x="478" y="798"/>
                    </a:lnTo>
                    <a:lnTo>
                      <a:pt x="473" y="798"/>
                    </a:lnTo>
                    <a:lnTo>
                      <a:pt x="473" y="798"/>
                    </a:lnTo>
                    <a:lnTo>
                      <a:pt x="470" y="798"/>
                    </a:lnTo>
                    <a:lnTo>
                      <a:pt x="470" y="800"/>
                    </a:lnTo>
                    <a:lnTo>
                      <a:pt x="470" y="803"/>
                    </a:lnTo>
                    <a:lnTo>
                      <a:pt x="470" y="805"/>
                    </a:lnTo>
                    <a:lnTo>
                      <a:pt x="470" y="805"/>
                    </a:lnTo>
                    <a:lnTo>
                      <a:pt x="470" y="805"/>
                    </a:lnTo>
                    <a:lnTo>
                      <a:pt x="468" y="805"/>
                    </a:lnTo>
                    <a:lnTo>
                      <a:pt x="468" y="805"/>
                    </a:lnTo>
                    <a:lnTo>
                      <a:pt x="461" y="805"/>
                    </a:lnTo>
                    <a:lnTo>
                      <a:pt x="459" y="807"/>
                    </a:lnTo>
                    <a:lnTo>
                      <a:pt x="459" y="807"/>
                    </a:lnTo>
                    <a:lnTo>
                      <a:pt x="456" y="807"/>
                    </a:lnTo>
                    <a:lnTo>
                      <a:pt x="459" y="812"/>
                    </a:lnTo>
                    <a:lnTo>
                      <a:pt x="459" y="812"/>
                    </a:lnTo>
                    <a:lnTo>
                      <a:pt x="459" y="812"/>
                    </a:lnTo>
                    <a:lnTo>
                      <a:pt x="454" y="812"/>
                    </a:lnTo>
                    <a:lnTo>
                      <a:pt x="454" y="812"/>
                    </a:lnTo>
                    <a:lnTo>
                      <a:pt x="452" y="812"/>
                    </a:lnTo>
                    <a:lnTo>
                      <a:pt x="452" y="812"/>
                    </a:lnTo>
                    <a:lnTo>
                      <a:pt x="449" y="815"/>
                    </a:lnTo>
                    <a:lnTo>
                      <a:pt x="447" y="815"/>
                    </a:lnTo>
                    <a:lnTo>
                      <a:pt x="444" y="815"/>
                    </a:lnTo>
                    <a:lnTo>
                      <a:pt x="444" y="815"/>
                    </a:lnTo>
                    <a:lnTo>
                      <a:pt x="442" y="815"/>
                    </a:lnTo>
                    <a:lnTo>
                      <a:pt x="442" y="817"/>
                    </a:lnTo>
                    <a:lnTo>
                      <a:pt x="440" y="817"/>
                    </a:lnTo>
                    <a:lnTo>
                      <a:pt x="440" y="817"/>
                    </a:lnTo>
                    <a:lnTo>
                      <a:pt x="440" y="817"/>
                    </a:lnTo>
                    <a:lnTo>
                      <a:pt x="435" y="817"/>
                    </a:lnTo>
                    <a:lnTo>
                      <a:pt x="433" y="817"/>
                    </a:lnTo>
                    <a:lnTo>
                      <a:pt x="433" y="815"/>
                    </a:lnTo>
                    <a:lnTo>
                      <a:pt x="430" y="815"/>
                    </a:lnTo>
                    <a:lnTo>
                      <a:pt x="430" y="815"/>
                    </a:lnTo>
                    <a:lnTo>
                      <a:pt x="428" y="815"/>
                    </a:lnTo>
                    <a:lnTo>
                      <a:pt x="428" y="815"/>
                    </a:lnTo>
                    <a:lnTo>
                      <a:pt x="426" y="815"/>
                    </a:lnTo>
                    <a:lnTo>
                      <a:pt x="421" y="815"/>
                    </a:lnTo>
                    <a:lnTo>
                      <a:pt x="416" y="815"/>
                    </a:lnTo>
                    <a:lnTo>
                      <a:pt x="416" y="812"/>
                    </a:lnTo>
                    <a:lnTo>
                      <a:pt x="411" y="812"/>
                    </a:lnTo>
                    <a:lnTo>
                      <a:pt x="409" y="812"/>
                    </a:lnTo>
                    <a:lnTo>
                      <a:pt x="409" y="815"/>
                    </a:lnTo>
                    <a:lnTo>
                      <a:pt x="407" y="817"/>
                    </a:lnTo>
                    <a:lnTo>
                      <a:pt x="404" y="819"/>
                    </a:lnTo>
                    <a:lnTo>
                      <a:pt x="402" y="822"/>
                    </a:lnTo>
                    <a:lnTo>
                      <a:pt x="392" y="822"/>
                    </a:lnTo>
                    <a:lnTo>
                      <a:pt x="388" y="824"/>
                    </a:lnTo>
                    <a:lnTo>
                      <a:pt x="385" y="824"/>
                    </a:lnTo>
                    <a:lnTo>
                      <a:pt x="381" y="822"/>
                    </a:lnTo>
                    <a:lnTo>
                      <a:pt x="378" y="824"/>
                    </a:lnTo>
                    <a:lnTo>
                      <a:pt x="376" y="824"/>
                    </a:lnTo>
                    <a:lnTo>
                      <a:pt x="376" y="824"/>
                    </a:lnTo>
                    <a:lnTo>
                      <a:pt x="374" y="826"/>
                    </a:lnTo>
                    <a:lnTo>
                      <a:pt x="371" y="826"/>
                    </a:lnTo>
                    <a:lnTo>
                      <a:pt x="369" y="833"/>
                    </a:lnTo>
                    <a:lnTo>
                      <a:pt x="366" y="841"/>
                    </a:lnTo>
                    <a:lnTo>
                      <a:pt x="364" y="841"/>
                    </a:lnTo>
                    <a:lnTo>
                      <a:pt x="362" y="841"/>
                    </a:lnTo>
                    <a:lnTo>
                      <a:pt x="359" y="843"/>
                    </a:lnTo>
                    <a:lnTo>
                      <a:pt x="359" y="843"/>
                    </a:lnTo>
                    <a:lnTo>
                      <a:pt x="359" y="843"/>
                    </a:lnTo>
                    <a:lnTo>
                      <a:pt x="357" y="850"/>
                    </a:lnTo>
                    <a:lnTo>
                      <a:pt x="355" y="855"/>
                    </a:lnTo>
                    <a:lnTo>
                      <a:pt x="352" y="855"/>
                    </a:lnTo>
                    <a:lnTo>
                      <a:pt x="350" y="855"/>
                    </a:lnTo>
                    <a:lnTo>
                      <a:pt x="348" y="857"/>
                    </a:lnTo>
                    <a:lnTo>
                      <a:pt x="348" y="859"/>
                    </a:lnTo>
                    <a:lnTo>
                      <a:pt x="350" y="862"/>
                    </a:lnTo>
                    <a:lnTo>
                      <a:pt x="350" y="864"/>
                    </a:lnTo>
                    <a:lnTo>
                      <a:pt x="350" y="867"/>
                    </a:lnTo>
                    <a:lnTo>
                      <a:pt x="350" y="869"/>
                    </a:lnTo>
                    <a:lnTo>
                      <a:pt x="348" y="874"/>
                    </a:lnTo>
                    <a:lnTo>
                      <a:pt x="345" y="878"/>
                    </a:lnTo>
                    <a:lnTo>
                      <a:pt x="343" y="878"/>
                    </a:lnTo>
                    <a:lnTo>
                      <a:pt x="343" y="878"/>
                    </a:lnTo>
                    <a:lnTo>
                      <a:pt x="340" y="881"/>
                    </a:lnTo>
                    <a:lnTo>
                      <a:pt x="338" y="883"/>
                    </a:lnTo>
                    <a:lnTo>
                      <a:pt x="331" y="883"/>
                    </a:lnTo>
                    <a:lnTo>
                      <a:pt x="329" y="883"/>
                    </a:lnTo>
                    <a:lnTo>
                      <a:pt x="326" y="883"/>
                    </a:lnTo>
                    <a:lnTo>
                      <a:pt x="326" y="883"/>
                    </a:lnTo>
                    <a:lnTo>
                      <a:pt x="326" y="885"/>
                    </a:lnTo>
                    <a:lnTo>
                      <a:pt x="326" y="888"/>
                    </a:lnTo>
                    <a:lnTo>
                      <a:pt x="319" y="890"/>
                    </a:lnTo>
                    <a:lnTo>
                      <a:pt x="319" y="890"/>
                    </a:lnTo>
                    <a:lnTo>
                      <a:pt x="319" y="893"/>
                    </a:lnTo>
                    <a:lnTo>
                      <a:pt x="319" y="895"/>
                    </a:lnTo>
                    <a:lnTo>
                      <a:pt x="317" y="895"/>
                    </a:lnTo>
                    <a:lnTo>
                      <a:pt x="315" y="900"/>
                    </a:lnTo>
                    <a:lnTo>
                      <a:pt x="312" y="900"/>
                    </a:lnTo>
                    <a:lnTo>
                      <a:pt x="310" y="902"/>
                    </a:lnTo>
                    <a:lnTo>
                      <a:pt x="307" y="904"/>
                    </a:lnTo>
                    <a:lnTo>
                      <a:pt x="307" y="907"/>
                    </a:lnTo>
                    <a:lnTo>
                      <a:pt x="307" y="907"/>
                    </a:lnTo>
                    <a:lnTo>
                      <a:pt x="307" y="909"/>
                    </a:lnTo>
                    <a:lnTo>
                      <a:pt x="305" y="914"/>
                    </a:lnTo>
                    <a:lnTo>
                      <a:pt x="305" y="916"/>
                    </a:lnTo>
                    <a:lnTo>
                      <a:pt x="303" y="919"/>
                    </a:lnTo>
                    <a:lnTo>
                      <a:pt x="303" y="919"/>
                    </a:lnTo>
                    <a:lnTo>
                      <a:pt x="303" y="921"/>
                    </a:lnTo>
                    <a:lnTo>
                      <a:pt x="303" y="921"/>
                    </a:lnTo>
                    <a:lnTo>
                      <a:pt x="307" y="926"/>
                    </a:lnTo>
                    <a:lnTo>
                      <a:pt x="307" y="928"/>
                    </a:lnTo>
                    <a:lnTo>
                      <a:pt x="307" y="928"/>
                    </a:lnTo>
                    <a:lnTo>
                      <a:pt x="307" y="930"/>
                    </a:lnTo>
                    <a:lnTo>
                      <a:pt x="305" y="930"/>
                    </a:lnTo>
                    <a:lnTo>
                      <a:pt x="298" y="928"/>
                    </a:lnTo>
                    <a:lnTo>
                      <a:pt x="293" y="926"/>
                    </a:lnTo>
                    <a:lnTo>
                      <a:pt x="293" y="926"/>
                    </a:lnTo>
                    <a:lnTo>
                      <a:pt x="293" y="923"/>
                    </a:lnTo>
                    <a:lnTo>
                      <a:pt x="293" y="923"/>
                    </a:lnTo>
                    <a:lnTo>
                      <a:pt x="291" y="921"/>
                    </a:lnTo>
                    <a:lnTo>
                      <a:pt x="289" y="921"/>
                    </a:lnTo>
                    <a:lnTo>
                      <a:pt x="289" y="919"/>
                    </a:lnTo>
                    <a:lnTo>
                      <a:pt x="286" y="919"/>
                    </a:lnTo>
                    <a:lnTo>
                      <a:pt x="286" y="919"/>
                    </a:lnTo>
                    <a:lnTo>
                      <a:pt x="286" y="916"/>
                    </a:lnTo>
                    <a:lnTo>
                      <a:pt x="284" y="919"/>
                    </a:lnTo>
                    <a:lnTo>
                      <a:pt x="281" y="916"/>
                    </a:lnTo>
                    <a:lnTo>
                      <a:pt x="284" y="916"/>
                    </a:lnTo>
                    <a:lnTo>
                      <a:pt x="284" y="916"/>
                    </a:lnTo>
                    <a:lnTo>
                      <a:pt x="284" y="914"/>
                    </a:lnTo>
                    <a:lnTo>
                      <a:pt x="281" y="911"/>
                    </a:lnTo>
                    <a:lnTo>
                      <a:pt x="281" y="911"/>
                    </a:lnTo>
                    <a:lnTo>
                      <a:pt x="281" y="909"/>
                    </a:lnTo>
                    <a:lnTo>
                      <a:pt x="279" y="909"/>
                    </a:lnTo>
                    <a:lnTo>
                      <a:pt x="279" y="907"/>
                    </a:lnTo>
                    <a:lnTo>
                      <a:pt x="277" y="909"/>
                    </a:lnTo>
                    <a:lnTo>
                      <a:pt x="277" y="907"/>
                    </a:lnTo>
                    <a:lnTo>
                      <a:pt x="274" y="907"/>
                    </a:lnTo>
                    <a:lnTo>
                      <a:pt x="274" y="904"/>
                    </a:lnTo>
                    <a:lnTo>
                      <a:pt x="274" y="904"/>
                    </a:lnTo>
                    <a:lnTo>
                      <a:pt x="272" y="904"/>
                    </a:lnTo>
                    <a:lnTo>
                      <a:pt x="272" y="904"/>
                    </a:lnTo>
                    <a:lnTo>
                      <a:pt x="270" y="904"/>
                    </a:lnTo>
                    <a:lnTo>
                      <a:pt x="267" y="902"/>
                    </a:lnTo>
                    <a:lnTo>
                      <a:pt x="265" y="902"/>
                    </a:lnTo>
                    <a:lnTo>
                      <a:pt x="263" y="902"/>
                    </a:lnTo>
                    <a:lnTo>
                      <a:pt x="263" y="900"/>
                    </a:lnTo>
                    <a:lnTo>
                      <a:pt x="260" y="900"/>
                    </a:lnTo>
                    <a:lnTo>
                      <a:pt x="260" y="900"/>
                    </a:lnTo>
                    <a:lnTo>
                      <a:pt x="260" y="900"/>
                    </a:lnTo>
                    <a:lnTo>
                      <a:pt x="258" y="900"/>
                    </a:lnTo>
                    <a:lnTo>
                      <a:pt x="258" y="900"/>
                    </a:lnTo>
                    <a:lnTo>
                      <a:pt x="258" y="900"/>
                    </a:lnTo>
                    <a:lnTo>
                      <a:pt x="258" y="900"/>
                    </a:lnTo>
                    <a:lnTo>
                      <a:pt x="255" y="900"/>
                    </a:lnTo>
                    <a:lnTo>
                      <a:pt x="255" y="900"/>
                    </a:lnTo>
                    <a:lnTo>
                      <a:pt x="253" y="900"/>
                    </a:lnTo>
                    <a:lnTo>
                      <a:pt x="251" y="900"/>
                    </a:lnTo>
                    <a:lnTo>
                      <a:pt x="251" y="897"/>
                    </a:lnTo>
                    <a:lnTo>
                      <a:pt x="251" y="897"/>
                    </a:lnTo>
                    <a:lnTo>
                      <a:pt x="248" y="897"/>
                    </a:lnTo>
                    <a:lnTo>
                      <a:pt x="248" y="897"/>
                    </a:lnTo>
                    <a:lnTo>
                      <a:pt x="248" y="897"/>
                    </a:lnTo>
                    <a:lnTo>
                      <a:pt x="248" y="895"/>
                    </a:lnTo>
                    <a:lnTo>
                      <a:pt x="244" y="895"/>
                    </a:lnTo>
                    <a:lnTo>
                      <a:pt x="241" y="893"/>
                    </a:lnTo>
                    <a:lnTo>
                      <a:pt x="239" y="895"/>
                    </a:lnTo>
                    <a:lnTo>
                      <a:pt x="239" y="893"/>
                    </a:lnTo>
                    <a:lnTo>
                      <a:pt x="239" y="893"/>
                    </a:lnTo>
                    <a:lnTo>
                      <a:pt x="239" y="890"/>
                    </a:lnTo>
                    <a:lnTo>
                      <a:pt x="239" y="890"/>
                    </a:lnTo>
                    <a:lnTo>
                      <a:pt x="237" y="890"/>
                    </a:lnTo>
                    <a:lnTo>
                      <a:pt x="234" y="890"/>
                    </a:lnTo>
                    <a:lnTo>
                      <a:pt x="234" y="890"/>
                    </a:lnTo>
                    <a:lnTo>
                      <a:pt x="234" y="888"/>
                    </a:lnTo>
                    <a:lnTo>
                      <a:pt x="234" y="888"/>
                    </a:lnTo>
                    <a:lnTo>
                      <a:pt x="234" y="888"/>
                    </a:lnTo>
                    <a:lnTo>
                      <a:pt x="234" y="888"/>
                    </a:lnTo>
                    <a:lnTo>
                      <a:pt x="232" y="888"/>
                    </a:lnTo>
                    <a:lnTo>
                      <a:pt x="232" y="888"/>
                    </a:lnTo>
                    <a:lnTo>
                      <a:pt x="229" y="888"/>
                    </a:lnTo>
                    <a:lnTo>
                      <a:pt x="229" y="885"/>
                    </a:lnTo>
                    <a:lnTo>
                      <a:pt x="229" y="885"/>
                    </a:lnTo>
                    <a:lnTo>
                      <a:pt x="227" y="888"/>
                    </a:lnTo>
                    <a:lnTo>
                      <a:pt x="225" y="885"/>
                    </a:lnTo>
                    <a:lnTo>
                      <a:pt x="225" y="885"/>
                    </a:lnTo>
                    <a:lnTo>
                      <a:pt x="222" y="885"/>
                    </a:lnTo>
                    <a:lnTo>
                      <a:pt x="222" y="885"/>
                    </a:lnTo>
                    <a:lnTo>
                      <a:pt x="222" y="885"/>
                    </a:lnTo>
                    <a:lnTo>
                      <a:pt x="222" y="885"/>
                    </a:lnTo>
                    <a:lnTo>
                      <a:pt x="220" y="883"/>
                    </a:lnTo>
                    <a:lnTo>
                      <a:pt x="218" y="883"/>
                    </a:lnTo>
                    <a:lnTo>
                      <a:pt x="215" y="883"/>
                    </a:lnTo>
                    <a:lnTo>
                      <a:pt x="215" y="883"/>
                    </a:lnTo>
                    <a:lnTo>
                      <a:pt x="213" y="883"/>
                    </a:lnTo>
                    <a:lnTo>
                      <a:pt x="213" y="881"/>
                    </a:lnTo>
                    <a:lnTo>
                      <a:pt x="211" y="881"/>
                    </a:lnTo>
                    <a:lnTo>
                      <a:pt x="211" y="883"/>
                    </a:lnTo>
                    <a:lnTo>
                      <a:pt x="208" y="883"/>
                    </a:lnTo>
                    <a:lnTo>
                      <a:pt x="208" y="883"/>
                    </a:lnTo>
                    <a:lnTo>
                      <a:pt x="206" y="883"/>
                    </a:lnTo>
                    <a:lnTo>
                      <a:pt x="206" y="881"/>
                    </a:lnTo>
                    <a:lnTo>
                      <a:pt x="203" y="881"/>
                    </a:lnTo>
                    <a:lnTo>
                      <a:pt x="203" y="883"/>
                    </a:lnTo>
                    <a:lnTo>
                      <a:pt x="199" y="881"/>
                    </a:lnTo>
                    <a:lnTo>
                      <a:pt x="196" y="881"/>
                    </a:lnTo>
                    <a:lnTo>
                      <a:pt x="196" y="878"/>
                    </a:lnTo>
                    <a:lnTo>
                      <a:pt x="196" y="878"/>
                    </a:lnTo>
                    <a:lnTo>
                      <a:pt x="196" y="878"/>
                    </a:lnTo>
                    <a:lnTo>
                      <a:pt x="194" y="878"/>
                    </a:lnTo>
                    <a:lnTo>
                      <a:pt x="194" y="878"/>
                    </a:lnTo>
                    <a:lnTo>
                      <a:pt x="194" y="878"/>
                    </a:lnTo>
                    <a:lnTo>
                      <a:pt x="192" y="878"/>
                    </a:lnTo>
                    <a:lnTo>
                      <a:pt x="192" y="878"/>
                    </a:lnTo>
                    <a:lnTo>
                      <a:pt x="192" y="878"/>
                    </a:lnTo>
                    <a:lnTo>
                      <a:pt x="192" y="876"/>
                    </a:lnTo>
                    <a:lnTo>
                      <a:pt x="192" y="876"/>
                    </a:lnTo>
                    <a:lnTo>
                      <a:pt x="192" y="876"/>
                    </a:lnTo>
                    <a:lnTo>
                      <a:pt x="189" y="876"/>
                    </a:lnTo>
                    <a:lnTo>
                      <a:pt x="187" y="874"/>
                    </a:lnTo>
                    <a:lnTo>
                      <a:pt x="187" y="876"/>
                    </a:lnTo>
                    <a:lnTo>
                      <a:pt x="185" y="874"/>
                    </a:lnTo>
                    <a:lnTo>
                      <a:pt x="187" y="874"/>
                    </a:lnTo>
                    <a:lnTo>
                      <a:pt x="185" y="874"/>
                    </a:lnTo>
                    <a:lnTo>
                      <a:pt x="185" y="874"/>
                    </a:lnTo>
                    <a:lnTo>
                      <a:pt x="182" y="871"/>
                    </a:lnTo>
                    <a:lnTo>
                      <a:pt x="180" y="871"/>
                    </a:lnTo>
                    <a:lnTo>
                      <a:pt x="180" y="871"/>
                    </a:lnTo>
                    <a:lnTo>
                      <a:pt x="180" y="871"/>
                    </a:lnTo>
                    <a:lnTo>
                      <a:pt x="180" y="871"/>
                    </a:lnTo>
                    <a:lnTo>
                      <a:pt x="177" y="871"/>
                    </a:lnTo>
                    <a:lnTo>
                      <a:pt x="177" y="871"/>
                    </a:lnTo>
                    <a:lnTo>
                      <a:pt x="177" y="871"/>
                    </a:lnTo>
                    <a:lnTo>
                      <a:pt x="175" y="869"/>
                    </a:lnTo>
                    <a:lnTo>
                      <a:pt x="175" y="869"/>
                    </a:lnTo>
                    <a:lnTo>
                      <a:pt x="175" y="869"/>
                    </a:lnTo>
                    <a:lnTo>
                      <a:pt x="175" y="867"/>
                    </a:lnTo>
                    <a:lnTo>
                      <a:pt x="173" y="867"/>
                    </a:lnTo>
                    <a:lnTo>
                      <a:pt x="173" y="867"/>
                    </a:lnTo>
                    <a:lnTo>
                      <a:pt x="173" y="864"/>
                    </a:lnTo>
                    <a:lnTo>
                      <a:pt x="170" y="864"/>
                    </a:lnTo>
                    <a:lnTo>
                      <a:pt x="170" y="862"/>
                    </a:lnTo>
                    <a:lnTo>
                      <a:pt x="168" y="862"/>
                    </a:lnTo>
                    <a:lnTo>
                      <a:pt x="168" y="862"/>
                    </a:lnTo>
                    <a:lnTo>
                      <a:pt x="168" y="862"/>
                    </a:lnTo>
                    <a:lnTo>
                      <a:pt x="166" y="862"/>
                    </a:lnTo>
                    <a:lnTo>
                      <a:pt x="166" y="862"/>
                    </a:lnTo>
                    <a:lnTo>
                      <a:pt x="166" y="862"/>
                    </a:lnTo>
                    <a:lnTo>
                      <a:pt x="166" y="862"/>
                    </a:lnTo>
                    <a:lnTo>
                      <a:pt x="163" y="862"/>
                    </a:lnTo>
                    <a:lnTo>
                      <a:pt x="163" y="859"/>
                    </a:lnTo>
                    <a:lnTo>
                      <a:pt x="163" y="862"/>
                    </a:lnTo>
                    <a:lnTo>
                      <a:pt x="163" y="862"/>
                    </a:lnTo>
                    <a:lnTo>
                      <a:pt x="161" y="862"/>
                    </a:lnTo>
                    <a:lnTo>
                      <a:pt x="161" y="862"/>
                    </a:lnTo>
                    <a:lnTo>
                      <a:pt x="159" y="862"/>
                    </a:lnTo>
                    <a:lnTo>
                      <a:pt x="159" y="859"/>
                    </a:lnTo>
                    <a:lnTo>
                      <a:pt x="159" y="862"/>
                    </a:lnTo>
                    <a:lnTo>
                      <a:pt x="159" y="862"/>
                    </a:lnTo>
                    <a:lnTo>
                      <a:pt x="156" y="862"/>
                    </a:lnTo>
                    <a:lnTo>
                      <a:pt x="156" y="862"/>
                    </a:lnTo>
                    <a:lnTo>
                      <a:pt x="159" y="862"/>
                    </a:lnTo>
                    <a:lnTo>
                      <a:pt x="156" y="859"/>
                    </a:lnTo>
                    <a:lnTo>
                      <a:pt x="156" y="859"/>
                    </a:lnTo>
                    <a:lnTo>
                      <a:pt x="154" y="859"/>
                    </a:lnTo>
                    <a:lnTo>
                      <a:pt x="154" y="859"/>
                    </a:lnTo>
                    <a:lnTo>
                      <a:pt x="154" y="859"/>
                    </a:lnTo>
                    <a:lnTo>
                      <a:pt x="154" y="859"/>
                    </a:lnTo>
                    <a:lnTo>
                      <a:pt x="152" y="859"/>
                    </a:lnTo>
                    <a:lnTo>
                      <a:pt x="152" y="857"/>
                    </a:lnTo>
                    <a:lnTo>
                      <a:pt x="152" y="859"/>
                    </a:lnTo>
                    <a:lnTo>
                      <a:pt x="149" y="859"/>
                    </a:lnTo>
                    <a:lnTo>
                      <a:pt x="149" y="857"/>
                    </a:lnTo>
                    <a:lnTo>
                      <a:pt x="147" y="857"/>
                    </a:lnTo>
                    <a:lnTo>
                      <a:pt x="147" y="857"/>
                    </a:lnTo>
                    <a:lnTo>
                      <a:pt x="149" y="857"/>
                    </a:lnTo>
                    <a:lnTo>
                      <a:pt x="147" y="857"/>
                    </a:lnTo>
                    <a:lnTo>
                      <a:pt x="147" y="855"/>
                    </a:lnTo>
                    <a:lnTo>
                      <a:pt x="147" y="855"/>
                    </a:lnTo>
                    <a:lnTo>
                      <a:pt x="147" y="855"/>
                    </a:lnTo>
                    <a:lnTo>
                      <a:pt x="147" y="852"/>
                    </a:lnTo>
                    <a:lnTo>
                      <a:pt x="144" y="852"/>
                    </a:lnTo>
                    <a:lnTo>
                      <a:pt x="144" y="852"/>
                    </a:lnTo>
                    <a:lnTo>
                      <a:pt x="142" y="852"/>
                    </a:lnTo>
                    <a:lnTo>
                      <a:pt x="142" y="852"/>
                    </a:lnTo>
                    <a:lnTo>
                      <a:pt x="142" y="850"/>
                    </a:lnTo>
                    <a:lnTo>
                      <a:pt x="140" y="850"/>
                    </a:lnTo>
                    <a:lnTo>
                      <a:pt x="140" y="850"/>
                    </a:lnTo>
                    <a:lnTo>
                      <a:pt x="140" y="850"/>
                    </a:lnTo>
                    <a:lnTo>
                      <a:pt x="137" y="850"/>
                    </a:lnTo>
                    <a:lnTo>
                      <a:pt x="137" y="848"/>
                    </a:lnTo>
                    <a:lnTo>
                      <a:pt x="137" y="845"/>
                    </a:lnTo>
                    <a:lnTo>
                      <a:pt x="137" y="845"/>
                    </a:lnTo>
                    <a:lnTo>
                      <a:pt x="137" y="845"/>
                    </a:lnTo>
                    <a:lnTo>
                      <a:pt x="137" y="845"/>
                    </a:lnTo>
                    <a:lnTo>
                      <a:pt x="135" y="845"/>
                    </a:lnTo>
                    <a:lnTo>
                      <a:pt x="133" y="845"/>
                    </a:lnTo>
                    <a:lnTo>
                      <a:pt x="133" y="845"/>
                    </a:lnTo>
                    <a:lnTo>
                      <a:pt x="133" y="845"/>
                    </a:lnTo>
                    <a:lnTo>
                      <a:pt x="133" y="845"/>
                    </a:lnTo>
                    <a:lnTo>
                      <a:pt x="130" y="843"/>
                    </a:lnTo>
                    <a:lnTo>
                      <a:pt x="128" y="843"/>
                    </a:lnTo>
                    <a:lnTo>
                      <a:pt x="126" y="843"/>
                    </a:lnTo>
                    <a:lnTo>
                      <a:pt x="126" y="843"/>
                    </a:lnTo>
                    <a:lnTo>
                      <a:pt x="123" y="843"/>
                    </a:lnTo>
                    <a:lnTo>
                      <a:pt x="121" y="843"/>
                    </a:lnTo>
                    <a:lnTo>
                      <a:pt x="121" y="843"/>
                    </a:lnTo>
                    <a:lnTo>
                      <a:pt x="121" y="843"/>
                    </a:lnTo>
                    <a:lnTo>
                      <a:pt x="118" y="843"/>
                    </a:lnTo>
                    <a:lnTo>
                      <a:pt x="116" y="843"/>
                    </a:lnTo>
                    <a:lnTo>
                      <a:pt x="116" y="841"/>
                    </a:lnTo>
                    <a:lnTo>
                      <a:pt x="116" y="841"/>
                    </a:lnTo>
                    <a:lnTo>
                      <a:pt x="116" y="841"/>
                    </a:lnTo>
                    <a:lnTo>
                      <a:pt x="114" y="841"/>
                    </a:lnTo>
                    <a:lnTo>
                      <a:pt x="114" y="841"/>
                    </a:lnTo>
                    <a:lnTo>
                      <a:pt x="114" y="838"/>
                    </a:lnTo>
                    <a:lnTo>
                      <a:pt x="111" y="838"/>
                    </a:lnTo>
                    <a:lnTo>
                      <a:pt x="114" y="838"/>
                    </a:lnTo>
                    <a:lnTo>
                      <a:pt x="111" y="838"/>
                    </a:lnTo>
                    <a:lnTo>
                      <a:pt x="111" y="836"/>
                    </a:lnTo>
                    <a:lnTo>
                      <a:pt x="109" y="833"/>
                    </a:lnTo>
                    <a:lnTo>
                      <a:pt x="109" y="833"/>
                    </a:lnTo>
                    <a:lnTo>
                      <a:pt x="107" y="833"/>
                    </a:lnTo>
                    <a:lnTo>
                      <a:pt x="107" y="831"/>
                    </a:lnTo>
                    <a:lnTo>
                      <a:pt x="107" y="831"/>
                    </a:lnTo>
                    <a:lnTo>
                      <a:pt x="104" y="831"/>
                    </a:lnTo>
                    <a:lnTo>
                      <a:pt x="104" y="829"/>
                    </a:lnTo>
                    <a:lnTo>
                      <a:pt x="102" y="824"/>
                    </a:lnTo>
                    <a:lnTo>
                      <a:pt x="100" y="824"/>
                    </a:lnTo>
                    <a:lnTo>
                      <a:pt x="95" y="822"/>
                    </a:lnTo>
                    <a:lnTo>
                      <a:pt x="92" y="822"/>
                    </a:lnTo>
                    <a:lnTo>
                      <a:pt x="92" y="822"/>
                    </a:lnTo>
                    <a:lnTo>
                      <a:pt x="92" y="819"/>
                    </a:lnTo>
                    <a:lnTo>
                      <a:pt x="90" y="819"/>
                    </a:lnTo>
                    <a:lnTo>
                      <a:pt x="90" y="822"/>
                    </a:lnTo>
                    <a:lnTo>
                      <a:pt x="88" y="822"/>
                    </a:lnTo>
                    <a:lnTo>
                      <a:pt x="85" y="824"/>
                    </a:lnTo>
                    <a:lnTo>
                      <a:pt x="83" y="824"/>
                    </a:lnTo>
                    <a:lnTo>
                      <a:pt x="81" y="824"/>
                    </a:lnTo>
                    <a:lnTo>
                      <a:pt x="78" y="824"/>
                    </a:lnTo>
                    <a:lnTo>
                      <a:pt x="78" y="824"/>
                    </a:lnTo>
                    <a:lnTo>
                      <a:pt x="74" y="824"/>
                    </a:lnTo>
                    <a:lnTo>
                      <a:pt x="74" y="824"/>
                    </a:lnTo>
                    <a:lnTo>
                      <a:pt x="69" y="824"/>
                    </a:lnTo>
                    <a:lnTo>
                      <a:pt x="66" y="824"/>
                    </a:lnTo>
                    <a:lnTo>
                      <a:pt x="64" y="824"/>
                    </a:lnTo>
                    <a:lnTo>
                      <a:pt x="62" y="824"/>
                    </a:lnTo>
                    <a:lnTo>
                      <a:pt x="59" y="824"/>
                    </a:lnTo>
                    <a:lnTo>
                      <a:pt x="57" y="822"/>
                    </a:lnTo>
                    <a:lnTo>
                      <a:pt x="55" y="822"/>
                    </a:lnTo>
                    <a:lnTo>
                      <a:pt x="52" y="822"/>
                    </a:lnTo>
                    <a:lnTo>
                      <a:pt x="52" y="822"/>
                    </a:lnTo>
                    <a:lnTo>
                      <a:pt x="52" y="822"/>
                    </a:lnTo>
                    <a:lnTo>
                      <a:pt x="48" y="819"/>
                    </a:lnTo>
                    <a:lnTo>
                      <a:pt x="43" y="817"/>
                    </a:lnTo>
                    <a:lnTo>
                      <a:pt x="43" y="815"/>
                    </a:lnTo>
                    <a:lnTo>
                      <a:pt x="43" y="815"/>
                    </a:lnTo>
                    <a:lnTo>
                      <a:pt x="40" y="815"/>
                    </a:lnTo>
                    <a:lnTo>
                      <a:pt x="40" y="812"/>
                    </a:lnTo>
                    <a:lnTo>
                      <a:pt x="40" y="812"/>
                    </a:lnTo>
                    <a:lnTo>
                      <a:pt x="38" y="810"/>
                    </a:lnTo>
                    <a:lnTo>
                      <a:pt x="38" y="807"/>
                    </a:lnTo>
                    <a:lnTo>
                      <a:pt x="38" y="805"/>
                    </a:lnTo>
                    <a:lnTo>
                      <a:pt x="38" y="805"/>
                    </a:lnTo>
                    <a:lnTo>
                      <a:pt x="40" y="803"/>
                    </a:lnTo>
                    <a:lnTo>
                      <a:pt x="43" y="800"/>
                    </a:lnTo>
                    <a:lnTo>
                      <a:pt x="45" y="798"/>
                    </a:lnTo>
                    <a:lnTo>
                      <a:pt x="45" y="796"/>
                    </a:lnTo>
                    <a:lnTo>
                      <a:pt x="48" y="796"/>
                    </a:lnTo>
                    <a:lnTo>
                      <a:pt x="48" y="791"/>
                    </a:lnTo>
                    <a:lnTo>
                      <a:pt x="48" y="791"/>
                    </a:lnTo>
                    <a:lnTo>
                      <a:pt x="50" y="789"/>
                    </a:lnTo>
                    <a:lnTo>
                      <a:pt x="50" y="789"/>
                    </a:lnTo>
                    <a:lnTo>
                      <a:pt x="52" y="789"/>
                    </a:lnTo>
                    <a:lnTo>
                      <a:pt x="57" y="789"/>
                    </a:lnTo>
                    <a:lnTo>
                      <a:pt x="59" y="786"/>
                    </a:lnTo>
                    <a:lnTo>
                      <a:pt x="62" y="782"/>
                    </a:lnTo>
                    <a:lnTo>
                      <a:pt x="64" y="779"/>
                    </a:lnTo>
                    <a:lnTo>
                      <a:pt x="62" y="779"/>
                    </a:lnTo>
                    <a:lnTo>
                      <a:pt x="62" y="779"/>
                    </a:lnTo>
                    <a:lnTo>
                      <a:pt x="59" y="777"/>
                    </a:lnTo>
                    <a:lnTo>
                      <a:pt x="57" y="777"/>
                    </a:lnTo>
                    <a:lnTo>
                      <a:pt x="55" y="774"/>
                    </a:lnTo>
                    <a:lnTo>
                      <a:pt x="55" y="774"/>
                    </a:lnTo>
                    <a:lnTo>
                      <a:pt x="48" y="774"/>
                    </a:lnTo>
                    <a:lnTo>
                      <a:pt x="43" y="772"/>
                    </a:lnTo>
                    <a:lnTo>
                      <a:pt x="38" y="772"/>
                    </a:lnTo>
                    <a:lnTo>
                      <a:pt x="36" y="774"/>
                    </a:lnTo>
                    <a:lnTo>
                      <a:pt x="31" y="777"/>
                    </a:lnTo>
                    <a:lnTo>
                      <a:pt x="29" y="779"/>
                    </a:lnTo>
                    <a:lnTo>
                      <a:pt x="29" y="779"/>
                    </a:lnTo>
                    <a:lnTo>
                      <a:pt x="26" y="779"/>
                    </a:lnTo>
                    <a:lnTo>
                      <a:pt x="24" y="779"/>
                    </a:lnTo>
                    <a:lnTo>
                      <a:pt x="19" y="774"/>
                    </a:lnTo>
                    <a:lnTo>
                      <a:pt x="19" y="770"/>
                    </a:lnTo>
                    <a:lnTo>
                      <a:pt x="19" y="767"/>
                    </a:lnTo>
                    <a:lnTo>
                      <a:pt x="19" y="763"/>
                    </a:lnTo>
                    <a:lnTo>
                      <a:pt x="17" y="756"/>
                    </a:lnTo>
                    <a:lnTo>
                      <a:pt x="17" y="753"/>
                    </a:lnTo>
                    <a:lnTo>
                      <a:pt x="14" y="748"/>
                    </a:lnTo>
                    <a:lnTo>
                      <a:pt x="14" y="744"/>
                    </a:lnTo>
                    <a:lnTo>
                      <a:pt x="14" y="744"/>
                    </a:lnTo>
                    <a:lnTo>
                      <a:pt x="17" y="741"/>
                    </a:lnTo>
                    <a:lnTo>
                      <a:pt x="17" y="741"/>
                    </a:lnTo>
                    <a:lnTo>
                      <a:pt x="22" y="741"/>
                    </a:lnTo>
                    <a:lnTo>
                      <a:pt x="22" y="741"/>
                    </a:lnTo>
                    <a:lnTo>
                      <a:pt x="22" y="741"/>
                    </a:lnTo>
                    <a:lnTo>
                      <a:pt x="24" y="739"/>
                    </a:lnTo>
                    <a:lnTo>
                      <a:pt x="24" y="732"/>
                    </a:lnTo>
                    <a:lnTo>
                      <a:pt x="22" y="730"/>
                    </a:lnTo>
                    <a:lnTo>
                      <a:pt x="22" y="730"/>
                    </a:lnTo>
                    <a:lnTo>
                      <a:pt x="19" y="725"/>
                    </a:lnTo>
                    <a:lnTo>
                      <a:pt x="17" y="722"/>
                    </a:lnTo>
                    <a:lnTo>
                      <a:pt x="17" y="720"/>
                    </a:lnTo>
                    <a:lnTo>
                      <a:pt x="17" y="720"/>
                    </a:lnTo>
                    <a:lnTo>
                      <a:pt x="17" y="720"/>
                    </a:lnTo>
                    <a:lnTo>
                      <a:pt x="14" y="718"/>
                    </a:lnTo>
                    <a:lnTo>
                      <a:pt x="14" y="718"/>
                    </a:lnTo>
                    <a:lnTo>
                      <a:pt x="14" y="713"/>
                    </a:lnTo>
                    <a:lnTo>
                      <a:pt x="14" y="711"/>
                    </a:lnTo>
                    <a:lnTo>
                      <a:pt x="14" y="711"/>
                    </a:lnTo>
                    <a:lnTo>
                      <a:pt x="12" y="708"/>
                    </a:lnTo>
                    <a:lnTo>
                      <a:pt x="12" y="706"/>
                    </a:lnTo>
                    <a:lnTo>
                      <a:pt x="12" y="706"/>
                    </a:lnTo>
                    <a:lnTo>
                      <a:pt x="10" y="704"/>
                    </a:lnTo>
                    <a:lnTo>
                      <a:pt x="12" y="704"/>
                    </a:lnTo>
                    <a:lnTo>
                      <a:pt x="10" y="704"/>
                    </a:lnTo>
                    <a:lnTo>
                      <a:pt x="10" y="701"/>
                    </a:lnTo>
                    <a:lnTo>
                      <a:pt x="10" y="701"/>
                    </a:lnTo>
                    <a:lnTo>
                      <a:pt x="7" y="701"/>
                    </a:lnTo>
                    <a:lnTo>
                      <a:pt x="7" y="699"/>
                    </a:lnTo>
                    <a:lnTo>
                      <a:pt x="7" y="699"/>
                    </a:lnTo>
                    <a:lnTo>
                      <a:pt x="5" y="699"/>
                    </a:lnTo>
                    <a:lnTo>
                      <a:pt x="5" y="696"/>
                    </a:lnTo>
                    <a:lnTo>
                      <a:pt x="5" y="699"/>
                    </a:lnTo>
                    <a:lnTo>
                      <a:pt x="3" y="696"/>
                    </a:lnTo>
                    <a:lnTo>
                      <a:pt x="3" y="696"/>
                    </a:lnTo>
                    <a:lnTo>
                      <a:pt x="3" y="694"/>
                    </a:lnTo>
                    <a:lnTo>
                      <a:pt x="3" y="694"/>
                    </a:lnTo>
                    <a:lnTo>
                      <a:pt x="0" y="694"/>
                    </a:lnTo>
                    <a:lnTo>
                      <a:pt x="3" y="694"/>
                    </a:lnTo>
                    <a:lnTo>
                      <a:pt x="3" y="692"/>
                    </a:lnTo>
                    <a:lnTo>
                      <a:pt x="0" y="692"/>
                    </a:lnTo>
                    <a:lnTo>
                      <a:pt x="3" y="689"/>
                    </a:lnTo>
                    <a:lnTo>
                      <a:pt x="0" y="689"/>
                    </a:lnTo>
                    <a:lnTo>
                      <a:pt x="0" y="689"/>
                    </a:lnTo>
                    <a:lnTo>
                      <a:pt x="0" y="687"/>
                    </a:lnTo>
                    <a:lnTo>
                      <a:pt x="0" y="685"/>
                    </a:lnTo>
                    <a:lnTo>
                      <a:pt x="0" y="685"/>
                    </a:lnTo>
                    <a:lnTo>
                      <a:pt x="0" y="685"/>
                    </a:lnTo>
                    <a:lnTo>
                      <a:pt x="0" y="685"/>
                    </a:lnTo>
                    <a:lnTo>
                      <a:pt x="0" y="682"/>
                    </a:lnTo>
                    <a:lnTo>
                      <a:pt x="3" y="682"/>
                    </a:lnTo>
                    <a:lnTo>
                      <a:pt x="3" y="680"/>
                    </a:lnTo>
                    <a:lnTo>
                      <a:pt x="3" y="680"/>
                    </a:lnTo>
                    <a:lnTo>
                      <a:pt x="3" y="680"/>
                    </a:lnTo>
                    <a:lnTo>
                      <a:pt x="3" y="678"/>
                    </a:lnTo>
                    <a:lnTo>
                      <a:pt x="3" y="678"/>
                    </a:lnTo>
                    <a:lnTo>
                      <a:pt x="0" y="678"/>
                    </a:lnTo>
                    <a:lnTo>
                      <a:pt x="3" y="675"/>
                    </a:lnTo>
                    <a:lnTo>
                      <a:pt x="0" y="675"/>
                    </a:lnTo>
                    <a:lnTo>
                      <a:pt x="0" y="673"/>
                    </a:lnTo>
                    <a:lnTo>
                      <a:pt x="3" y="673"/>
                    </a:lnTo>
                    <a:lnTo>
                      <a:pt x="0" y="673"/>
                    </a:lnTo>
                    <a:lnTo>
                      <a:pt x="0" y="673"/>
                    </a:lnTo>
                    <a:lnTo>
                      <a:pt x="3" y="670"/>
                    </a:lnTo>
                    <a:lnTo>
                      <a:pt x="3" y="670"/>
                    </a:lnTo>
                    <a:lnTo>
                      <a:pt x="3" y="670"/>
                    </a:lnTo>
                    <a:lnTo>
                      <a:pt x="3" y="668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1" name="Freeform 21"/>
              <p:cNvSpPr>
                <a:spLocks/>
              </p:cNvSpPr>
              <p:nvPr/>
            </p:nvSpPr>
            <p:spPr bwMode="auto">
              <a:xfrm>
                <a:off x="3389657" y="2856055"/>
                <a:ext cx="1538621" cy="1485491"/>
              </a:xfrm>
              <a:custGeom>
                <a:avLst/>
                <a:gdLst/>
                <a:ahLst/>
                <a:cxnLst>
                  <a:cxn ang="0">
                    <a:pos x="100" y="189"/>
                  </a:cxn>
                  <a:cxn ang="0">
                    <a:pos x="418" y="130"/>
                  </a:cxn>
                  <a:cxn ang="0">
                    <a:pos x="442" y="2"/>
                  </a:cxn>
                  <a:cxn ang="0">
                    <a:pos x="501" y="141"/>
                  </a:cxn>
                  <a:cxn ang="0">
                    <a:pos x="577" y="217"/>
                  </a:cxn>
                  <a:cxn ang="0">
                    <a:pos x="841" y="281"/>
                  </a:cxn>
                  <a:cxn ang="0">
                    <a:pos x="1413" y="408"/>
                  </a:cxn>
                  <a:cxn ang="0">
                    <a:pos x="1396" y="489"/>
                  </a:cxn>
                  <a:cxn ang="0">
                    <a:pos x="1385" y="576"/>
                  </a:cxn>
                  <a:cxn ang="0">
                    <a:pos x="1396" y="668"/>
                  </a:cxn>
                  <a:cxn ang="0">
                    <a:pos x="1413" y="725"/>
                  </a:cxn>
                  <a:cxn ang="0">
                    <a:pos x="1378" y="817"/>
                  </a:cxn>
                  <a:cxn ang="0">
                    <a:pos x="1349" y="916"/>
                  </a:cxn>
                  <a:cxn ang="0">
                    <a:pos x="1307" y="996"/>
                  </a:cxn>
                  <a:cxn ang="0">
                    <a:pos x="1257" y="1070"/>
                  </a:cxn>
                  <a:cxn ang="0">
                    <a:pos x="1189" y="1124"/>
                  </a:cxn>
                  <a:cxn ang="0">
                    <a:pos x="1141" y="1169"/>
                  </a:cxn>
                  <a:cxn ang="0">
                    <a:pos x="1139" y="1202"/>
                  </a:cxn>
                  <a:cxn ang="0">
                    <a:pos x="1115" y="1233"/>
                  </a:cxn>
                  <a:cxn ang="0">
                    <a:pos x="1094" y="1249"/>
                  </a:cxn>
                  <a:cxn ang="0">
                    <a:pos x="1085" y="1275"/>
                  </a:cxn>
                  <a:cxn ang="0">
                    <a:pos x="1070" y="1308"/>
                  </a:cxn>
                  <a:cxn ang="0">
                    <a:pos x="1066" y="1339"/>
                  </a:cxn>
                  <a:cxn ang="0">
                    <a:pos x="1080" y="1381"/>
                  </a:cxn>
                  <a:cxn ang="0">
                    <a:pos x="1030" y="1396"/>
                  </a:cxn>
                  <a:cxn ang="0">
                    <a:pos x="990" y="1386"/>
                  </a:cxn>
                  <a:cxn ang="0">
                    <a:pos x="988" y="1353"/>
                  </a:cxn>
                  <a:cxn ang="0">
                    <a:pos x="969" y="1325"/>
                  </a:cxn>
                  <a:cxn ang="0">
                    <a:pos x="933" y="1348"/>
                  </a:cxn>
                  <a:cxn ang="0">
                    <a:pos x="898" y="1327"/>
                  </a:cxn>
                  <a:cxn ang="0">
                    <a:pos x="846" y="1344"/>
                  </a:cxn>
                  <a:cxn ang="0">
                    <a:pos x="818" y="1344"/>
                  </a:cxn>
                  <a:cxn ang="0">
                    <a:pos x="796" y="1332"/>
                  </a:cxn>
                  <a:cxn ang="0">
                    <a:pos x="768" y="1315"/>
                  </a:cxn>
                  <a:cxn ang="0">
                    <a:pos x="735" y="1301"/>
                  </a:cxn>
                  <a:cxn ang="0">
                    <a:pos x="707" y="1285"/>
                  </a:cxn>
                  <a:cxn ang="0">
                    <a:pos x="674" y="1299"/>
                  </a:cxn>
                  <a:cxn ang="0">
                    <a:pos x="638" y="1306"/>
                  </a:cxn>
                  <a:cxn ang="0">
                    <a:pos x="610" y="1320"/>
                  </a:cxn>
                  <a:cxn ang="0">
                    <a:pos x="574" y="1363"/>
                  </a:cxn>
                  <a:cxn ang="0">
                    <a:pos x="532" y="1381"/>
                  </a:cxn>
                  <a:cxn ang="0">
                    <a:pos x="499" y="1341"/>
                  </a:cxn>
                  <a:cxn ang="0">
                    <a:pos x="426" y="1306"/>
                  </a:cxn>
                  <a:cxn ang="0">
                    <a:pos x="404" y="1259"/>
                  </a:cxn>
                  <a:cxn ang="0">
                    <a:pos x="418" y="1183"/>
                  </a:cxn>
                  <a:cxn ang="0">
                    <a:pos x="161" y="933"/>
                  </a:cxn>
                  <a:cxn ang="0">
                    <a:pos x="151" y="902"/>
                  </a:cxn>
                  <a:cxn ang="0">
                    <a:pos x="154" y="862"/>
                  </a:cxn>
                  <a:cxn ang="0">
                    <a:pos x="140" y="841"/>
                  </a:cxn>
                  <a:cxn ang="0">
                    <a:pos x="121" y="822"/>
                  </a:cxn>
                  <a:cxn ang="0">
                    <a:pos x="161" y="789"/>
                  </a:cxn>
                  <a:cxn ang="0">
                    <a:pos x="180" y="741"/>
                  </a:cxn>
                  <a:cxn ang="0">
                    <a:pos x="218" y="670"/>
                  </a:cxn>
                  <a:cxn ang="0">
                    <a:pos x="211" y="611"/>
                  </a:cxn>
                  <a:cxn ang="0">
                    <a:pos x="194" y="583"/>
                  </a:cxn>
                  <a:cxn ang="0">
                    <a:pos x="199" y="550"/>
                  </a:cxn>
                  <a:cxn ang="0">
                    <a:pos x="208" y="498"/>
                  </a:cxn>
                  <a:cxn ang="0">
                    <a:pos x="170" y="486"/>
                  </a:cxn>
                  <a:cxn ang="0">
                    <a:pos x="14" y="463"/>
                  </a:cxn>
                  <a:cxn ang="0">
                    <a:pos x="22" y="406"/>
                  </a:cxn>
                  <a:cxn ang="0">
                    <a:pos x="12" y="347"/>
                  </a:cxn>
                  <a:cxn ang="0">
                    <a:pos x="17" y="290"/>
                  </a:cxn>
                </a:cxnLst>
                <a:rect l="0" t="0" r="r" b="b"/>
                <a:pathLst>
                  <a:path w="1448" h="1398">
                    <a:moveTo>
                      <a:pt x="0" y="252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5" y="250"/>
                    </a:lnTo>
                    <a:lnTo>
                      <a:pt x="5" y="248"/>
                    </a:lnTo>
                    <a:lnTo>
                      <a:pt x="7" y="248"/>
                    </a:lnTo>
                    <a:lnTo>
                      <a:pt x="10" y="248"/>
                    </a:lnTo>
                    <a:lnTo>
                      <a:pt x="12" y="248"/>
                    </a:lnTo>
                    <a:lnTo>
                      <a:pt x="14" y="250"/>
                    </a:lnTo>
                    <a:lnTo>
                      <a:pt x="14" y="248"/>
                    </a:lnTo>
                    <a:lnTo>
                      <a:pt x="14" y="245"/>
                    </a:lnTo>
                    <a:lnTo>
                      <a:pt x="14" y="243"/>
                    </a:lnTo>
                    <a:lnTo>
                      <a:pt x="14" y="241"/>
                    </a:lnTo>
                    <a:lnTo>
                      <a:pt x="14" y="241"/>
                    </a:lnTo>
                    <a:lnTo>
                      <a:pt x="14" y="238"/>
                    </a:lnTo>
                    <a:lnTo>
                      <a:pt x="12" y="236"/>
                    </a:lnTo>
                    <a:lnTo>
                      <a:pt x="12" y="236"/>
                    </a:lnTo>
                    <a:lnTo>
                      <a:pt x="10" y="233"/>
                    </a:lnTo>
                    <a:lnTo>
                      <a:pt x="10" y="231"/>
                    </a:lnTo>
                    <a:lnTo>
                      <a:pt x="10" y="229"/>
                    </a:lnTo>
                    <a:lnTo>
                      <a:pt x="10" y="226"/>
                    </a:lnTo>
                    <a:lnTo>
                      <a:pt x="10" y="224"/>
                    </a:lnTo>
                    <a:lnTo>
                      <a:pt x="12" y="224"/>
                    </a:lnTo>
                    <a:lnTo>
                      <a:pt x="12" y="224"/>
                    </a:lnTo>
                    <a:lnTo>
                      <a:pt x="14" y="222"/>
                    </a:lnTo>
                    <a:lnTo>
                      <a:pt x="14" y="219"/>
                    </a:lnTo>
                    <a:lnTo>
                      <a:pt x="14" y="217"/>
                    </a:lnTo>
                    <a:lnTo>
                      <a:pt x="17" y="210"/>
                    </a:lnTo>
                    <a:lnTo>
                      <a:pt x="19" y="207"/>
                    </a:lnTo>
                    <a:lnTo>
                      <a:pt x="22" y="205"/>
                    </a:lnTo>
                    <a:lnTo>
                      <a:pt x="19" y="203"/>
                    </a:lnTo>
                    <a:lnTo>
                      <a:pt x="19" y="200"/>
                    </a:lnTo>
                    <a:lnTo>
                      <a:pt x="17" y="198"/>
                    </a:lnTo>
                    <a:lnTo>
                      <a:pt x="14" y="196"/>
                    </a:lnTo>
                    <a:lnTo>
                      <a:pt x="14" y="193"/>
                    </a:lnTo>
                    <a:lnTo>
                      <a:pt x="14" y="193"/>
                    </a:lnTo>
                    <a:lnTo>
                      <a:pt x="14" y="193"/>
                    </a:lnTo>
                    <a:lnTo>
                      <a:pt x="12" y="193"/>
                    </a:lnTo>
                    <a:lnTo>
                      <a:pt x="12" y="193"/>
                    </a:lnTo>
                    <a:lnTo>
                      <a:pt x="7" y="191"/>
                    </a:lnTo>
                    <a:lnTo>
                      <a:pt x="7" y="191"/>
                    </a:lnTo>
                    <a:lnTo>
                      <a:pt x="7" y="189"/>
                    </a:lnTo>
                    <a:lnTo>
                      <a:pt x="100" y="189"/>
                    </a:lnTo>
                    <a:lnTo>
                      <a:pt x="102" y="189"/>
                    </a:lnTo>
                    <a:lnTo>
                      <a:pt x="111" y="189"/>
                    </a:lnTo>
                    <a:lnTo>
                      <a:pt x="154" y="189"/>
                    </a:lnTo>
                    <a:lnTo>
                      <a:pt x="225" y="191"/>
                    </a:lnTo>
                    <a:lnTo>
                      <a:pt x="319" y="191"/>
                    </a:lnTo>
                    <a:lnTo>
                      <a:pt x="322" y="191"/>
                    </a:lnTo>
                    <a:lnTo>
                      <a:pt x="397" y="191"/>
                    </a:lnTo>
                    <a:lnTo>
                      <a:pt x="404" y="189"/>
                    </a:lnTo>
                    <a:lnTo>
                      <a:pt x="407" y="189"/>
                    </a:lnTo>
                    <a:lnTo>
                      <a:pt x="409" y="189"/>
                    </a:lnTo>
                    <a:lnTo>
                      <a:pt x="409" y="189"/>
                    </a:lnTo>
                    <a:lnTo>
                      <a:pt x="409" y="189"/>
                    </a:lnTo>
                    <a:lnTo>
                      <a:pt x="411" y="186"/>
                    </a:lnTo>
                    <a:lnTo>
                      <a:pt x="416" y="181"/>
                    </a:lnTo>
                    <a:lnTo>
                      <a:pt x="418" y="179"/>
                    </a:lnTo>
                    <a:lnTo>
                      <a:pt x="421" y="179"/>
                    </a:lnTo>
                    <a:lnTo>
                      <a:pt x="421" y="179"/>
                    </a:lnTo>
                    <a:lnTo>
                      <a:pt x="416" y="177"/>
                    </a:lnTo>
                    <a:lnTo>
                      <a:pt x="414" y="177"/>
                    </a:lnTo>
                    <a:lnTo>
                      <a:pt x="411" y="177"/>
                    </a:lnTo>
                    <a:lnTo>
                      <a:pt x="409" y="179"/>
                    </a:lnTo>
                    <a:lnTo>
                      <a:pt x="407" y="179"/>
                    </a:lnTo>
                    <a:lnTo>
                      <a:pt x="404" y="177"/>
                    </a:lnTo>
                    <a:lnTo>
                      <a:pt x="409" y="170"/>
                    </a:lnTo>
                    <a:lnTo>
                      <a:pt x="409" y="167"/>
                    </a:lnTo>
                    <a:lnTo>
                      <a:pt x="411" y="165"/>
                    </a:lnTo>
                    <a:lnTo>
                      <a:pt x="411" y="165"/>
                    </a:lnTo>
                    <a:lnTo>
                      <a:pt x="411" y="163"/>
                    </a:lnTo>
                    <a:lnTo>
                      <a:pt x="411" y="160"/>
                    </a:lnTo>
                    <a:lnTo>
                      <a:pt x="409" y="160"/>
                    </a:lnTo>
                    <a:lnTo>
                      <a:pt x="409" y="155"/>
                    </a:lnTo>
                    <a:lnTo>
                      <a:pt x="409" y="153"/>
                    </a:lnTo>
                    <a:lnTo>
                      <a:pt x="409" y="153"/>
                    </a:lnTo>
                    <a:lnTo>
                      <a:pt x="409" y="151"/>
                    </a:lnTo>
                    <a:lnTo>
                      <a:pt x="409" y="146"/>
                    </a:lnTo>
                    <a:lnTo>
                      <a:pt x="411" y="146"/>
                    </a:lnTo>
                    <a:lnTo>
                      <a:pt x="411" y="144"/>
                    </a:lnTo>
                    <a:lnTo>
                      <a:pt x="414" y="141"/>
                    </a:lnTo>
                    <a:lnTo>
                      <a:pt x="416" y="137"/>
                    </a:lnTo>
                    <a:lnTo>
                      <a:pt x="416" y="134"/>
                    </a:lnTo>
                    <a:lnTo>
                      <a:pt x="418" y="134"/>
                    </a:lnTo>
                    <a:lnTo>
                      <a:pt x="416" y="132"/>
                    </a:lnTo>
                    <a:lnTo>
                      <a:pt x="418" y="130"/>
                    </a:lnTo>
                    <a:lnTo>
                      <a:pt x="421" y="130"/>
                    </a:lnTo>
                    <a:lnTo>
                      <a:pt x="421" y="127"/>
                    </a:lnTo>
                    <a:lnTo>
                      <a:pt x="421" y="125"/>
                    </a:lnTo>
                    <a:lnTo>
                      <a:pt x="421" y="125"/>
                    </a:lnTo>
                    <a:lnTo>
                      <a:pt x="421" y="122"/>
                    </a:lnTo>
                    <a:lnTo>
                      <a:pt x="421" y="120"/>
                    </a:lnTo>
                    <a:lnTo>
                      <a:pt x="421" y="115"/>
                    </a:lnTo>
                    <a:lnTo>
                      <a:pt x="421" y="113"/>
                    </a:lnTo>
                    <a:lnTo>
                      <a:pt x="421" y="108"/>
                    </a:lnTo>
                    <a:lnTo>
                      <a:pt x="421" y="106"/>
                    </a:lnTo>
                    <a:lnTo>
                      <a:pt x="423" y="104"/>
                    </a:lnTo>
                    <a:lnTo>
                      <a:pt x="426" y="101"/>
                    </a:lnTo>
                    <a:lnTo>
                      <a:pt x="423" y="99"/>
                    </a:lnTo>
                    <a:lnTo>
                      <a:pt x="426" y="96"/>
                    </a:lnTo>
                    <a:lnTo>
                      <a:pt x="423" y="94"/>
                    </a:lnTo>
                    <a:lnTo>
                      <a:pt x="421" y="89"/>
                    </a:lnTo>
                    <a:lnTo>
                      <a:pt x="421" y="87"/>
                    </a:lnTo>
                    <a:lnTo>
                      <a:pt x="421" y="85"/>
                    </a:lnTo>
                    <a:lnTo>
                      <a:pt x="418" y="80"/>
                    </a:lnTo>
                    <a:lnTo>
                      <a:pt x="416" y="78"/>
                    </a:lnTo>
                    <a:lnTo>
                      <a:pt x="414" y="73"/>
                    </a:lnTo>
                    <a:lnTo>
                      <a:pt x="414" y="68"/>
                    </a:lnTo>
                    <a:lnTo>
                      <a:pt x="411" y="66"/>
                    </a:lnTo>
                    <a:lnTo>
                      <a:pt x="411" y="63"/>
                    </a:lnTo>
                    <a:lnTo>
                      <a:pt x="414" y="63"/>
                    </a:lnTo>
                    <a:lnTo>
                      <a:pt x="414" y="61"/>
                    </a:lnTo>
                    <a:lnTo>
                      <a:pt x="418" y="59"/>
                    </a:lnTo>
                    <a:lnTo>
                      <a:pt x="423" y="56"/>
                    </a:lnTo>
                    <a:lnTo>
                      <a:pt x="426" y="52"/>
                    </a:lnTo>
                    <a:lnTo>
                      <a:pt x="426" y="52"/>
                    </a:lnTo>
                    <a:lnTo>
                      <a:pt x="426" y="47"/>
                    </a:lnTo>
                    <a:lnTo>
                      <a:pt x="426" y="47"/>
                    </a:lnTo>
                    <a:lnTo>
                      <a:pt x="430" y="42"/>
                    </a:lnTo>
                    <a:lnTo>
                      <a:pt x="430" y="40"/>
                    </a:lnTo>
                    <a:lnTo>
                      <a:pt x="435" y="35"/>
                    </a:lnTo>
                    <a:lnTo>
                      <a:pt x="435" y="33"/>
                    </a:lnTo>
                    <a:lnTo>
                      <a:pt x="435" y="30"/>
                    </a:lnTo>
                    <a:lnTo>
                      <a:pt x="433" y="28"/>
                    </a:lnTo>
                    <a:lnTo>
                      <a:pt x="433" y="23"/>
                    </a:lnTo>
                    <a:lnTo>
                      <a:pt x="433" y="18"/>
                    </a:lnTo>
                    <a:lnTo>
                      <a:pt x="435" y="14"/>
                    </a:lnTo>
                    <a:lnTo>
                      <a:pt x="440" y="7"/>
                    </a:lnTo>
                    <a:lnTo>
                      <a:pt x="442" y="2"/>
                    </a:lnTo>
                    <a:lnTo>
                      <a:pt x="444" y="2"/>
                    </a:lnTo>
                    <a:lnTo>
                      <a:pt x="444" y="0"/>
                    </a:lnTo>
                    <a:lnTo>
                      <a:pt x="447" y="2"/>
                    </a:lnTo>
                    <a:lnTo>
                      <a:pt x="451" y="4"/>
                    </a:lnTo>
                    <a:lnTo>
                      <a:pt x="454" y="7"/>
                    </a:lnTo>
                    <a:lnTo>
                      <a:pt x="456" y="14"/>
                    </a:lnTo>
                    <a:lnTo>
                      <a:pt x="461" y="18"/>
                    </a:lnTo>
                    <a:lnTo>
                      <a:pt x="466" y="23"/>
                    </a:lnTo>
                    <a:lnTo>
                      <a:pt x="468" y="33"/>
                    </a:lnTo>
                    <a:lnTo>
                      <a:pt x="468" y="33"/>
                    </a:lnTo>
                    <a:lnTo>
                      <a:pt x="468" y="40"/>
                    </a:lnTo>
                    <a:lnTo>
                      <a:pt x="470" y="40"/>
                    </a:lnTo>
                    <a:lnTo>
                      <a:pt x="473" y="40"/>
                    </a:lnTo>
                    <a:lnTo>
                      <a:pt x="473" y="42"/>
                    </a:lnTo>
                    <a:lnTo>
                      <a:pt x="475" y="42"/>
                    </a:lnTo>
                    <a:lnTo>
                      <a:pt x="475" y="54"/>
                    </a:lnTo>
                    <a:lnTo>
                      <a:pt x="477" y="59"/>
                    </a:lnTo>
                    <a:lnTo>
                      <a:pt x="482" y="68"/>
                    </a:lnTo>
                    <a:lnTo>
                      <a:pt x="482" y="70"/>
                    </a:lnTo>
                    <a:lnTo>
                      <a:pt x="482" y="80"/>
                    </a:lnTo>
                    <a:lnTo>
                      <a:pt x="482" y="82"/>
                    </a:lnTo>
                    <a:lnTo>
                      <a:pt x="487" y="85"/>
                    </a:lnTo>
                    <a:lnTo>
                      <a:pt x="489" y="92"/>
                    </a:lnTo>
                    <a:lnTo>
                      <a:pt x="496" y="96"/>
                    </a:lnTo>
                    <a:lnTo>
                      <a:pt x="496" y="104"/>
                    </a:lnTo>
                    <a:lnTo>
                      <a:pt x="496" y="106"/>
                    </a:lnTo>
                    <a:lnTo>
                      <a:pt x="499" y="106"/>
                    </a:lnTo>
                    <a:lnTo>
                      <a:pt x="501" y="108"/>
                    </a:lnTo>
                    <a:lnTo>
                      <a:pt x="503" y="108"/>
                    </a:lnTo>
                    <a:lnTo>
                      <a:pt x="506" y="113"/>
                    </a:lnTo>
                    <a:lnTo>
                      <a:pt x="506" y="115"/>
                    </a:lnTo>
                    <a:lnTo>
                      <a:pt x="506" y="115"/>
                    </a:lnTo>
                    <a:lnTo>
                      <a:pt x="503" y="120"/>
                    </a:lnTo>
                    <a:lnTo>
                      <a:pt x="503" y="125"/>
                    </a:lnTo>
                    <a:lnTo>
                      <a:pt x="501" y="127"/>
                    </a:lnTo>
                    <a:lnTo>
                      <a:pt x="501" y="127"/>
                    </a:lnTo>
                    <a:lnTo>
                      <a:pt x="501" y="130"/>
                    </a:lnTo>
                    <a:lnTo>
                      <a:pt x="503" y="132"/>
                    </a:lnTo>
                    <a:lnTo>
                      <a:pt x="503" y="134"/>
                    </a:lnTo>
                    <a:lnTo>
                      <a:pt x="503" y="134"/>
                    </a:lnTo>
                    <a:lnTo>
                      <a:pt x="501" y="139"/>
                    </a:lnTo>
                    <a:lnTo>
                      <a:pt x="501" y="139"/>
                    </a:lnTo>
                    <a:lnTo>
                      <a:pt x="501" y="141"/>
                    </a:lnTo>
                    <a:lnTo>
                      <a:pt x="506" y="146"/>
                    </a:lnTo>
                    <a:lnTo>
                      <a:pt x="506" y="148"/>
                    </a:lnTo>
                    <a:lnTo>
                      <a:pt x="503" y="151"/>
                    </a:lnTo>
                    <a:lnTo>
                      <a:pt x="503" y="151"/>
                    </a:lnTo>
                    <a:lnTo>
                      <a:pt x="506" y="153"/>
                    </a:lnTo>
                    <a:lnTo>
                      <a:pt x="508" y="153"/>
                    </a:lnTo>
                    <a:lnTo>
                      <a:pt x="506" y="155"/>
                    </a:lnTo>
                    <a:lnTo>
                      <a:pt x="506" y="158"/>
                    </a:lnTo>
                    <a:lnTo>
                      <a:pt x="506" y="160"/>
                    </a:lnTo>
                    <a:lnTo>
                      <a:pt x="506" y="160"/>
                    </a:lnTo>
                    <a:lnTo>
                      <a:pt x="508" y="163"/>
                    </a:lnTo>
                    <a:lnTo>
                      <a:pt x="511" y="163"/>
                    </a:lnTo>
                    <a:lnTo>
                      <a:pt x="508" y="170"/>
                    </a:lnTo>
                    <a:lnTo>
                      <a:pt x="511" y="170"/>
                    </a:lnTo>
                    <a:lnTo>
                      <a:pt x="511" y="172"/>
                    </a:lnTo>
                    <a:lnTo>
                      <a:pt x="513" y="177"/>
                    </a:lnTo>
                    <a:lnTo>
                      <a:pt x="513" y="181"/>
                    </a:lnTo>
                    <a:lnTo>
                      <a:pt x="513" y="184"/>
                    </a:lnTo>
                    <a:lnTo>
                      <a:pt x="515" y="184"/>
                    </a:lnTo>
                    <a:lnTo>
                      <a:pt x="520" y="184"/>
                    </a:lnTo>
                    <a:lnTo>
                      <a:pt x="527" y="186"/>
                    </a:lnTo>
                    <a:lnTo>
                      <a:pt x="529" y="189"/>
                    </a:lnTo>
                    <a:lnTo>
                      <a:pt x="532" y="189"/>
                    </a:lnTo>
                    <a:lnTo>
                      <a:pt x="534" y="189"/>
                    </a:lnTo>
                    <a:lnTo>
                      <a:pt x="534" y="189"/>
                    </a:lnTo>
                    <a:lnTo>
                      <a:pt x="534" y="193"/>
                    </a:lnTo>
                    <a:lnTo>
                      <a:pt x="534" y="196"/>
                    </a:lnTo>
                    <a:lnTo>
                      <a:pt x="534" y="198"/>
                    </a:lnTo>
                    <a:lnTo>
                      <a:pt x="537" y="198"/>
                    </a:lnTo>
                    <a:lnTo>
                      <a:pt x="539" y="200"/>
                    </a:lnTo>
                    <a:lnTo>
                      <a:pt x="544" y="200"/>
                    </a:lnTo>
                    <a:lnTo>
                      <a:pt x="548" y="203"/>
                    </a:lnTo>
                    <a:lnTo>
                      <a:pt x="548" y="205"/>
                    </a:lnTo>
                    <a:lnTo>
                      <a:pt x="551" y="205"/>
                    </a:lnTo>
                    <a:lnTo>
                      <a:pt x="551" y="205"/>
                    </a:lnTo>
                    <a:lnTo>
                      <a:pt x="555" y="205"/>
                    </a:lnTo>
                    <a:lnTo>
                      <a:pt x="558" y="203"/>
                    </a:lnTo>
                    <a:lnTo>
                      <a:pt x="558" y="205"/>
                    </a:lnTo>
                    <a:lnTo>
                      <a:pt x="560" y="205"/>
                    </a:lnTo>
                    <a:lnTo>
                      <a:pt x="563" y="205"/>
                    </a:lnTo>
                    <a:lnTo>
                      <a:pt x="565" y="207"/>
                    </a:lnTo>
                    <a:lnTo>
                      <a:pt x="570" y="215"/>
                    </a:lnTo>
                    <a:lnTo>
                      <a:pt x="577" y="217"/>
                    </a:lnTo>
                    <a:lnTo>
                      <a:pt x="577" y="222"/>
                    </a:lnTo>
                    <a:lnTo>
                      <a:pt x="579" y="224"/>
                    </a:lnTo>
                    <a:lnTo>
                      <a:pt x="579" y="224"/>
                    </a:lnTo>
                    <a:lnTo>
                      <a:pt x="579" y="226"/>
                    </a:lnTo>
                    <a:lnTo>
                      <a:pt x="581" y="226"/>
                    </a:lnTo>
                    <a:lnTo>
                      <a:pt x="584" y="229"/>
                    </a:lnTo>
                    <a:lnTo>
                      <a:pt x="584" y="231"/>
                    </a:lnTo>
                    <a:lnTo>
                      <a:pt x="579" y="233"/>
                    </a:lnTo>
                    <a:lnTo>
                      <a:pt x="581" y="236"/>
                    </a:lnTo>
                    <a:lnTo>
                      <a:pt x="579" y="238"/>
                    </a:lnTo>
                    <a:lnTo>
                      <a:pt x="579" y="241"/>
                    </a:lnTo>
                    <a:lnTo>
                      <a:pt x="581" y="241"/>
                    </a:lnTo>
                    <a:lnTo>
                      <a:pt x="584" y="243"/>
                    </a:lnTo>
                    <a:lnTo>
                      <a:pt x="584" y="243"/>
                    </a:lnTo>
                    <a:lnTo>
                      <a:pt x="586" y="245"/>
                    </a:lnTo>
                    <a:lnTo>
                      <a:pt x="586" y="245"/>
                    </a:lnTo>
                    <a:lnTo>
                      <a:pt x="589" y="245"/>
                    </a:lnTo>
                    <a:lnTo>
                      <a:pt x="593" y="245"/>
                    </a:lnTo>
                    <a:lnTo>
                      <a:pt x="596" y="245"/>
                    </a:lnTo>
                    <a:lnTo>
                      <a:pt x="603" y="248"/>
                    </a:lnTo>
                    <a:lnTo>
                      <a:pt x="605" y="248"/>
                    </a:lnTo>
                    <a:lnTo>
                      <a:pt x="605" y="245"/>
                    </a:lnTo>
                    <a:lnTo>
                      <a:pt x="607" y="248"/>
                    </a:lnTo>
                    <a:lnTo>
                      <a:pt x="612" y="248"/>
                    </a:lnTo>
                    <a:lnTo>
                      <a:pt x="612" y="250"/>
                    </a:lnTo>
                    <a:lnTo>
                      <a:pt x="614" y="257"/>
                    </a:lnTo>
                    <a:lnTo>
                      <a:pt x="617" y="257"/>
                    </a:lnTo>
                    <a:lnTo>
                      <a:pt x="617" y="259"/>
                    </a:lnTo>
                    <a:lnTo>
                      <a:pt x="617" y="264"/>
                    </a:lnTo>
                    <a:lnTo>
                      <a:pt x="617" y="264"/>
                    </a:lnTo>
                    <a:lnTo>
                      <a:pt x="617" y="267"/>
                    </a:lnTo>
                    <a:lnTo>
                      <a:pt x="617" y="269"/>
                    </a:lnTo>
                    <a:lnTo>
                      <a:pt x="619" y="269"/>
                    </a:lnTo>
                    <a:lnTo>
                      <a:pt x="622" y="269"/>
                    </a:lnTo>
                    <a:lnTo>
                      <a:pt x="624" y="267"/>
                    </a:lnTo>
                    <a:lnTo>
                      <a:pt x="624" y="264"/>
                    </a:lnTo>
                    <a:lnTo>
                      <a:pt x="624" y="264"/>
                    </a:lnTo>
                    <a:lnTo>
                      <a:pt x="626" y="264"/>
                    </a:lnTo>
                    <a:lnTo>
                      <a:pt x="631" y="264"/>
                    </a:lnTo>
                    <a:lnTo>
                      <a:pt x="681" y="269"/>
                    </a:lnTo>
                    <a:lnTo>
                      <a:pt x="695" y="269"/>
                    </a:lnTo>
                    <a:lnTo>
                      <a:pt x="742" y="274"/>
                    </a:lnTo>
                    <a:lnTo>
                      <a:pt x="841" y="281"/>
                    </a:lnTo>
                    <a:lnTo>
                      <a:pt x="874" y="285"/>
                    </a:lnTo>
                    <a:lnTo>
                      <a:pt x="891" y="285"/>
                    </a:lnTo>
                    <a:lnTo>
                      <a:pt x="955" y="290"/>
                    </a:lnTo>
                    <a:lnTo>
                      <a:pt x="1021" y="297"/>
                    </a:lnTo>
                    <a:lnTo>
                      <a:pt x="1080" y="300"/>
                    </a:lnTo>
                    <a:lnTo>
                      <a:pt x="1137" y="304"/>
                    </a:lnTo>
                    <a:lnTo>
                      <a:pt x="1144" y="304"/>
                    </a:lnTo>
                    <a:lnTo>
                      <a:pt x="1191" y="309"/>
                    </a:lnTo>
                    <a:lnTo>
                      <a:pt x="1290" y="316"/>
                    </a:lnTo>
                    <a:lnTo>
                      <a:pt x="1311" y="316"/>
                    </a:lnTo>
                    <a:lnTo>
                      <a:pt x="1342" y="318"/>
                    </a:lnTo>
                    <a:lnTo>
                      <a:pt x="1368" y="321"/>
                    </a:lnTo>
                    <a:lnTo>
                      <a:pt x="1448" y="326"/>
                    </a:lnTo>
                    <a:lnTo>
                      <a:pt x="1448" y="326"/>
                    </a:lnTo>
                    <a:lnTo>
                      <a:pt x="1448" y="328"/>
                    </a:lnTo>
                    <a:lnTo>
                      <a:pt x="1444" y="330"/>
                    </a:lnTo>
                    <a:lnTo>
                      <a:pt x="1441" y="335"/>
                    </a:lnTo>
                    <a:lnTo>
                      <a:pt x="1441" y="337"/>
                    </a:lnTo>
                    <a:lnTo>
                      <a:pt x="1441" y="342"/>
                    </a:lnTo>
                    <a:lnTo>
                      <a:pt x="1441" y="342"/>
                    </a:lnTo>
                    <a:lnTo>
                      <a:pt x="1439" y="344"/>
                    </a:lnTo>
                    <a:lnTo>
                      <a:pt x="1439" y="349"/>
                    </a:lnTo>
                    <a:lnTo>
                      <a:pt x="1439" y="352"/>
                    </a:lnTo>
                    <a:lnTo>
                      <a:pt x="1437" y="354"/>
                    </a:lnTo>
                    <a:lnTo>
                      <a:pt x="1432" y="354"/>
                    </a:lnTo>
                    <a:lnTo>
                      <a:pt x="1432" y="356"/>
                    </a:lnTo>
                    <a:lnTo>
                      <a:pt x="1429" y="359"/>
                    </a:lnTo>
                    <a:lnTo>
                      <a:pt x="1429" y="361"/>
                    </a:lnTo>
                    <a:lnTo>
                      <a:pt x="1427" y="363"/>
                    </a:lnTo>
                    <a:lnTo>
                      <a:pt x="1425" y="368"/>
                    </a:lnTo>
                    <a:lnTo>
                      <a:pt x="1425" y="370"/>
                    </a:lnTo>
                    <a:lnTo>
                      <a:pt x="1427" y="370"/>
                    </a:lnTo>
                    <a:lnTo>
                      <a:pt x="1427" y="375"/>
                    </a:lnTo>
                    <a:lnTo>
                      <a:pt x="1425" y="380"/>
                    </a:lnTo>
                    <a:lnTo>
                      <a:pt x="1425" y="385"/>
                    </a:lnTo>
                    <a:lnTo>
                      <a:pt x="1422" y="389"/>
                    </a:lnTo>
                    <a:lnTo>
                      <a:pt x="1422" y="392"/>
                    </a:lnTo>
                    <a:lnTo>
                      <a:pt x="1422" y="394"/>
                    </a:lnTo>
                    <a:lnTo>
                      <a:pt x="1422" y="394"/>
                    </a:lnTo>
                    <a:lnTo>
                      <a:pt x="1420" y="396"/>
                    </a:lnTo>
                    <a:lnTo>
                      <a:pt x="1420" y="399"/>
                    </a:lnTo>
                    <a:lnTo>
                      <a:pt x="1415" y="399"/>
                    </a:lnTo>
                    <a:lnTo>
                      <a:pt x="1413" y="408"/>
                    </a:lnTo>
                    <a:lnTo>
                      <a:pt x="1415" y="411"/>
                    </a:lnTo>
                    <a:lnTo>
                      <a:pt x="1413" y="411"/>
                    </a:lnTo>
                    <a:lnTo>
                      <a:pt x="1413" y="411"/>
                    </a:lnTo>
                    <a:lnTo>
                      <a:pt x="1411" y="413"/>
                    </a:lnTo>
                    <a:lnTo>
                      <a:pt x="1411" y="415"/>
                    </a:lnTo>
                    <a:lnTo>
                      <a:pt x="1411" y="418"/>
                    </a:lnTo>
                    <a:lnTo>
                      <a:pt x="1411" y="420"/>
                    </a:lnTo>
                    <a:lnTo>
                      <a:pt x="1408" y="422"/>
                    </a:lnTo>
                    <a:lnTo>
                      <a:pt x="1408" y="425"/>
                    </a:lnTo>
                    <a:lnTo>
                      <a:pt x="1406" y="427"/>
                    </a:lnTo>
                    <a:lnTo>
                      <a:pt x="1406" y="427"/>
                    </a:lnTo>
                    <a:lnTo>
                      <a:pt x="1403" y="427"/>
                    </a:lnTo>
                    <a:lnTo>
                      <a:pt x="1403" y="427"/>
                    </a:lnTo>
                    <a:lnTo>
                      <a:pt x="1401" y="429"/>
                    </a:lnTo>
                    <a:lnTo>
                      <a:pt x="1399" y="434"/>
                    </a:lnTo>
                    <a:lnTo>
                      <a:pt x="1399" y="434"/>
                    </a:lnTo>
                    <a:lnTo>
                      <a:pt x="1401" y="437"/>
                    </a:lnTo>
                    <a:lnTo>
                      <a:pt x="1401" y="439"/>
                    </a:lnTo>
                    <a:lnTo>
                      <a:pt x="1403" y="441"/>
                    </a:lnTo>
                    <a:lnTo>
                      <a:pt x="1403" y="444"/>
                    </a:lnTo>
                    <a:lnTo>
                      <a:pt x="1403" y="446"/>
                    </a:lnTo>
                    <a:lnTo>
                      <a:pt x="1401" y="451"/>
                    </a:lnTo>
                    <a:lnTo>
                      <a:pt x="1401" y="451"/>
                    </a:lnTo>
                    <a:lnTo>
                      <a:pt x="1401" y="453"/>
                    </a:lnTo>
                    <a:lnTo>
                      <a:pt x="1399" y="453"/>
                    </a:lnTo>
                    <a:lnTo>
                      <a:pt x="1399" y="453"/>
                    </a:lnTo>
                    <a:lnTo>
                      <a:pt x="1399" y="453"/>
                    </a:lnTo>
                    <a:lnTo>
                      <a:pt x="1396" y="455"/>
                    </a:lnTo>
                    <a:lnTo>
                      <a:pt x="1396" y="455"/>
                    </a:lnTo>
                    <a:lnTo>
                      <a:pt x="1396" y="460"/>
                    </a:lnTo>
                    <a:lnTo>
                      <a:pt x="1399" y="460"/>
                    </a:lnTo>
                    <a:lnTo>
                      <a:pt x="1401" y="463"/>
                    </a:lnTo>
                    <a:lnTo>
                      <a:pt x="1401" y="465"/>
                    </a:lnTo>
                    <a:lnTo>
                      <a:pt x="1396" y="467"/>
                    </a:lnTo>
                    <a:lnTo>
                      <a:pt x="1396" y="470"/>
                    </a:lnTo>
                    <a:lnTo>
                      <a:pt x="1396" y="474"/>
                    </a:lnTo>
                    <a:lnTo>
                      <a:pt x="1396" y="474"/>
                    </a:lnTo>
                    <a:lnTo>
                      <a:pt x="1396" y="479"/>
                    </a:lnTo>
                    <a:lnTo>
                      <a:pt x="1396" y="481"/>
                    </a:lnTo>
                    <a:lnTo>
                      <a:pt x="1399" y="484"/>
                    </a:lnTo>
                    <a:lnTo>
                      <a:pt x="1399" y="486"/>
                    </a:lnTo>
                    <a:lnTo>
                      <a:pt x="1396" y="489"/>
                    </a:lnTo>
                    <a:lnTo>
                      <a:pt x="1396" y="489"/>
                    </a:lnTo>
                    <a:lnTo>
                      <a:pt x="1394" y="491"/>
                    </a:lnTo>
                    <a:lnTo>
                      <a:pt x="1394" y="493"/>
                    </a:lnTo>
                    <a:lnTo>
                      <a:pt x="1392" y="493"/>
                    </a:lnTo>
                    <a:lnTo>
                      <a:pt x="1392" y="496"/>
                    </a:lnTo>
                    <a:lnTo>
                      <a:pt x="1392" y="498"/>
                    </a:lnTo>
                    <a:lnTo>
                      <a:pt x="1392" y="503"/>
                    </a:lnTo>
                    <a:lnTo>
                      <a:pt x="1392" y="503"/>
                    </a:lnTo>
                    <a:lnTo>
                      <a:pt x="1394" y="507"/>
                    </a:lnTo>
                    <a:lnTo>
                      <a:pt x="1392" y="510"/>
                    </a:lnTo>
                    <a:lnTo>
                      <a:pt x="1392" y="515"/>
                    </a:lnTo>
                    <a:lnTo>
                      <a:pt x="1389" y="517"/>
                    </a:lnTo>
                    <a:lnTo>
                      <a:pt x="1387" y="517"/>
                    </a:lnTo>
                    <a:lnTo>
                      <a:pt x="1387" y="519"/>
                    </a:lnTo>
                    <a:lnTo>
                      <a:pt x="1387" y="519"/>
                    </a:lnTo>
                    <a:lnTo>
                      <a:pt x="1387" y="522"/>
                    </a:lnTo>
                    <a:lnTo>
                      <a:pt x="1385" y="524"/>
                    </a:lnTo>
                    <a:lnTo>
                      <a:pt x="1385" y="529"/>
                    </a:lnTo>
                    <a:lnTo>
                      <a:pt x="1385" y="531"/>
                    </a:lnTo>
                    <a:lnTo>
                      <a:pt x="1382" y="536"/>
                    </a:lnTo>
                    <a:lnTo>
                      <a:pt x="1382" y="538"/>
                    </a:lnTo>
                    <a:lnTo>
                      <a:pt x="1382" y="538"/>
                    </a:lnTo>
                    <a:lnTo>
                      <a:pt x="1382" y="543"/>
                    </a:lnTo>
                    <a:lnTo>
                      <a:pt x="1382" y="545"/>
                    </a:lnTo>
                    <a:lnTo>
                      <a:pt x="1382" y="548"/>
                    </a:lnTo>
                    <a:lnTo>
                      <a:pt x="1385" y="552"/>
                    </a:lnTo>
                    <a:lnTo>
                      <a:pt x="1385" y="552"/>
                    </a:lnTo>
                    <a:lnTo>
                      <a:pt x="1389" y="555"/>
                    </a:lnTo>
                    <a:lnTo>
                      <a:pt x="1389" y="555"/>
                    </a:lnTo>
                    <a:lnTo>
                      <a:pt x="1392" y="555"/>
                    </a:lnTo>
                    <a:lnTo>
                      <a:pt x="1392" y="555"/>
                    </a:lnTo>
                    <a:lnTo>
                      <a:pt x="1392" y="555"/>
                    </a:lnTo>
                    <a:lnTo>
                      <a:pt x="1392" y="557"/>
                    </a:lnTo>
                    <a:lnTo>
                      <a:pt x="1392" y="557"/>
                    </a:lnTo>
                    <a:lnTo>
                      <a:pt x="1392" y="559"/>
                    </a:lnTo>
                    <a:lnTo>
                      <a:pt x="1392" y="562"/>
                    </a:lnTo>
                    <a:lnTo>
                      <a:pt x="1392" y="567"/>
                    </a:lnTo>
                    <a:lnTo>
                      <a:pt x="1392" y="567"/>
                    </a:lnTo>
                    <a:lnTo>
                      <a:pt x="1389" y="569"/>
                    </a:lnTo>
                    <a:lnTo>
                      <a:pt x="1389" y="569"/>
                    </a:lnTo>
                    <a:lnTo>
                      <a:pt x="1387" y="571"/>
                    </a:lnTo>
                    <a:lnTo>
                      <a:pt x="1385" y="574"/>
                    </a:lnTo>
                    <a:lnTo>
                      <a:pt x="1385" y="574"/>
                    </a:lnTo>
                    <a:lnTo>
                      <a:pt x="1385" y="576"/>
                    </a:lnTo>
                    <a:lnTo>
                      <a:pt x="1387" y="578"/>
                    </a:lnTo>
                    <a:lnTo>
                      <a:pt x="1387" y="583"/>
                    </a:lnTo>
                    <a:lnTo>
                      <a:pt x="1387" y="583"/>
                    </a:lnTo>
                    <a:lnTo>
                      <a:pt x="1389" y="585"/>
                    </a:lnTo>
                    <a:lnTo>
                      <a:pt x="1389" y="590"/>
                    </a:lnTo>
                    <a:lnTo>
                      <a:pt x="1389" y="590"/>
                    </a:lnTo>
                    <a:lnTo>
                      <a:pt x="1392" y="590"/>
                    </a:lnTo>
                    <a:lnTo>
                      <a:pt x="1394" y="592"/>
                    </a:lnTo>
                    <a:lnTo>
                      <a:pt x="1394" y="595"/>
                    </a:lnTo>
                    <a:lnTo>
                      <a:pt x="1392" y="597"/>
                    </a:lnTo>
                    <a:lnTo>
                      <a:pt x="1392" y="600"/>
                    </a:lnTo>
                    <a:lnTo>
                      <a:pt x="1394" y="602"/>
                    </a:lnTo>
                    <a:lnTo>
                      <a:pt x="1394" y="604"/>
                    </a:lnTo>
                    <a:lnTo>
                      <a:pt x="1389" y="607"/>
                    </a:lnTo>
                    <a:lnTo>
                      <a:pt x="1389" y="609"/>
                    </a:lnTo>
                    <a:lnTo>
                      <a:pt x="1389" y="609"/>
                    </a:lnTo>
                    <a:lnTo>
                      <a:pt x="1389" y="611"/>
                    </a:lnTo>
                    <a:lnTo>
                      <a:pt x="1389" y="614"/>
                    </a:lnTo>
                    <a:lnTo>
                      <a:pt x="1389" y="614"/>
                    </a:lnTo>
                    <a:lnTo>
                      <a:pt x="1392" y="616"/>
                    </a:lnTo>
                    <a:lnTo>
                      <a:pt x="1392" y="618"/>
                    </a:lnTo>
                    <a:lnTo>
                      <a:pt x="1389" y="626"/>
                    </a:lnTo>
                    <a:lnTo>
                      <a:pt x="1389" y="628"/>
                    </a:lnTo>
                    <a:lnTo>
                      <a:pt x="1389" y="628"/>
                    </a:lnTo>
                    <a:lnTo>
                      <a:pt x="1389" y="633"/>
                    </a:lnTo>
                    <a:lnTo>
                      <a:pt x="1389" y="635"/>
                    </a:lnTo>
                    <a:lnTo>
                      <a:pt x="1389" y="637"/>
                    </a:lnTo>
                    <a:lnTo>
                      <a:pt x="1394" y="637"/>
                    </a:lnTo>
                    <a:lnTo>
                      <a:pt x="1394" y="637"/>
                    </a:lnTo>
                    <a:lnTo>
                      <a:pt x="1394" y="640"/>
                    </a:lnTo>
                    <a:lnTo>
                      <a:pt x="1396" y="644"/>
                    </a:lnTo>
                    <a:lnTo>
                      <a:pt x="1396" y="644"/>
                    </a:lnTo>
                    <a:lnTo>
                      <a:pt x="1394" y="647"/>
                    </a:lnTo>
                    <a:lnTo>
                      <a:pt x="1394" y="647"/>
                    </a:lnTo>
                    <a:lnTo>
                      <a:pt x="1394" y="649"/>
                    </a:lnTo>
                    <a:lnTo>
                      <a:pt x="1394" y="652"/>
                    </a:lnTo>
                    <a:lnTo>
                      <a:pt x="1394" y="654"/>
                    </a:lnTo>
                    <a:lnTo>
                      <a:pt x="1396" y="656"/>
                    </a:lnTo>
                    <a:lnTo>
                      <a:pt x="1396" y="659"/>
                    </a:lnTo>
                    <a:lnTo>
                      <a:pt x="1396" y="663"/>
                    </a:lnTo>
                    <a:lnTo>
                      <a:pt x="1396" y="663"/>
                    </a:lnTo>
                    <a:lnTo>
                      <a:pt x="1396" y="668"/>
                    </a:lnTo>
                    <a:lnTo>
                      <a:pt x="1396" y="668"/>
                    </a:lnTo>
                    <a:lnTo>
                      <a:pt x="1394" y="668"/>
                    </a:lnTo>
                    <a:lnTo>
                      <a:pt x="1394" y="668"/>
                    </a:lnTo>
                    <a:lnTo>
                      <a:pt x="1394" y="673"/>
                    </a:lnTo>
                    <a:lnTo>
                      <a:pt x="1392" y="675"/>
                    </a:lnTo>
                    <a:lnTo>
                      <a:pt x="1392" y="678"/>
                    </a:lnTo>
                    <a:lnTo>
                      <a:pt x="1389" y="680"/>
                    </a:lnTo>
                    <a:lnTo>
                      <a:pt x="1389" y="682"/>
                    </a:lnTo>
                    <a:lnTo>
                      <a:pt x="1392" y="685"/>
                    </a:lnTo>
                    <a:lnTo>
                      <a:pt x="1392" y="687"/>
                    </a:lnTo>
                    <a:lnTo>
                      <a:pt x="1389" y="687"/>
                    </a:lnTo>
                    <a:lnTo>
                      <a:pt x="1387" y="685"/>
                    </a:lnTo>
                    <a:lnTo>
                      <a:pt x="1387" y="687"/>
                    </a:lnTo>
                    <a:lnTo>
                      <a:pt x="1387" y="689"/>
                    </a:lnTo>
                    <a:lnTo>
                      <a:pt x="1387" y="689"/>
                    </a:lnTo>
                    <a:lnTo>
                      <a:pt x="1387" y="694"/>
                    </a:lnTo>
                    <a:lnTo>
                      <a:pt x="1394" y="692"/>
                    </a:lnTo>
                    <a:lnTo>
                      <a:pt x="1394" y="694"/>
                    </a:lnTo>
                    <a:lnTo>
                      <a:pt x="1394" y="694"/>
                    </a:lnTo>
                    <a:lnTo>
                      <a:pt x="1394" y="696"/>
                    </a:lnTo>
                    <a:lnTo>
                      <a:pt x="1394" y="701"/>
                    </a:lnTo>
                    <a:lnTo>
                      <a:pt x="1396" y="701"/>
                    </a:lnTo>
                    <a:lnTo>
                      <a:pt x="1394" y="704"/>
                    </a:lnTo>
                    <a:lnTo>
                      <a:pt x="1396" y="704"/>
                    </a:lnTo>
                    <a:lnTo>
                      <a:pt x="1396" y="708"/>
                    </a:lnTo>
                    <a:lnTo>
                      <a:pt x="1396" y="711"/>
                    </a:lnTo>
                    <a:lnTo>
                      <a:pt x="1399" y="711"/>
                    </a:lnTo>
                    <a:lnTo>
                      <a:pt x="1396" y="713"/>
                    </a:lnTo>
                    <a:lnTo>
                      <a:pt x="1396" y="715"/>
                    </a:lnTo>
                    <a:lnTo>
                      <a:pt x="1396" y="715"/>
                    </a:lnTo>
                    <a:lnTo>
                      <a:pt x="1399" y="715"/>
                    </a:lnTo>
                    <a:lnTo>
                      <a:pt x="1399" y="713"/>
                    </a:lnTo>
                    <a:lnTo>
                      <a:pt x="1401" y="713"/>
                    </a:lnTo>
                    <a:lnTo>
                      <a:pt x="1403" y="713"/>
                    </a:lnTo>
                    <a:lnTo>
                      <a:pt x="1403" y="713"/>
                    </a:lnTo>
                    <a:lnTo>
                      <a:pt x="1401" y="715"/>
                    </a:lnTo>
                    <a:lnTo>
                      <a:pt x="1401" y="718"/>
                    </a:lnTo>
                    <a:lnTo>
                      <a:pt x="1403" y="718"/>
                    </a:lnTo>
                    <a:lnTo>
                      <a:pt x="1408" y="718"/>
                    </a:lnTo>
                    <a:lnTo>
                      <a:pt x="1411" y="718"/>
                    </a:lnTo>
                    <a:lnTo>
                      <a:pt x="1411" y="720"/>
                    </a:lnTo>
                    <a:lnTo>
                      <a:pt x="1411" y="720"/>
                    </a:lnTo>
                    <a:lnTo>
                      <a:pt x="1413" y="722"/>
                    </a:lnTo>
                    <a:lnTo>
                      <a:pt x="1413" y="725"/>
                    </a:lnTo>
                    <a:lnTo>
                      <a:pt x="1411" y="727"/>
                    </a:lnTo>
                    <a:lnTo>
                      <a:pt x="1411" y="729"/>
                    </a:lnTo>
                    <a:lnTo>
                      <a:pt x="1411" y="732"/>
                    </a:lnTo>
                    <a:lnTo>
                      <a:pt x="1411" y="737"/>
                    </a:lnTo>
                    <a:lnTo>
                      <a:pt x="1406" y="737"/>
                    </a:lnTo>
                    <a:lnTo>
                      <a:pt x="1406" y="739"/>
                    </a:lnTo>
                    <a:lnTo>
                      <a:pt x="1403" y="739"/>
                    </a:lnTo>
                    <a:lnTo>
                      <a:pt x="1403" y="739"/>
                    </a:lnTo>
                    <a:lnTo>
                      <a:pt x="1401" y="739"/>
                    </a:lnTo>
                    <a:lnTo>
                      <a:pt x="1401" y="741"/>
                    </a:lnTo>
                    <a:lnTo>
                      <a:pt x="1403" y="744"/>
                    </a:lnTo>
                    <a:lnTo>
                      <a:pt x="1403" y="744"/>
                    </a:lnTo>
                    <a:lnTo>
                      <a:pt x="1403" y="746"/>
                    </a:lnTo>
                    <a:lnTo>
                      <a:pt x="1399" y="746"/>
                    </a:lnTo>
                    <a:lnTo>
                      <a:pt x="1399" y="748"/>
                    </a:lnTo>
                    <a:lnTo>
                      <a:pt x="1401" y="751"/>
                    </a:lnTo>
                    <a:lnTo>
                      <a:pt x="1401" y="751"/>
                    </a:lnTo>
                    <a:lnTo>
                      <a:pt x="1401" y="753"/>
                    </a:lnTo>
                    <a:lnTo>
                      <a:pt x="1401" y="758"/>
                    </a:lnTo>
                    <a:lnTo>
                      <a:pt x="1401" y="760"/>
                    </a:lnTo>
                    <a:lnTo>
                      <a:pt x="1401" y="763"/>
                    </a:lnTo>
                    <a:lnTo>
                      <a:pt x="1399" y="765"/>
                    </a:lnTo>
                    <a:lnTo>
                      <a:pt x="1401" y="765"/>
                    </a:lnTo>
                    <a:lnTo>
                      <a:pt x="1401" y="767"/>
                    </a:lnTo>
                    <a:lnTo>
                      <a:pt x="1401" y="767"/>
                    </a:lnTo>
                    <a:lnTo>
                      <a:pt x="1401" y="772"/>
                    </a:lnTo>
                    <a:lnTo>
                      <a:pt x="1401" y="774"/>
                    </a:lnTo>
                    <a:lnTo>
                      <a:pt x="1399" y="774"/>
                    </a:lnTo>
                    <a:lnTo>
                      <a:pt x="1399" y="779"/>
                    </a:lnTo>
                    <a:lnTo>
                      <a:pt x="1399" y="781"/>
                    </a:lnTo>
                    <a:lnTo>
                      <a:pt x="1396" y="784"/>
                    </a:lnTo>
                    <a:lnTo>
                      <a:pt x="1394" y="784"/>
                    </a:lnTo>
                    <a:lnTo>
                      <a:pt x="1394" y="786"/>
                    </a:lnTo>
                    <a:lnTo>
                      <a:pt x="1392" y="789"/>
                    </a:lnTo>
                    <a:lnTo>
                      <a:pt x="1392" y="791"/>
                    </a:lnTo>
                    <a:lnTo>
                      <a:pt x="1392" y="796"/>
                    </a:lnTo>
                    <a:lnTo>
                      <a:pt x="1392" y="796"/>
                    </a:lnTo>
                    <a:lnTo>
                      <a:pt x="1389" y="798"/>
                    </a:lnTo>
                    <a:lnTo>
                      <a:pt x="1387" y="800"/>
                    </a:lnTo>
                    <a:lnTo>
                      <a:pt x="1385" y="803"/>
                    </a:lnTo>
                    <a:lnTo>
                      <a:pt x="1382" y="805"/>
                    </a:lnTo>
                    <a:lnTo>
                      <a:pt x="1380" y="810"/>
                    </a:lnTo>
                    <a:lnTo>
                      <a:pt x="1378" y="817"/>
                    </a:lnTo>
                    <a:lnTo>
                      <a:pt x="1378" y="819"/>
                    </a:lnTo>
                    <a:lnTo>
                      <a:pt x="1375" y="824"/>
                    </a:lnTo>
                    <a:lnTo>
                      <a:pt x="1375" y="829"/>
                    </a:lnTo>
                    <a:lnTo>
                      <a:pt x="1370" y="833"/>
                    </a:lnTo>
                    <a:lnTo>
                      <a:pt x="1370" y="831"/>
                    </a:lnTo>
                    <a:lnTo>
                      <a:pt x="1368" y="833"/>
                    </a:lnTo>
                    <a:lnTo>
                      <a:pt x="1368" y="833"/>
                    </a:lnTo>
                    <a:lnTo>
                      <a:pt x="1366" y="833"/>
                    </a:lnTo>
                    <a:lnTo>
                      <a:pt x="1366" y="836"/>
                    </a:lnTo>
                    <a:lnTo>
                      <a:pt x="1368" y="838"/>
                    </a:lnTo>
                    <a:lnTo>
                      <a:pt x="1368" y="843"/>
                    </a:lnTo>
                    <a:lnTo>
                      <a:pt x="1368" y="845"/>
                    </a:lnTo>
                    <a:lnTo>
                      <a:pt x="1368" y="848"/>
                    </a:lnTo>
                    <a:lnTo>
                      <a:pt x="1368" y="850"/>
                    </a:lnTo>
                    <a:lnTo>
                      <a:pt x="1368" y="852"/>
                    </a:lnTo>
                    <a:lnTo>
                      <a:pt x="1368" y="855"/>
                    </a:lnTo>
                    <a:lnTo>
                      <a:pt x="1368" y="855"/>
                    </a:lnTo>
                    <a:lnTo>
                      <a:pt x="1368" y="857"/>
                    </a:lnTo>
                    <a:lnTo>
                      <a:pt x="1368" y="859"/>
                    </a:lnTo>
                    <a:lnTo>
                      <a:pt x="1368" y="862"/>
                    </a:lnTo>
                    <a:lnTo>
                      <a:pt x="1366" y="864"/>
                    </a:lnTo>
                    <a:lnTo>
                      <a:pt x="1366" y="866"/>
                    </a:lnTo>
                    <a:lnTo>
                      <a:pt x="1368" y="869"/>
                    </a:lnTo>
                    <a:lnTo>
                      <a:pt x="1368" y="874"/>
                    </a:lnTo>
                    <a:lnTo>
                      <a:pt x="1370" y="878"/>
                    </a:lnTo>
                    <a:lnTo>
                      <a:pt x="1370" y="883"/>
                    </a:lnTo>
                    <a:lnTo>
                      <a:pt x="1368" y="883"/>
                    </a:lnTo>
                    <a:lnTo>
                      <a:pt x="1366" y="885"/>
                    </a:lnTo>
                    <a:lnTo>
                      <a:pt x="1363" y="885"/>
                    </a:lnTo>
                    <a:lnTo>
                      <a:pt x="1361" y="885"/>
                    </a:lnTo>
                    <a:lnTo>
                      <a:pt x="1361" y="885"/>
                    </a:lnTo>
                    <a:lnTo>
                      <a:pt x="1359" y="885"/>
                    </a:lnTo>
                    <a:lnTo>
                      <a:pt x="1359" y="885"/>
                    </a:lnTo>
                    <a:lnTo>
                      <a:pt x="1361" y="890"/>
                    </a:lnTo>
                    <a:lnTo>
                      <a:pt x="1361" y="892"/>
                    </a:lnTo>
                    <a:lnTo>
                      <a:pt x="1359" y="895"/>
                    </a:lnTo>
                    <a:lnTo>
                      <a:pt x="1356" y="897"/>
                    </a:lnTo>
                    <a:lnTo>
                      <a:pt x="1354" y="902"/>
                    </a:lnTo>
                    <a:lnTo>
                      <a:pt x="1352" y="907"/>
                    </a:lnTo>
                    <a:lnTo>
                      <a:pt x="1352" y="909"/>
                    </a:lnTo>
                    <a:lnTo>
                      <a:pt x="1352" y="914"/>
                    </a:lnTo>
                    <a:lnTo>
                      <a:pt x="1352" y="916"/>
                    </a:lnTo>
                    <a:lnTo>
                      <a:pt x="1349" y="916"/>
                    </a:lnTo>
                    <a:lnTo>
                      <a:pt x="1352" y="921"/>
                    </a:lnTo>
                    <a:lnTo>
                      <a:pt x="1352" y="921"/>
                    </a:lnTo>
                    <a:lnTo>
                      <a:pt x="1349" y="923"/>
                    </a:lnTo>
                    <a:lnTo>
                      <a:pt x="1349" y="926"/>
                    </a:lnTo>
                    <a:lnTo>
                      <a:pt x="1352" y="928"/>
                    </a:lnTo>
                    <a:lnTo>
                      <a:pt x="1352" y="930"/>
                    </a:lnTo>
                    <a:lnTo>
                      <a:pt x="1352" y="930"/>
                    </a:lnTo>
                    <a:lnTo>
                      <a:pt x="1354" y="933"/>
                    </a:lnTo>
                    <a:lnTo>
                      <a:pt x="1352" y="935"/>
                    </a:lnTo>
                    <a:lnTo>
                      <a:pt x="1354" y="940"/>
                    </a:lnTo>
                    <a:lnTo>
                      <a:pt x="1349" y="947"/>
                    </a:lnTo>
                    <a:lnTo>
                      <a:pt x="1349" y="949"/>
                    </a:lnTo>
                    <a:lnTo>
                      <a:pt x="1347" y="956"/>
                    </a:lnTo>
                    <a:lnTo>
                      <a:pt x="1347" y="956"/>
                    </a:lnTo>
                    <a:lnTo>
                      <a:pt x="1344" y="959"/>
                    </a:lnTo>
                    <a:lnTo>
                      <a:pt x="1347" y="961"/>
                    </a:lnTo>
                    <a:lnTo>
                      <a:pt x="1347" y="961"/>
                    </a:lnTo>
                    <a:lnTo>
                      <a:pt x="1344" y="963"/>
                    </a:lnTo>
                    <a:lnTo>
                      <a:pt x="1344" y="966"/>
                    </a:lnTo>
                    <a:lnTo>
                      <a:pt x="1342" y="966"/>
                    </a:lnTo>
                    <a:lnTo>
                      <a:pt x="1342" y="968"/>
                    </a:lnTo>
                    <a:lnTo>
                      <a:pt x="1342" y="970"/>
                    </a:lnTo>
                    <a:lnTo>
                      <a:pt x="1344" y="973"/>
                    </a:lnTo>
                    <a:lnTo>
                      <a:pt x="1342" y="975"/>
                    </a:lnTo>
                    <a:lnTo>
                      <a:pt x="1340" y="975"/>
                    </a:lnTo>
                    <a:lnTo>
                      <a:pt x="1337" y="980"/>
                    </a:lnTo>
                    <a:lnTo>
                      <a:pt x="1337" y="982"/>
                    </a:lnTo>
                    <a:lnTo>
                      <a:pt x="1337" y="985"/>
                    </a:lnTo>
                    <a:lnTo>
                      <a:pt x="1337" y="987"/>
                    </a:lnTo>
                    <a:lnTo>
                      <a:pt x="1340" y="989"/>
                    </a:lnTo>
                    <a:lnTo>
                      <a:pt x="1340" y="989"/>
                    </a:lnTo>
                    <a:lnTo>
                      <a:pt x="1337" y="989"/>
                    </a:lnTo>
                    <a:lnTo>
                      <a:pt x="1333" y="994"/>
                    </a:lnTo>
                    <a:lnTo>
                      <a:pt x="1333" y="994"/>
                    </a:lnTo>
                    <a:lnTo>
                      <a:pt x="1330" y="996"/>
                    </a:lnTo>
                    <a:lnTo>
                      <a:pt x="1330" y="999"/>
                    </a:lnTo>
                    <a:lnTo>
                      <a:pt x="1323" y="1001"/>
                    </a:lnTo>
                    <a:lnTo>
                      <a:pt x="1318" y="1006"/>
                    </a:lnTo>
                    <a:lnTo>
                      <a:pt x="1314" y="1006"/>
                    </a:lnTo>
                    <a:lnTo>
                      <a:pt x="1311" y="1006"/>
                    </a:lnTo>
                    <a:lnTo>
                      <a:pt x="1311" y="1004"/>
                    </a:lnTo>
                    <a:lnTo>
                      <a:pt x="1311" y="999"/>
                    </a:lnTo>
                    <a:lnTo>
                      <a:pt x="1307" y="996"/>
                    </a:lnTo>
                    <a:lnTo>
                      <a:pt x="1307" y="996"/>
                    </a:lnTo>
                    <a:lnTo>
                      <a:pt x="1304" y="999"/>
                    </a:lnTo>
                    <a:lnTo>
                      <a:pt x="1304" y="1001"/>
                    </a:lnTo>
                    <a:lnTo>
                      <a:pt x="1302" y="1004"/>
                    </a:lnTo>
                    <a:lnTo>
                      <a:pt x="1297" y="1001"/>
                    </a:lnTo>
                    <a:lnTo>
                      <a:pt x="1295" y="1001"/>
                    </a:lnTo>
                    <a:lnTo>
                      <a:pt x="1292" y="1006"/>
                    </a:lnTo>
                    <a:lnTo>
                      <a:pt x="1292" y="1006"/>
                    </a:lnTo>
                    <a:lnTo>
                      <a:pt x="1290" y="1006"/>
                    </a:lnTo>
                    <a:lnTo>
                      <a:pt x="1288" y="1008"/>
                    </a:lnTo>
                    <a:lnTo>
                      <a:pt x="1283" y="1008"/>
                    </a:lnTo>
                    <a:lnTo>
                      <a:pt x="1283" y="1008"/>
                    </a:lnTo>
                    <a:lnTo>
                      <a:pt x="1281" y="1011"/>
                    </a:lnTo>
                    <a:lnTo>
                      <a:pt x="1278" y="1015"/>
                    </a:lnTo>
                    <a:lnTo>
                      <a:pt x="1276" y="1015"/>
                    </a:lnTo>
                    <a:lnTo>
                      <a:pt x="1274" y="1022"/>
                    </a:lnTo>
                    <a:lnTo>
                      <a:pt x="1274" y="1022"/>
                    </a:lnTo>
                    <a:lnTo>
                      <a:pt x="1269" y="1022"/>
                    </a:lnTo>
                    <a:lnTo>
                      <a:pt x="1266" y="1025"/>
                    </a:lnTo>
                    <a:lnTo>
                      <a:pt x="1266" y="1027"/>
                    </a:lnTo>
                    <a:lnTo>
                      <a:pt x="1264" y="1029"/>
                    </a:lnTo>
                    <a:lnTo>
                      <a:pt x="1264" y="1032"/>
                    </a:lnTo>
                    <a:lnTo>
                      <a:pt x="1266" y="1034"/>
                    </a:lnTo>
                    <a:lnTo>
                      <a:pt x="1266" y="1034"/>
                    </a:lnTo>
                    <a:lnTo>
                      <a:pt x="1266" y="1037"/>
                    </a:lnTo>
                    <a:lnTo>
                      <a:pt x="1264" y="1039"/>
                    </a:lnTo>
                    <a:lnTo>
                      <a:pt x="1264" y="1039"/>
                    </a:lnTo>
                    <a:lnTo>
                      <a:pt x="1262" y="1041"/>
                    </a:lnTo>
                    <a:lnTo>
                      <a:pt x="1262" y="1046"/>
                    </a:lnTo>
                    <a:lnTo>
                      <a:pt x="1264" y="1048"/>
                    </a:lnTo>
                    <a:lnTo>
                      <a:pt x="1264" y="1048"/>
                    </a:lnTo>
                    <a:lnTo>
                      <a:pt x="1259" y="1053"/>
                    </a:lnTo>
                    <a:lnTo>
                      <a:pt x="1259" y="1055"/>
                    </a:lnTo>
                    <a:lnTo>
                      <a:pt x="1262" y="1058"/>
                    </a:lnTo>
                    <a:lnTo>
                      <a:pt x="1262" y="1058"/>
                    </a:lnTo>
                    <a:lnTo>
                      <a:pt x="1259" y="1060"/>
                    </a:lnTo>
                    <a:lnTo>
                      <a:pt x="1259" y="1063"/>
                    </a:lnTo>
                    <a:lnTo>
                      <a:pt x="1259" y="1063"/>
                    </a:lnTo>
                    <a:lnTo>
                      <a:pt x="1259" y="1065"/>
                    </a:lnTo>
                    <a:lnTo>
                      <a:pt x="1259" y="1065"/>
                    </a:lnTo>
                    <a:lnTo>
                      <a:pt x="1257" y="1067"/>
                    </a:lnTo>
                    <a:lnTo>
                      <a:pt x="1257" y="1067"/>
                    </a:lnTo>
                    <a:lnTo>
                      <a:pt x="1257" y="1070"/>
                    </a:lnTo>
                    <a:lnTo>
                      <a:pt x="1257" y="1072"/>
                    </a:lnTo>
                    <a:lnTo>
                      <a:pt x="1257" y="1072"/>
                    </a:lnTo>
                    <a:lnTo>
                      <a:pt x="1255" y="1072"/>
                    </a:lnTo>
                    <a:lnTo>
                      <a:pt x="1255" y="1072"/>
                    </a:lnTo>
                    <a:lnTo>
                      <a:pt x="1252" y="1070"/>
                    </a:lnTo>
                    <a:lnTo>
                      <a:pt x="1250" y="1070"/>
                    </a:lnTo>
                    <a:lnTo>
                      <a:pt x="1250" y="1072"/>
                    </a:lnTo>
                    <a:lnTo>
                      <a:pt x="1250" y="1072"/>
                    </a:lnTo>
                    <a:lnTo>
                      <a:pt x="1250" y="1074"/>
                    </a:lnTo>
                    <a:lnTo>
                      <a:pt x="1255" y="1081"/>
                    </a:lnTo>
                    <a:lnTo>
                      <a:pt x="1255" y="1081"/>
                    </a:lnTo>
                    <a:lnTo>
                      <a:pt x="1252" y="1086"/>
                    </a:lnTo>
                    <a:lnTo>
                      <a:pt x="1252" y="1086"/>
                    </a:lnTo>
                    <a:lnTo>
                      <a:pt x="1248" y="1093"/>
                    </a:lnTo>
                    <a:lnTo>
                      <a:pt x="1248" y="1096"/>
                    </a:lnTo>
                    <a:lnTo>
                      <a:pt x="1245" y="1098"/>
                    </a:lnTo>
                    <a:lnTo>
                      <a:pt x="1240" y="1100"/>
                    </a:lnTo>
                    <a:lnTo>
                      <a:pt x="1240" y="1103"/>
                    </a:lnTo>
                    <a:lnTo>
                      <a:pt x="1238" y="1105"/>
                    </a:lnTo>
                    <a:lnTo>
                      <a:pt x="1238" y="1107"/>
                    </a:lnTo>
                    <a:lnTo>
                      <a:pt x="1236" y="1110"/>
                    </a:lnTo>
                    <a:lnTo>
                      <a:pt x="1233" y="1107"/>
                    </a:lnTo>
                    <a:lnTo>
                      <a:pt x="1229" y="1107"/>
                    </a:lnTo>
                    <a:lnTo>
                      <a:pt x="1229" y="1107"/>
                    </a:lnTo>
                    <a:lnTo>
                      <a:pt x="1229" y="1110"/>
                    </a:lnTo>
                    <a:lnTo>
                      <a:pt x="1229" y="1110"/>
                    </a:lnTo>
                    <a:lnTo>
                      <a:pt x="1226" y="1110"/>
                    </a:lnTo>
                    <a:lnTo>
                      <a:pt x="1224" y="1110"/>
                    </a:lnTo>
                    <a:lnTo>
                      <a:pt x="1222" y="1115"/>
                    </a:lnTo>
                    <a:lnTo>
                      <a:pt x="1222" y="1117"/>
                    </a:lnTo>
                    <a:lnTo>
                      <a:pt x="1215" y="1117"/>
                    </a:lnTo>
                    <a:lnTo>
                      <a:pt x="1212" y="1117"/>
                    </a:lnTo>
                    <a:lnTo>
                      <a:pt x="1210" y="1117"/>
                    </a:lnTo>
                    <a:lnTo>
                      <a:pt x="1210" y="1117"/>
                    </a:lnTo>
                    <a:lnTo>
                      <a:pt x="1210" y="1117"/>
                    </a:lnTo>
                    <a:lnTo>
                      <a:pt x="1205" y="1117"/>
                    </a:lnTo>
                    <a:lnTo>
                      <a:pt x="1198" y="1117"/>
                    </a:lnTo>
                    <a:lnTo>
                      <a:pt x="1196" y="1117"/>
                    </a:lnTo>
                    <a:lnTo>
                      <a:pt x="1193" y="1117"/>
                    </a:lnTo>
                    <a:lnTo>
                      <a:pt x="1191" y="1117"/>
                    </a:lnTo>
                    <a:lnTo>
                      <a:pt x="1191" y="1119"/>
                    </a:lnTo>
                    <a:lnTo>
                      <a:pt x="1191" y="1124"/>
                    </a:lnTo>
                    <a:lnTo>
                      <a:pt x="1189" y="1124"/>
                    </a:lnTo>
                    <a:lnTo>
                      <a:pt x="1189" y="1124"/>
                    </a:lnTo>
                    <a:lnTo>
                      <a:pt x="1186" y="1126"/>
                    </a:lnTo>
                    <a:lnTo>
                      <a:pt x="1186" y="1131"/>
                    </a:lnTo>
                    <a:lnTo>
                      <a:pt x="1184" y="1131"/>
                    </a:lnTo>
                    <a:lnTo>
                      <a:pt x="1184" y="1133"/>
                    </a:lnTo>
                    <a:lnTo>
                      <a:pt x="1181" y="1136"/>
                    </a:lnTo>
                    <a:lnTo>
                      <a:pt x="1181" y="1136"/>
                    </a:lnTo>
                    <a:lnTo>
                      <a:pt x="1181" y="1138"/>
                    </a:lnTo>
                    <a:lnTo>
                      <a:pt x="1181" y="1141"/>
                    </a:lnTo>
                    <a:lnTo>
                      <a:pt x="1181" y="1141"/>
                    </a:lnTo>
                    <a:lnTo>
                      <a:pt x="1177" y="1143"/>
                    </a:lnTo>
                    <a:lnTo>
                      <a:pt x="1177" y="1143"/>
                    </a:lnTo>
                    <a:lnTo>
                      <a:pt x="1177" y="1143"/>
                    </a:lnTo>
                    <a:lnTo>
                      <a:pt x="1174" y="1143"/>
                    </a:lnTo>
                    <a:lnTo>
                      <a:pt x="1174" y="1145"/>
                    </a:lnTo>
                    <a:lnTo>
                      <a:pt x="1172" y="1143"/>
                    </a:lnTo>
                    <a:lnTo>
                      <a:pt x="1167" y="1145"/>
                    </a:lnTo>
                    <a:lnTo>
                      <a:pt x="1165" y="1148"/>
                    </a:lnTo>
                    <a:lnTo>
                      <a:pt x="1163" y="1148"/>
                    </a:lnTo>
                    <a:lnTo>
                      <a:pt x="1160" y="1150"/>
                    </a:lnTo>
                    <a:lnTo>
                      <a:pt x="1160" y="1150"/>
                    </a:lnTo>
                    <a:lnTo>
                      <a:pt x="1158" y="1150"/>
                    </a:lnTo>
                    <a:lnTo>
                      <a:pt x="1158" y="1150"/>
                    </a:lnTo>
                    <a:lnTo>
                      <a:pt x="1155" y="1150"/>
                    </a:lnTo>
                    <a:lnTo>
                      <a:pt x="1155" y="1152"/>
                    </a:lnTo>
                    <a:lnTo>
                      <a:pt x="1153" y="1152"/>
                    </a:lnTo>
                    <a:lnTo>
                      <a:pt x="1153" y="1155"/>
                    </a:lnTo>
                    <a:lnTo>
                      <a:pt x="1153" y="1157"/>
                    </a:lnTo>
                    <a:lnTo>
                      <a:pt x="1153" y="1162"/>
                    </a:lnTo>
                    <a:lnTo>
                      <a:pt x="1153" y="1162"/>
                    </a:lnTo>
                    <a:lnTo>
                      <a:pt x="1151" y="1162"/>
                    </a:lnTo>
                    <a:lnTo>
                      <a:pt x="1151" y="1162"/>
                    </a:lnTo>
                    <a:lnTo>
                      <a:pt x="1153" y="1164"/>
                    </a:lnTo>
                    <a:lnTo>
                      <a:pt x="1153" y="1166"/>
                    </a:lnTo>
                    <a:lnTo>
                      <a:pt x="1153" y="1166"/>
                    </a:lnTo>
                    <a:lnTo>
                      <a:pt x="1151" y="1166"/>
                    </a:lnTo>
                    <a:lnTo>
                      <a:pt x="1148" y="1164"/>
                    </a:lnTo>
                    <a:lnTo>
                      <a:pt x="1148" y="1164"/>
                    </a:lnTo>
                    <a:lnTo>
                      <a:pt x="1148" y="1166"/>
                    </a:lnTo>
                    <a:lnTo>
                      <a:pt x="1148" y="1166"/>
                    </a:lnTo>
                    <a:lnTo>
                      <a:pt x="1146" y="1166"/>
                    </a:lnTo>
                    <a:lnTo>
                      <a:pt x="1144" y="1169"/>
                    </a:lnTo>
                    <a:lnTo>
                      <a:pt x="1141" y="1169"/>
                    </a:lnTo>
                    <a:lnTo>
                      <a:pt x="1139" y="1169"/>
                    </a:lnTo>
                    <a:lnTo>
                      <a:pt x="1139" y="1169"/>
                    </a:lnTo>
                    <a:lnTo>
                      <a:pt x="1139" y="1169"/>
                    </a:lnTo>
                    <a:lnTo>
                      <a:pt x="1137" y="1169"/>
                    </a:lnTo>
                    <a:lnTo>
                      <a:pt x="1137" y="1171"/>
                    </a:lnTo>
                    <a:lnTo>
                      <a:pt x="1137" y="1171"/>
                    </a:lnTo>
                    <a:lnTo>
                      <a:pt x="1134" y="1174"/>
                    </a:lnTo>
                    <a:lnTo>
                      <a:pt x="1137" y="1174"/>
                    </a:lnTo>
                    <a:lnTo>
                      <a:pt x="1137" y="1174"/>
                    </a:lnTo>
                    <a:lnTo>
                      <a:pt x="1137" y="1176"/>
                    </a:lnTo>
                    <a:lnTo>
                      <a:pt x="1134" y="1178"/>
                    </a:lnTo>
                    <a:lnTo>
                      <a:pt x="1134" y="1178"/>
                    </a:lnTo>
                    <a:lnTo>
                      <a:pt x="1134" y="1181"/>
                    </a:lnTo>
                    <a:lnTo>
                      <a:pt x="1137" y="1181"/>
                    </a:lnTo>
                    <a:lnTo>
                      <a:pt x="1134" y="1183"/>
                    </a:lnTo>
                    <a:lnTo>
                      <a:pt x="1134" y="1183"/>
                    </a:lnTo>
                    <a:lnTo>
                      <a:pt x="1137" y="1185"/>
                    </a:lnTo>
                    <a:lnTo>
                      <a:pt x="1139" y="1185"/>
                    </a:lnTo>
                    <a:lnTo>
                      <a:pt x="1141" y="1185"/>
                    </a:lnTo>
                    <a:lnTo>
                      <a:pt x="1141" y="1185"/>
                    </a:lnTo>
                    <a:lnTo>
                      <a:pt x="1141" y="1188"/>
                    </a:lnTo>
                    <a:lnTo>
                      <a:pt x="1141" y="1188"/>
                    </a:lnTo>
                    <a:lnTo>
                      <a:pt x="1144" y="1190"/>
                    </a:lnTo>
                    <a:lnTo>
                      <a:pt x="1144" y="1190"/>
                    </a:lnTo>
                    <a:lnTo>
                      <a:pt x="1144" y="1192"/>
                    </a:lnTo>
                    <a:lnTo>
                      <a:pt x="1144" y="1190"/>
                    </a:lnTo>
                    <a:lnTo>
                      <a:pt x="1146" y="1192"/>
                    </a:lnTo>
                    <a:lnTo>
                      <a:pt x="1144" y="1192"/>
                    </a:lnTo>
                    <a:lnTo>
                      <a:pt x="1146" y="1192"/>
                    </a:lnTo>
                    <a:lnTo>
                      <a:pt x="1146" y="1195"/>
                    </a:lnTo>
                    <a:lnTo>
                      <a:pt x="1146" y="1195"/>
                    </a:lnTo>
                    <a:lnTo>
                      <a:pt x="1144" y="1197"/>
                    </a:lnTo>
                    <a:lnTo>
                      <a:pt x="1144" y="1197"/>
                    </a:lnTo>
                    <a:lnTo>
                      <a:pt x="1141" y="1197"/>
                    </a:lnTo>
                    <a:lnTo>
                      <a:pt x="1141" y="1200"/>
                    </a:lnTo>
                    <a:lnTo>
                      <a:pt x="1141" y="1200"/>
                    </a:lnTo>
                    <a:lnTo>
                      <a:pt x="1141" y="1200"/>
                    </a:lnTo>
                    <a:lnTo>
                      <a:pt x="1141" y="1202"/>
                    </a:lnTo>
                    <a:lnTo>
                      <a:pt x="1141" y="1202"/>
                    </a:lnTo>
                    <a:lnTo>
                      <a:pt x="1141" y="1204"/>
                    </a:lnTo>
                    <a:lnTo>
                      <a:pt x="1139" y="1202"/>
                    </a:lnTo>
                    <a:lnTo>
                      <a:pt x="1139" y="1204"/>
                    </a:lnTo>
                    <a:lnTo>
                      <a:pt x="1139" y="1202"/>
                    </a:lnTo>
                    <a:lnTo>
                      <a:pt x="1137" y="1202"/>
                    </a:lnTo>
                    <a:lnTo>
                      <a:pt x="1137" y="1204"/>
                    </a:lnTo>
                    <a:lnTo>
                      <a:pt x="1139" y="1207"/>
                    </a:lnTo>
                    <a:lnTo>
                      <a:pt x="1137" y="1207"/>
                    </a:lnTo>
                    <a:lnTo>
                      <a:pt x="1137" y="1207"/>
                    </a:lnTo>
                    <a:lnTo>
                      <a:pt x="1137" y="1209"/>
                    </a:lnTo>
                    <a:lnTo>
                      <a:pt x="1134" y="1209"/>
                    </a:lnTo>
                    <a:lnTo>
                      <a:pt x="1132" y="1207"/>
                    </a:lnTo>
                    <a:lnTo>
                      <a:pt x="1132" y="1207"/>
                    </a:lnTo>
                    <a:lnTo>
                      <a:pt x="1132" y="1209"/>
                    </a:lnTo>
                    <a:lnTo>
                      <a:pt x="1129" y="1209"/>
                    </a:lnTo>
                    <a:lnTo>
                      <a:pt x="1129" y="1209"/>
                    </a:lnTo>
                    <a:lnTo>
                      <a:pt x="1129" y="1209"/>
                    </a:lnTo>
                    <a:lnTo>
                      <a:pt x="1129" y="1209"/>
                    </a:lnTo>
                    <a:lnTo>
                      <a:pt x="1129" y="1211"/>
                    </a:lnTo>
                    <a:lnTo>
                      <a:pt x="1129" y="1211"/>
                    </a:lnTo>
                    <a:lnTo>
                      <a:pt x="1129" y="1211"/>
                    </a:lnTo>
                    <a:lnTo>
                      <a:pt x="1132" y="1216"/>
                    </a:lnTo>
                    <a:lnTo>
                      <a:pt x="1129" y="1216"/>
                    </a:lnTo>
                    <a:lnTo>
                      <a:pt x="1129" y="1214"/>
                    </a:lnTo>
                    <a:lnTo>
                      <a:pt x="1129" y="1214"/>
                    </a:lnTo>
                    <a:lnTo>
                      <a:pt x="1127" y="1214"/>
                    </a:lnTo>
                    <a:lnTo>
                      <a:pt x="1127" y="1216"/>
                    </a:lnTo>
                    <a:lnTo>
                      <a:pt x="1129" y="1218"/>
                    </a:lnTo>
                    <a:lnTo>
                      <a:pt x="1127" y="1216"/>
                    </a:lnTo>
                    <a:lnTo>
                      <a:pt x="1127" y="1218"/>
                    </a:lnTo>
                    <a:lnTo>
                      <a:pt x="1125" y="1218"/>
                    </a:lnTo>
                    <a:lnTo>
                      <a:pt x="1125" y="1218"/>
                    </a:lnTo>
                    <a:lnTo>
                      <a:pt x="1127" y="1218"/>
                    </a:lnTo>
                    <a:lnTo>
                      <a:pt x="1125" y="1221"/>
                    </a:lnTo>
                    <a:lnTo>
                      <a:pt x="1125" y="1223"/>
                    </a:lnTo>
                    <a:lnTo>
                      <a:pt x="1122" y="1223"/>
                    </a:lnTo>
                    <a:lnTo>
                      <a:pt x="1122" y="1226"/>
                    </a:lnTo>
                    <a:lnTo>
                      <a:pt x="1122" y="1226"/>
                    </a:lnTo>
                    <a:lnTo>
                      <a:pt x="1122" y="1228"/>
                    </a:lnTo>
                    <a:lnTo>
                      <a:pt x="1122" y="1228"/>
                    </a:lnTo>
                    <a:lnTo>
                      <a:pt x="1120" y="1228"/>
                    </a:lnTo>
                    <a:lnTo>
                      <a:pt x="1120" y="1228"/>
                    </a:lnTo>
                    <a:lnTo>
                      <a:pt x="1118" y="1230"/>
                    </a:lnTo>
                    <a:lnTo>
                      <a:pt x="1118" y="1230"/>
                    </a:lnTo>
                    <a:lnTo>
                      <a:pt x="1118" y="1233"/>
                    </a:lnTo>
                    <a:lnTo>
                      <a:pt x="1115" y="1233"/>
                    </a:lnTo>
                    <a:lnTo>
                      <a:pt x="1115" y="1233"/>
                    </a:lnTo>
                    <a:lnTo>
                      <a:pt x="1115" y="1233"/>
                    </a:lnTo>
                    <a:lnTo>
                      <a:pt x="1113" y="1233"/>
                    </a:lnTo>
                    <a:lnTo>
                      <a:pt x="1113" y="1233"/>
                    </a:lnTo>
                    <a:lnTo>
                      <a:pt x="1113" y="1233"/>
                    </a:lnTo>
                    <a:lnTo>
                      <a:pt x="1111" y="1233"/>
                    </a:lnTo>
                    <a:lnTo>
                      <a:pt x="1108" y="1235"/>
                    </a:lnTo>
                    <a:lnTo>
                      <a:pt x="1111" y="1235"/>
                    </a:lnTo>
                    <a:lnTo>
                      <a:pt x="1108" y="1235"/>
                    </a:lnTo>
                    <a:lnTo>
                      <a:pt x="1108" y="1235"/>
                    </a:lnTo>
                    <a:lnTo>
                      <a:pt x="1108" y="1237"/>
                    </a:lnTo>
                    <a:lnTo>
                      <a:pt x="1106" y="1237"/>
                    </a:lnTo>
                    <a:lnTo>
                      <a:pt x="1106" y="1237"/>
                    </a:lnTo>
                    <a:lnTo>
                      <a:pt x="1103" y="1237"/>
                    </a:lnTo>
                    <a:lnTo>
                      <a:pt x="1103" y="1237"/>
                    </a:lnTo>
                    <a:lnTo>
                      <a:pt x="1103" y="1237"/>
                    </a:lnTo>
                    <a:lnTo>
                      <a:pt x="1103" y="1237"/>
                    </a:lnTo>
                    <a:lnTo>
                      <a:pt x="1103" y="1237"/>
                    </a:lnTo>
                    <a:lnTo>
                      <a:pt x="1103" y="1240"/>
                    </a:lnTo>
                    <a:lnTo>
                      <a:pt x="1103" y="1242"/>
                    </a:lnTo>
                    <a:lnTo>
                      <a:pt x="1103" y="1242"/>
                    </a:lnTo>
                    <a:lnTo>
                      <a:pt x="1103" y="1242"/>
                    </a:lnTo>
                    <a:lnTo>
                      <a:pt x="1101" y="1242"/>
                    </a:lnTo>
                    <a:lnTo>
                      <a:pt x="1101" y="1242"/>
                    </a:lnTo>
                    <a:lnTo>
                      <a:pt x="1103" y="1244"/>
                    </a:lnTo>
                    <a:lnTo>
                      <a:pt x="1101" y="1244"/>
                    </a:lnTo>
                    <a:lnTo>
                      <a:pt x="1101" y="1242"/>
                    </a:lnTo>
                    <a:lnTo>
                      <a:pt x="1101" y="1242"/>
                    </a:lnTo>
                    <a:lnTo>
                      <a:pt x="1101" y="1244"/>
                    </a:lnTo>
                    <a:lnTo>
                      <a:pt x="1101" y="1244"/>
                    </a:lnTo>
                    <a:lnTo>
                      <a:pt x="1101" y="1244"/>
                    </a:lnTo>
                    <a:lnTo>
                      <a:pt x="1101" y="1244"/>
                    </a:lnTo>
                    <a:lnTo>
                      <a:pt x="1099" y="1244"/>
                    </a:lnTo>
                    <a:lnTo>
                      <a:pt x="1099" y="1244"/>
                    </a:lnTo>
                    <a:lnTo>
                      <a:pt x="1096" y="1244"/>
                    </a:lnTo>
                    <a:lnTo>
                      <a:pt x="1096" y="1244"/>
                    </a:lnTo>
                    <a:lnTo>
                      <a:pt x="1094" y="1244"/>
                    </a:lnTo>
                    <a:lnTo>
                      <a:pt x="1094" y="1244"/>
                    </a:lnTo>
                    <a:lnTo>
                      <a:pt x="1094" y="1244"/>
                    </a:lnTo>
                    <a:lnTo>
                      <a:pt x="1094" y="1244"/>
                    </a:lnTo>
                    <a:lnTo>
                      <a:pt x="1094" y="1247"/>
                    </a:lnTo>
                    <a:lnTo>
                      <a:pt x="1094" y="1247"/>
                    </a:lnTo>
                    <a:lnTo>
                      <a:pt x="1094" y="1247"/>
                    </a:lnTo>
                    <a:lnTo>
                      <a:pt x="1094" y="1249"/>
                    </a:lnTo>
                    <a:lnTo>
                      <a:pt x="1092" y="1249"/>
                    </a:lnTo>
                    <a:lnTo>
                      <a:pt x="1092" y="1249"/>
                    </a:lnTo>
                    <a:lnTo>
                      <a:pt x="1092" y="1252"/>
                    </a:lnTo>
                    <a:lnTo>
                      <a:pt x="1092" y="1252"/>
                    </a:lnTo>
                    <a:lnTo>
                      <a:pt x="1092" y="1252"/>
                    </a:lnTo>
                    <a:lnTo>
                      <a:pt x="1092" y="1254"/>
                    </a:lnTo>
                    <a:lnTo>
                      <a:pt x="1092" y="1254"/>
                    </a:lnTo>
                    <a:lnTo>
                      <a:pt x="1092" y="1254"/>
                    </a:lnTo>
                    <a:lnTo>
                      <a:pt x="1089" y="1256"/>
                    </a:lnTo>
                    <a:lnTo>
                      <a:pt x="1089" y="1256"/>
                    </a:lnTo>
                    <a:lnTo>
                      <a:pt x="1089" y="1259"/>
                    </a:lnTo>
                    <a:lnTo>
                      <a:pt x="1089" y="1256"/>
                    </a:lnTo>
                    <a:lnTo>
                      <a:pt x="1089" y="1256"/>
                    </a:lnTo>
                    <a:lnTo>
                      <a:pt x="1089" y="1261"/>
                    </a:lnTo>
                    <a:lnTo>
                      <a:pt x="1089" y="1261"/>
                    </a:lnTo>
                    <a:lnTo>
                      <a:pt x="1089" y="1263"/>
                    </a:lnTo>
                    <a:lnTo>
                      <a:pt x="1089" y="1263"/>
                    </a:lnTo>
                    <a:lnTo>
                      <a:pt x="1089" y="1263"/>
                    </a:lnTo>
                    <a:lnTo>
                      <a:pt x="1087" y="1263"/>
                    </a:lnTo>
                    <a:lnTo>
                      <a:pt x="1089" y="1266"/>
                    </a:lnTo>
                    <a:lnTo>
                      <a:pt x="1087" y="1266"/>
                    </a:lnTo>
                    <a:lnTo>
                      <a:pt x="1087" y="1266"/>
                    </a:lnTo>
                    <a:lnTo>
                      <a:pt x="1087" y="1266"/>
                    </a:lnTo>
                    <a:lnTo>
                      <a:pt x="1087" y="1268"/>
                    </a:lnTo>
                    <a:lnTo>
                      <a:pt x="1087" y="1268"/>
                    </a:lnTo>
                    <a:lnTo>
                      <a:pt x="1087" y="1268"/>
                    </a:lnTo>
                    <a:lnTo>
                      <a:pt x="1087" y="1268"/>
                    </a:lnTo>
                    <a:lnTo>
                      <a:pt x="1087" y="1270"/>
                    </a:lnTo>
                    <a:lnTo>
                      <a:pt x="1087" y="1270"/>
                    </a:lnTo>
                    <a:lnTo>
                      <a:pt x="1087" y="1270"/>
                    </a:lnTo>
                    <a:lnTo>
                      <a:pt x="1089" y="1270"/>
                    </a:lnTo>
                    <a:lnTo>
                      <a:pt x="1089" y="1270"/>
                    </a:lnTo>
                    <a:lnTo>
                      <a:pt x="1087" y="1273"/>
                    </a:lnTo>
                    <a:lnTo>
                      <a:pt x="1087" y="1273"/>
                    </a:lnTo>
                    <a:lnTo>
                      <a:pt x="1087" y="1273"/>
                    </a:lnTo>
                    <a:lnTo>
                      <a:pt x="1087" y="1273"/>
                    </a:lnTo>
                    <a:lnTo>
                      <a:pt x="1087" y="1273"/>
                    </a:lnTo>
                    <a:lnTo>
                      <a:pt x="1085" y="1273"/>
                    </a:lnTo>
                    <a:lnTo>
                      <a:pt x="1085" y="1273"/>
                    </a:lnTo>
                    <a:lnTo>
                      <a:pt x="1085" y="1273"/>
                    </a:lnTo>
                    <a:lnTo>
                      <a:pt x="1085" y="1273"/>
                    </a:lnTo>
                    <a:lnTo>
                      <a:pt x="1085" y="1275"/>
                    </a:lnTo>
                    <a:lnTo>
                      <a:pt x="1085" y="1275"/>
                    </a:lnTo>
                    <a:lnTo>
                      <a:pt x="1085" y="1275"/>
                    </a:lnTo>
                    <a:lnTo>
                      <a:pt x="1082" y="1275"/>
                    </a:lnTo>
                    <a:lnTo>
                      <a:pt x="1082" y="1275"/>
                    </a:lnTo>
                    <a:lnTo>
                      <a:pt x="1082" y="1275"/>
                    </a:lnTo>
                    <a:lnTo>
                      <a:pt x="1082" y="1275"/>
                    </a:lnTo>
                    <a:lnTo>
                      <a:pt x="1082" y="1275"/>
                    </a:lnTo>
                    <a:lnTo>
                      <a:pt x="1080" y="1278"/>
                    </a:lnTo>
                    <a:lnTo>
                      <a:pt x="1080" y="1278"/>
                    </a:lnTo>
                    <a:lnTo>
                      <a:pt x="1080" y="1280"/>
                    </a:lnTo>
                    <a:lnTo>
                      <a:pt x="1080" y="1282"/>
                    </a:lnTo>
                    <a:lnTo>
                      <a:pt x="1080" y="1282"/>
                    </a:lnTo>
                    <a:lnTo>
                      <a:pt x="1080" y="1282"/>
                    </a:lnTo>
                    <a:lnTo>
                      <a:pt x="1077" y="1282"/>
                    </a:lnTo>
                    <a:lnTo>
                      <a:pt x="1077" y="1285"/>
                    </a:lnTo>
                    <a:lnTo>
                      <a:pt x="1075" y="1285"/>
                    </a:lnTo>
                    <a:lnTo>
                      <a:pt x="1075" y="1285"/>
                    </a:lnTo>
                    <a:lnTo>
                      <a:pt x="1075" y="1287"/>
                    </a:lnTo>
                    <a:lnTo>
                      <a:pt x="1075" y="1289"/>
                    </a:lnTo>
                    <a:lnTo>
                      <a:pt x="1075" y="1289"/>
                    </a:lnTo>
                    <a:lnTo>
                      <a:pt x="1075" y="1292"/>
                    </a:lnTo>
                    <a:lnTo>
                      <a:pt x="1073" y="1292"/>
                    </a:lnTo>
                    <a:lnTo>
                      <a:pt x="1073" y="1294"/>
                    </a:lnTo>
                    <a:lnTo>
                      <a:pt x="1073" y="1294"/>
                    </a:lnTo>
                    <a:lnTo>
                      <a:pt x="1073" y="1296"/>
                    </a:lnTo>
                    <a:lnTo>
                      <a:pt x="1070" y="1296"/>
                    </a:lnTo>
                    <a:lnTo>
                      <a:pt x="1070" y="1299"/>
                    </a:lnTo>
                    <a:lnTo>
                      <a:pt x="1070" y="1299"/>
                    </a:lnTo>
                    <a:lnTo>
                      <a:pt x="1070" y="1301"/>
                    </a:lnTo>
                    <a:lnTo>
                      <a:pt x="1068" y="1301"/>
                    </a:lnTo>
                    <a:lnTo>
                      <a:pt x="1068" y="1301"/>
                    </a:lnTo>
                    <a:lnTo>
                      <a:pt x="1068" y="1303"/>
                    </a:lnTo>
                    <a:lnTo>
                      <a:pt x="1068" y="1301"/>
                    </a:lnTo>
                    <a:lnTo>
                      <a:pt x="1068" y="1303"/>
                    </a:lnTo>
                    <a:lnTo>
                      <a:pt x="1070" y="1303"/>
                    </a:lnTo>
                    <a:lnTo>
                      <a:pt x="1068" y="1303"/>
                    </a:lnTo>
                    <a:lnTo>
                      <a:pt x="1068" y="1306"/>
                    </a:lnTo>
                    <a:lnTo>
                      <a:pt x="1068" y="1306"/>
                    </a:lnTo>
                    <a:lnTo>
                      <a:pt x="1070" y="1306"/>
                    </a:lnTo>
                    <a:lnTo>
                      <a:pt x="1070" y="1306"/>
                    </a:lnTo>
                    <a:lnTo>
                      <a:pt x="1070" y="1308"/>
                    </a:lnTo>
                    <a:lnTo>
                      <a:pt x="1070" y="1308"/>
                    </a:lnTo>
                    <a:lnTo>
                      <a:pt x="1070" y="1308"/>
                    </a:lnTo>
                    <a:lnTo>
                      <a:pt x="1070" y="1308"/>
                    </a:lnTo>
                    <a:lnTo>
                      <a:pt x="1070" y="1308"/>
                    </a:lnTo>
                    <a:lnTo>
                      <a:pt x="1070" y="1311"/>
                    </a:lnTo>
                    <a:lnTo>
                      <a:pt x="1070" y="1311"/>
                    </a:lnTo>
                    <a:lnTo>
                      <a:pt x="1070" y="1311"/>
                    </a:lnTo>
                    <a:lnTo>
                      <a:pt x="1070" y="1311"/>
                    </a:lnTo>
                    <a:lnTo>
                      <a:pt x="1070" y="1311"/>
                    </a:lnTo>
                    <a:lnTo>
                      <a:pt x="1070" y="1313"/>
                    </a:lnTo>
                    <a:lnTo>
                      <a:pt x="1070" y="1313"/>
                    </a:lnTo>
                    <a:lnTo>
                      <a:pt x="1070" y="1313"/>
                    </a:lnTo>
                    <a:lnTo>
                      <a:pt x="1070" y="1313"/>
                    </a:lnTo>
                    <a:lnTo>
                      <a:pt x="1068" y="1315"/>
                    </a:lnTo>
                    <a:lnTo>
                      <a:pt x="1070" y="1315"/>
                    </a:lnTo>
                    <a:lnTo>
                      <a:pt x="1070" y="1315"/>
                    </a:lnTo>
                    <a:lnTo>
                      <a:pt x="1068" y="1315"/>
                    </a:lnTo>
                    <a:lnTo>
                      <a:pt x="1068" y="1315"/>
                    </a:lnTo>
                    <a:lnTo>
                      <a:pt x="1068" y="1315"/>
                    </a:lnTo>
                    <a:lnTo>
                      <a:pt x="1068" y="1318"/>
                    </a:lnTo>
                    <a:lnTo>
                      <a:pt x="1066" y="1318"/>
                    </a:lnTo>
                    <a:lnTo>
                      <a:pt x="1066" y="1318"/>
                    </a:lnTo>
                    <a:lnTo>
                      <a:pt x="1066" y="1320"/>
                    </a:lnTo>
                    <a:lnTo>
                      <a:pt x="1066" y="1320"/>
                    </a:lnTo>
                    <a:lnTo>
                      <a:pt x="1066" y="1320"/>
                    </a:lnTo>
                    <a:lnTo>
                      <a:pt x="1066" y="1322"/>
                    </a:lnTo>
                    <a:lnTo>
                      <a:pt x="1066" y="1322"/>
                    </a:lnTo>
                    <a:lnTo>
                      <a:pt x="1066" y="1325"/>
                    </a:lnTo>
                    <a:lnTo>
                      <a:pt x="1066" y="1322"/>
                    </a:lnTo>
                    <a:lnTo>
                      <a:pt x="1066" y="1325"/>
                    </a:lnTo>
                    <a:lnTo>
                      <a:pt x="1066" y="1325"/>
                    </a:lnTo>
                    <a:lnTo>
                      <a:pt x="1066" y="1327"/>
                    </a:lnTo>
                    <a:lnTo>
                      <a:pt x="1066" y="1327"/>
                    </a:lnTo>
                    <a:lnTo>
                      <a:pt x="1066" y="1329"/>
                    </a:lnTo>
                    <a:lnTo>
                      <a:pt x="1066" y="1329"/>
                    </a:lnTo>
                    <a:lnTo>
                      <a:pt x="1066" y="1329"/>
                    </a:lnTo>
                    <a:lnTo>
                      <a:pt x="1063" y="1332"/>
                    </a:lnTo>
                    <a:lnTo>
                      <a:pt x="1063" y="1332"/>
                    </a:lnTo>
                    <a:lnTo>
                      <a:pt x="1066" y="1332"/>
                    </a:lnTo>
                    <a:lnTo>
                      <a:pt x="1063" y="1332"/>
                    </a:lnTo>
                    <a:lnTo>
                      <a:pt x="1063" y="1334"/>
                    </a:lnTo>
                    <a:lnTo>
                      <a:pt x="1066" y="1334"/>
                    </a:lnTo>
                    <a:lnTo>
                      <a:pt x="1063" y="1337"/>
                    </a:lnTo>
                    <a:lnTo>
                      <a:pt x="1066" y="1337"/>
                    </a:lnTo>
                    <a:lnTo>
                      <a:pt x="1066" y="1337"/>
                    </a:lnTo>
                    <a:lnTo>
                      <a:pt x="1066" y="1339"/>
                    </a:lnTo>
                    <a:lnTo>
                      <a:pt x="1066" y="1339"/>
                    </a:lnTo>
                    <a:lnTo>
                      <a:pt x="1066" y="1339"/>
                    </a:lnTo>
                    <a:lnTo>
                      <a:pt x="1066" y="1341"/>
                    </a:lnTo>
                    <a:lnTo>
                      <a:pt x="1063" y="1341"/>
                    </a:lnTo>
                    <a:lnTo>
                      <a:pt x="1063" y="1344"/>
                    </a:lnTo>
                    <a:lnTo>
                      <a:pt x="1063" y="1344"/>
                    </a:lnTo>
                    <a:lnTo>
                      <a:pt x="1063" y="1344"/>
                    </a:lnTo>
                    <a:lnTo>
                      <a:pt x="1063" y="1344"/>
                    </a:lnTo>
                    <a:lnTo>
                      <a:pt x="1063" y="1346"/>
                    </a:lnTo>
                    <a:lnTo>
                      <a:pt x="1063" y="1348"/>
                    </a:lnTo>
                    <a:lnTo>
                      <a:pt x="1063" y="1348"/>
                    </a:lnTo>
                    <a:lnTo>
                      <a:pt x="1066" y="1348"/>
                    </a:lnTo>
                    <a:lnTo>
                      <a:pt x="1063" y="1351"/>
                    </a:lnTo>
                    <a:lnTo>
                      <a:pt x="1066" y="1351"/>
                    </a:lnTo>
                    <a:lnTo>
                      <a:pt x="1066" y="1353"/>
                    </a:lnTo>
                    <a:lnTo>
                      <a:pt x="1063" y="1353"/>
                    </a:lnTo>
                    <a:lnTo>
                      <a:pt x="1066" y="1353"/>
                    </a:lnTo>
                    <a:lnTo>
                      <a:pt x="1066" y="1353"/>
                    </a:lnTo>
                    <a:lnTo>
                      <a:pt x="1066" y="1355"/>
                    </a:lnTo>
                    <a:lnTo>
                      <a:pt x="1066" y="1355"/>
                    </a:lnTo>
                    <a:lnTo>
                      <a:pt x="1068" y="1358"/>
                    </a:lnTo>
                    <a:lnTo>
                      <a:pt x="1068" y="1355"/>
                    </a:lnTo>
                    <a:lnTo>
                      <a:pt x="1068" y="1358"/>
                    </a:lnTo>
                    <a:lnTo>
                      <a:pt x="1070" y="1358"/>
                    </a:lnTo>
                    <a:lnTo>
                      <a:pt x="1070" y="1358"/>
                    </a:lnTo>
                    <a:lnTo>
                      <a:pt x="1070" y="1360"/>
                    </a:lnTo>
                    <a:lnTo>
                      <a:pt x="1073" y="1360"/>
                    </a:lnTo>
                    <a:lnTo>
                      <a:pt x="1073" y="1360"/>
                    </a:lnTo>
                    <a:lnTo>
                      <a:pt x="1073" y="1363"/>
                    </a:lnTo>
                    <a:lnTo>
                      <a:pt x="1075" y="1363"/>
                    </a:lnTo>
                    <a:lnTo>
                      <a:pt x="1073" y="1363"/>
                    </a:lnTo>
                    <a:lnTo>
                      <a:pt x="1075" y="1365"/>
                    </a:lnTo>
                    <a:lnTo>
                      <a:pt x="1075" y="1365"/>
                    </a:lnTo>
                    <a:lnTo>
                      <a:pt x="1075" y="1367"/>
                    </a:lnTo>
                    <a:lnTo>
                      <a:pt x="1077" y="1370"/>
                    </a:lnTo>
                    <a:lnTo>
                      <a:pt x="1077" y="1370"/>
                    </a:lnTo>
                    <a:lnTo>
                      <a:pt x="1077" y="1372"/>
                    </a:lnTo>
                    <a:lnTo>
                      <a:pt x="1077" y="1377"/>
                    </a:lnTo>
                    <a:lnTo>
                      <a:pt x="1077" y="1377"/>
                    </a:lnTo>
                    <a:lnTo>
                      <a:pt x="1080" y="1379"/>
                    </a:lnTo>
                    <a:lnTo>
                      <a:pt x="1080" y="1379"/>
                    </a:lnTo>
                    <a:lnTo>
                      <a:pt x="1080" y="1379"/>
                    </a:lnTo>
                    <a:lnTo>
                      <a:pt x="1080" y="1381"/>
                    </a:lnTo>
                    <a:lnTo>
                      <a:pt x="1082" y="1384"/>
                    </a:lnTo>
                    <a:lnTo>
                      <a:pt x="1085" y="1389"/>
                    </a:lnTo>
                    <a:lnTo>
                      <a:pt x="1085" y="1389"/>
                    </a:lnTo>
                    <a:lnTo>
                      <a:pt x="1087" y="1391"/>
                    </a:lnTo>
                    <a:lnTo>
                      <a:pt x="1087" y="1398"/>
                    </a:lnTo>
                    <a:lnTo>
                      <a:pt x="1073" y="1398"/>
                    </a:lnTo>
                    <a:lnTo>
                      <a:pt x="1070" y="1398"/>
                    </a:lnTo>
                    <a:lnTo>
                      <a:pt x="1070" y="1396"/>
                    </a:lnTo>
                    <a:lnTo>
                      <a:pt x="1070" y="1396"/>
                    </a:lnTo>
                    <a:lnTo>
                      <a:pt x="1068" y="1396"/>
                    </a:lnTo>
                    <a:lnTo>
                      <a:pt x="1066" y="1393"/>
                    </a:lnTo>
                    <a:lnTo>
                      <a:pt x="1066" y="1393"/>
                    </a:lnTo>
                    <a:lnTo>
                      <a:pt x="1063" y="1393"/>
                    </a:lnTo>
                    <a:lnTo>
                      <a:pt x="1056" y="1393"/>
                    </a:lnTo>
                    <a:lnTo>
                      <a:pt x="1054" y="1393"/>
                    </a:lnTo>
                    <a:lnTo>
                      <a:pt x="1054" y="1393"/>
                    </a:lnTo>
                    <a:lnTo>
                      <a:pt x="1052" y="1393"/>
                    </a:lnTo>
                    <a:lnTo>
                      <a:pt x="1049" y="1393"/>
                    </a:lnTo>
                    <a:lnTo>
                      <a:pt x="1047" y="1393"/>
                    </a:lnTo>
                    <a:lnTo>
                      <a:pt x="1044" y="1393"/>
                    </a:lnTo>
                    <a:lnTo>
                      <a:pt x="1044" y="1393"/>
                    </a:lnTo>
                    <a:lnTo>
                      <a:pt x="1044" y="1391"/>
                    </a:lnTo>
                    <a:lnTo>
                      <a:pt x="1042" y="1393"/>
                    </a:lnTo>
                    <a:lnTo>
                      <a:pt x="1042" y="1391"/>
                    </a:lnTo>
                    <a:lnTo>
                      <a:pt x="1042" y="1391"/>
                    </a:lnTo>
                    <a:lnTo>
                      <a:pt x="1040" y="1391"/>
                    </a:lnTo>
                    <a:lnTo>
                      <a:pt x="1040" y="1391"/>
                    </a:lnTo>
                    <a:lnTo>
                      <a:pt x="1040" y="1391"/>
                    </a:lnTo>
                    <a:lnTo>
                      <a:pt x="1040" y="1391"/>
                    </a:lnTo>
                    <a:lnTo>
                      <a:pt x="1040" y="1391"/>
                    </a:lnTo>
                    <a:lnTo>
                      <a:pt x="1040" y="1393"/>
                    </a:lnTo>
                    <a:lnTo>
                      <a:pt x="1037" y="1391"/>
                    </a:lnTo>
                    <a:lnTo>
                      <a:pt x="1037" y="1393"/>
                    </a:lnTo>
                    <a:lnTo>
                      <a:pt x="1037" y="1393"/>
                    </a:lnTo>
                    <a:lnTo>
                      <a:pt x="1037" y="1396"/>
                    </a:lnTo>
                    <a:lnTo>
                      <a:pt x="1037" y="1396"/>
                    </a:lnTo>
                    <a:lnTo>
                      <a:pt x="1035" y="1398"/>
                    </a:lnTo>
                    <a:lnTo>
                      <a:pt x="1035" y="1398"/>
                    </a:lnTo>
                    <a:lnTo>
                      <a:pt x="1035" y="1398"/>
                    </a:lnTo>
                    <a:lnTo>
                      <a:pt x="1033" y="1398"/>
                    </a:lnTo>
                    <a:lnTo>
                      <a:pt x="1030" y="1398"/>
                    </a:lnTo>
                    <a:lnTo>
                      <a:pt x="1030" y="1398"/>
                    </a:lnTo>
                    <a:lnTo>
                      <a:pt x="1030" y="1396"/>
                    </a:lnTo>
                    <a:lnTo>
                      <a:pt x="1028" y="1396"/>
                    </a:lnTo>
                    <a:lnTo>
                      <a:pt x="1026" y="1396"/>
                    </a:lnTo>
                    <a:lnTo>
                      <a:pt x="1026" y="1396"/>
                    </a:lnTo>
                    <a:lnTo>
                      <a:pt x="1026" y="1393"/>
                    </a:lnTo>
                    <a:lnTo>
                      <a:pt x="1023" y="1393"/>
                    </a:lnTo>
                    <a:lnTo>
                      <a:pt x="1023" y="1393"/>
                    </a:lnTo>
                    <a:lnTo>
                      <a:pt x="1021" y="1393"/>
                    </a:lnTo>
                    <a:lnTo>
                      <a:pt x="1021" y="1393"/>
                    </a:lnTo>
                    <a:lnTo>
                      <a:pt x="1018" y="1393"/>
                    </a:lnTo>
                    <a:lnTo>
                      <a:pt x="1018" y="1391"/>
                    </a:lnTo>
                    <a:lnTo>
                      <a:pt x="1018" y="1391"/>
                    </a:lnTo>
                    <a:lnTo>
                      <a:pt x="1016" y="1391"/>
                    </a:lnTo>
                    <a:lnTo>
                      <a:pt x="1016" y="1391"/>
                    </a:lnTo>
                    <a:lnTo>
                      <a:pt x="1016" y="1391"/>
                    </a:lnTo>
                    <a:lnTo>
                      <a:pt x="1011" y="1391"/>
                    </a:lnTo>
                    <a:lnTo>
                      <a:pt x="1011" y="1391"/>
                    </a:lnTo>
                    <a:lnTo>
                      <a:pt x="1009" y="1391"/>
                    </a:lnTo>
                    <a:lnTo>
                      <a:pt x="1009" y="1393"/>
                    </a:lnTo>
                    <a:lnTo>
                      <a:pt x="1009" y="1393"/>
                    </a:lnTo>
                    <a:lnTo>
                      <a:pt x="1007" y="1396"/>
                    </a:lnTo>
                    <a:lnTo>
                      <a:pt x="1007" y="1393"/>
                    </a:lnTo>
                    <a:lnTo>
                      <a:pt x="1004" y="1393"/>
                    </a:lnTo>
                    <a:lnTo>
                      <a:pt x="1004" y="1393"/>
                    </a:lnTo>
                    <a:lnTo>
                      <a:pt x="1004" y="1393"/>
                    </a:lnTo>
                    <a:lnTo>
                      <a:pt x="1002" y="1393"/>
                    </a:lnTo>
                    <a:lnTo>
                      <a:pt x="1002" y="1393"/>
                    </a:lnTo>
                    <a:lnTo>
                      <a:pt x="1002" y="1393"/>
                    </a:lnTo>
                    <a:lnTo>
                      <a:pt x="997" y="1393"/>
                    </a:lnTo>
                    <a:lnTo>
                      <a:pt x="997" y="1393"/>
                    </a:lnTo>
                    <a:lnTo>
                      <a:pt x="995" y="1391"/>
                    </a:lnTo>
                    <a:lnTo>
                      <a:pt x="995" y="1391"/>
                    </a:lnTo>
                    <a:lnTo>
                      <a:pt x="995" y="1391"/>
                    </a:lnTo>
                    <a:lnTo>
                      <a:pt x="995" y="1391"/>
                    </a:lnTo>
                    <a:lnTo>
                      <a:pt x="995" y="1391"/>
                    </a:lnTo>
                    <a:lnTo>
                      <a:pt x="992" y="1391"/>
                    </a:lnTo>
                    <a:lnTo>
                      <a:pt x="992" y="1389"/>
                    </a:lnTo>
                    <a:lnTo>
                      <a:pt x="992" y="1389"/>
                    </a:lnTo>
                    <a:lnTo>
                      <a:pt x="992" y="1389"/>
                    </a:lnTo>
                    <a:lnTo>
                      <a:pt x="992" y="1389"/>
                    </a:lnTo>
                    <a:lnTo>
                      <a:pt x="992" y="1389"/>
                    </a:lnTo>
                    <a:lnTo>
                      <a:pt x="990" y="1389"/>
                    </a:lnTo>
                    <a:lnTo>
                      <a:pt x="990" y="1389"/>
                    </a:lnTo>
                    <a:lnTo>
                      <a:pt x="990" y="1386"/>
                    </a:lnTo>
                    <a:lnTo>
                      <a:pt x="990" y="1386"/>
                    </a:lnTo>
                    <a:lnTo>
                      <a:pt x="990" y="1386"/>
                    </a:lnTo>
                    <a:lnTo>
                      <a:pt x="990" y="1384"/>
                    </a:lnTo>
                    <a:lnTo>
                      <a:pt x="988" y="1384"/>
                    </a:lnTo>
                    <a:lnTo>
                      <a:pt x="988" y="1384"/>
                    </a:lnTo>
                    <a:lnTo>
                      <a:pt x="988" y="1384"/>
                    </a:lnTo>
                    <a:lnTo>
                      <a:pt x="988" y="1384"/>
                    </a:lnTo>
                    <a:lnTo>
                      <a:pt x="988" y="1384"/>
                    </a:lnTo>
                    <a:lnTo>
                      <a:pt x="985" y="1384"/>
                    </a:lnTo>
                    <a:lnTo>
                      <a:pt x="985" y="1381"/>
                    </a:lnTo>
                    <a:lnTo>
                      <a:pt x="983" y="1381"/>
                    </a:lnTo>
                    <a:lnTo>
                      <a:pt x="985" y="1384"/>
                    </a:lnTo>
                    <a:lnTo>
                      <a:pt x="983" y="1384"/>
                    </a:lnTo>
                    <a:lnTo>
                      <a:pt x="983" y="1381"/>
                    </a:lnTo>
                    <a:lnTo>
                      <a:pt x="981" y="1381"/>
                    </a:lnTo>
                    <a:lnTo>
                      <a:pt x="981" y="1381"/>
                    </a:lnTo>
                    <a:lnTo>
                      <a:pt x="981" y="1381"/>
                    </a:lnTo>
                    <a:lnTo>
                      <a:pt x="981" y="1381"/>
                    </a:lnTo>
                    <a:lnTo>
                      <a:pt x="978" y="1381"/>
                    </a:lnTo>
                    <a:lnTo>
                      <a:pt x="978" y="1381"/>
                    </a:lnTo>
                    <a:lnTo>
                      <a:pt x="976" y="1381"/>
                    </a:lnTo>
                    <a:lnTo>
                      <a:pt x="976" y="1381"/>
                    </a:lnTo>
                    <a:lnTo>
                      <a:pt x="976" y="1384"/>
                    </a:lnTo>
                    <a:lnTo>
                      <a:pt x="974" y="1381"/>
                    </a:lnTo>
                    <a:lnTo>
                      <a:pt x="976" y="1381"/>
                    </a:lnTo>
                    <a:lnTo>
                      <a:pt x="974" y="1381"/>
                    </a:lnTo>
                    <a:lnTo>
                      <a:pt x="976" y="1379"/>
                    </a:lnTo>
                    <a:lnTo>
                      <a:pt x="974" y="1379"/>
                    </a:lnTo>
                    <a:lnTo>
                      <a:pt x="974" y="1377"/>
                    </a:lnTo>
                    <a:lnTo>
                      <a:pt x="974" y="1377"/>
                    </a:lnTo>
                    <a:lnTo>
                      <a:pt x="976" y="1374"/>
                    </a:lnTo>
                    <a:lnTo>
                      <a:pt x="976" y="1374"/>
                    </a:lnTo>
                    <a:lnTo>
                      <a:pt x="976" y="1372"/>
                    </a:lnTo>
                    <a:lnTo>
                      <a:pt x="981" y="1367"/>
                    </a:lnTo>
                    <a:lnTo>
                      <a:pt x="981" y="1365"/>
                    </a:lnTo>
                    <a:lnTo>
                      <a:pt x="981" y="1365"/>
                    </a:lnTo>
                    <a:lnTo>
                      <a:pt x="981" y="1363"/>
                    </a:lnTo>
                    <a:lnTo>
                      <a:pt x="983" y="1360"/>
                    </a:lnTo>
                    <a:lnTo>
                      <a:pt x="983" y="1358"/>
                    </a:lnTo>
                    <a:lnTo>
                      <a:pt x="983" y="1358"/>
                    </a:lnTo>
                    <a:lnTo>
                      <a:pt x="985" y="1358"/>
                    </a:lnTo>
                    <a:lnTo>
                      <a:pt x="988" y="1355"/>
                    </a:lnTo>
                    <a:lnTo>
                      <a:pt x="988" y="1353"/>
                    </a:lnTo>
                    <a:lnTo>
                      <a:pt x="988" y="1353"/>
                    </a:lnTo>
                    <a:lnTo>
                      <a:pt x="992" y="1351"/>
                    </a:lnTo>
                    <a:lnTo>
                      <a:pt x="992" y="1351"/>
                    </a:lnTo>
                    <a:lnTo>
                      <a:pt x="995" y="1351"/>
                    </a:lnTo>
                    <a:lnTo>
                      <a:pt x="997" y="1351"/>
                    </a:lnTo>
                    <a:lnTo>
                      <a:pt x="997" y="1351"/>
                    </a:lnTo>
                    <a:lnTo>
                      <a:pt x="1000" y="1351"/>
                    </a:lnTo>
                    <a:lnTo>
                      <a:pt x="1000" y="1351"/>
                    </a:lnTo>
                    <a:lnTo>
                      <a:pt x="1002" y="1348"/>
                    </a:lnTo>
                    <a:lnTo>
                      <a:pt x="1004" y="1348"/>
                    </a:lnTo>
                    <a:lnTo>
                      <a:pt x="1007" y="1348"/>
                    </a:lnTo>
                    <a:lnTo>
                      <a:pt x="1007" y="1348"/>
                    </a:lnTo>
                    <a:lnTo>
                      <a:pt x="1009" y="1296"/>
                    </a:lnTo>
                    <a:lnTo>
                      <a:pt x="1007" y="1294"/>
                    </a:lnTo>
                    <a:lnTo>
                      <a:pt x="1007" y="1292"/>
                    </a:lnTo>
                    <a:lnTo>
                      <a:pt x="1007" y="1292"/>
                    </a:lnTo>
                    <a:lnTo>
                      <a:pt x="1002" y="1292"/>
                    </a:lnTo>
                    <a:lnTo>
                      <a:pt x="1000" y="1294"/>
                    </a:lnTo>
                    <a:lnTo>
                      <a:pt x="1000" y="1294"/>
                    </a:lnTo>
                    <a:lnTo>
                      <a:pt x="1000" y="1294"/>
                    </a:lnTo>
                    <a:lnTo>
                      <a:pt x="1000" y="1296"/>
                    </a:lnTo>
                    <a:lnTo>
                      <a:pt x="997" y="1296"/>
                    </a:lnTo>
                    <a:lnTo>
                      <a:pt x="997" y="1299"/>
                    </a:lnTo>
                    <a:lnTo>
                      <a:pt x="992" y="1299"/>
                    </a:lnTo>
                    <a:lnTo>
                      <a:pt x="992" y="1301"/>
                    </a:lnTo>
                    <a:lnTo>
                      <a:pt x="990" y="1303"/>
                    </a:lnTo>
                    <a:lnTo>
                      <a:pt x="990" y="1303"/>
                    </a:lnTo>
                    <a:lnTo>
                      <a:pt x="990" y="1306"/>
                    </a:lnTo>
                    <a:lnTo>
                      <a:pt x="990" y="1308"/>
                    </a:lnTo>
                    <a:lnTo>
                      <a:pt x="985" y="1311"/>
                    </a:lnTo>
                    <a:lnTo>
                      <a:pt x="983" y="1311"/>
                    </a:lnTo>
                    <a:lnTo>
                      <a:pt x="983" y="1313"/>
                    </a:lnTo>
                    <a:lnTo>
                      <a:pt x="981" y="1318"/>
                    </a:lnTo>
                    <a:lnTo>
                      <a:pt x="978" y="1318"/>
                    </a:lnTo>
                    <a:lnTo>
                      <a:pt x="978" y="1318"/>
                    </a:lnTo>
                    <a:lnTo>
                      <a:pt x="978" y="1320"/>
                    </a:lnTo>
                    <a:lnTo>
                      <a:pt x="976" y="1320"/>
                    </a:lnTo>
                    <a:lnTo>
                      <a:pt x="974" y="1322"/>
                    </a:lnTo>
                    <a:lnTo>
                      <a:pt x="971" y="1322"/>
                    </a:lnTo>
                    <a:lnTo>
                      <a:pt x="971" y="1325"/>
                    </a:lnTo>
                    <a:lnTo>
                      <a:pt x="971" y="1325"/>
                    </a:lnTo>
                    <a:lnTo>
                      <a:pt x="971" y="1325"/>
                    </a:lnTo>
                    <a:lnTo>
                      <a:pt x="969" y="1325"/>
                    </a:lnTo>
                    <a:lnTo>
                      <a:pt x="969" y="1325"/>
                    </a:lnTo>
                    <a:lnTo>
                      <a:pt x="964" y="1325"/>
                    </a:lnTo>
                    <a:lnTo>
                      <a:pt x="964" y="1327"/>
                    </a:lnTo>
                    <a:lnTo>
                      <a:pt x="964" y="1327"/>
                    </a:lnTo>
                    <a:lnTo>
                      <a:pt x="962" y="1327"/>
                    </a:lnTo>
                    <a:lnTo>
                      <a:pt x="962" y="1329"/>
                    </a:lnTo>
                    <a:lnTo>
                      <a:pt x="962" y="1327"/>
                    </a:lnTo>
                    <a:lnTo>
                      <a:pt x="962" y="1329"/>
                    </a:lnTo>
                    <a:lnTo>
                      <a:pt x="962" y="1329"/>
                    </a:lnTo>
                    <a:lnTo>
                      <a:pt x="962" y="1332"/>
                    </a:lnTo>
                    <a:lnTo>
                      <a:pt x="962" y="1332"/>
                    </a:lnTo>
                    <a:lnTo>
                      <a:pt x="962" y="1332"/>
                    </a:lnTo>
                    <a:lnTo>
                      <a:pt x="962" y="1334"/>
                    </a:lnTo>
                    <a:lnTo>
                      <a:pt x="962" y="1337"/>
                    </a:lnTo>
                    <a:lnTo>
                      <a:pt x="962" y="1337"/>
                    </a:lnTo>
                    <a:lnTo>
                      <a:pt x="959" y="1339"/>
                    </a:lnTo>
                    <a:lnTo>
                      <a:pt x="959" y="1339"/>
                    </a:lnTo>
                    <a:lnTo>
                      <a:pt x="957" y="1341"/>
                    </a:lnTo>
                    <a:lnTo>
                      <a:pt x="959" y="1344"/>
                    </a:lnTo>
                    <a:lnTo>
                      <a:pt x="957" y="1344"/>
                    </a:lnTo>
                    <a:lnTo>
                      <a:pt x="957" y="1344"/>
                    </a:lnTo>
                    <a:lnTo>
                      <a:pt x="955" y="1344"/>
                    </a:lnTo>
                    <a:lnTo>
                      <a:pt x="955" y="1344"/>
                    </a:lnTo>
                    <a:lnTo>
                      <a:pt x="955" y="1344"/>
                    </a:lnTo>
                    <a:lnTo>
                      <a:pt x="955" y="1344"/>
                    </a:lnTo>
                    <a:lnTo>
                      <a:pt x="952" y="1344"/>
                    </a:lnTo>
                    <a:lnTo>
                      <a:pt x="952" y="1344"/>
                    </a:lnTo>
                    <a:lnTo>
                      <a:pt x="950" y="1341"/>
                    </a:lnTo>
                    <a:lnTo>
                      <a:pt x="950" y="1344"/>
                    </a:lnTo>
                    <a:lnTo>
                      <a:pt x="948" y="1341"/>
                    </a:lnTo>
                    <a:lnTo>
                      <a:pt x="948" y="1341"/>
                    </a:lnTo>
                    <a:lnTo>
                      <a:pt x="945" y="1341"/>
                    </a:lnTo>
                    <a:lnTo>
                      <a:pt x="945" y="1341"/>
                    </a:lnTo>
                    <a:lnTo>
                      <a:pt x="943" y="1344"/>
                    </a:lnTo>
                    <a:lnTo>
                      <a:pt x="943" y="1344"/>
                    </a:lnTo>
                    <a:lnTo>
                      <a:pt x="943" y="1344"/>
                    </a:lnTo>
                    <a:lnTo>
                      <a:pt x="940" y="1344"/>
                    </a:lnTo>
                    <a:lnTo>
                      <a:pt x="938" y="1344"/>
                    </a:lnTo>
                    <a:lnTo>
                      <a:pt x="938" y="1344"/>
                    </a:lnTo>
                    <a:lnTo>
                      <a:pt x="936" y="1346"/>
                    </a:lnTo>
                    <a:lnTo>
                      <a:pt x="936" y="1346"/>
                    </a:lnTo>
                    <a:lnTo>
                      <a:pt x="933" y="1348"/>
                    </a:lnTo>
                    <a:lnTo>
                      <a:pt x="933" y="1348"/>
                    </a:lnTo>
                    <a:lnTo>
                      <a:pt x="931" y="1348"/>
                    </a:lnTo>
                    <a:lnTo>
                      <a:pt x="931" y="1348"/>
                    </a:lnTo>
                    <a:lnTo>
                      <a:pt x="929" y="1348"/>
                    </a:lnTo>
                    <a:lnTo>
                      <a:pt x="929" y="1348"/>
                    </a:lnTo>
                    <a:lnTo>
                      <a:pt x="926" y="1348"/>
                    </a:lnTo>
                    <a:lnTo>
                      <a:pt x="926" y="1348"/>
                    </a:lnTo>
                    <a:lnTo>
                      <a:pt x="924" y="1348"/>
                    </a:lnTo>
                    <a:lnTo>
                      <a:pt x="924" y="1348"/>
                    </a:lnTo>
                    <a:lnTo>
                      <a:pt x="924" y="1346"/>
                    </a:lnTo>
                    <a:lnTo>
                      <a:pt x="924" y="1348"/>
                    </a:lnTo>
                    <a:lnTo>
                      <a:pt x="922" y="1346"/>
                    </a:lnTo>
                    <a:lnTo>
                      <a:pt x="919" y="1346"/>
                    </a:lnTo>
                    <a:lnTo>
                      <a:pt x="919" y="1344"/>
                    </a:lnTo>
                    <a:lnTo>
                      <a:pt x="922" y="1341"/>
                    </a:lnTo>
                    <a:lnTo>
                      <a:pt x="919" y="1341"/>
                    </a:lnTo>
                    <a:lnTo>
                      <a:pt x="919" y="1341"/>
                    </a:lnTo>
                    <a:lnTo>
                      <a:pt x="919" y="1341"/>
                    </a:lnTo>
                    <a:lnTo>
                      <a:pt x="919" y="1339"/>
                    </a:lnTo>
                    <a:lnTo>
                      <a:pt x="919" y="1339"/>
                    </a:lnTo>
                    <a:lnTo>
                      <a:pt x="919" y="1337"/>
                    </a:lnTo>
                    <a:lnTo>
                      <a:pt x="919" y="1339"/>
                    </a:lnTo>
                    <a:lnTo>
                      <a:pt x="919" y="1337"/>
                    </a:lnTo>
                    <a:lnTo>
                      <a:pt x="919" y="1337"/>
                    </a:lnTo>
                    <a:lnTo>
                      <a:pt x="917" y="1337"/>
                    </a:lnTo>
                    <a:lnTo>
                      <a:pt x="917" y="1334"/>
                    </a:lnTo>
                    <a:lnTo>
                      <a:pt x="917" y="1334"/>
                    </a:lnTo>
                    <a:lnTo>
                      <a:pt x="917" y="1334"/>
                    </a:lnTo>
                    <a:lnTo>
                      <a:pt x="914" y="1332"/>
                    </a:lnTo>
                    <a:lnTo>
                      <a:pt x="914" y="1334"/>
                    </a:lnTo>
                    <a:lnTo>
                      <a:pt x="914" y="1332"/>
                    </a:lnTo>
                    <a:lnTo>
                      <a:pt x="910" y="1332"/>
                    </a:lnTo>
                    <a:lnTo>
                      <a:pt x="907" y="1329"/>
                    </a:lnTo>
                    <a:lnTo>
                      <a:pt x="907" y="1329"/>
                    </a:lnTo>
                    <a:lnTo>
                      <a:pt x="907" y="1329"/>
                    </a:lnTo>
                    <a:lnTo>
                      <a:pt x="907" y="1327"/>
                    </a:lnTo>
                    <a:lnTo>
                      <a:pt x="907" y="1327"/>
                    </a:lnTo>
                    <a:lnTo>
                      <a:pt x="907" y="1327"/>
                    </a:lnTo>
                    <a:lnTo>
                      <a:pt x="907" y="1327"/>
                    </a:lnTo>
                    <a:lnTo>
                      <a:pt x="905" y="1325"/>
                    </a:lnTo>
                    <a:lnTo>
                      <a:pt x="903" y="1325"/>
                    </a:lnTo>
                    <a:lnTo>
                      <a:pt x="900" y="1325"/>
                    </a:lnTo>
                    <a:lnTo>
                      <a:pt x="900" y="1325"/>
                    </a:lnTo>
                    <a:lnTo>
                      <a:pt x="898" y="1327"/>
                    </a:lnTo>
                    <a:lnTo>
                      <a:pt x="898" y="1325"/>
                    </a:lnTo>
                    <a:lnTo>
                      <a:pt x="896" y="1325"/>
                    </a:lnTo>
                    <a:lnTo>
                      <a:pt x="896" y="1325"/>
                    </a:lnTo>
                    <a:lnTo>
                      <a:pt x="896" y="1325"/>
                    </a:lnTo>
                    <a:lnTo>
                      <a:pt x="893" y="1325"/>
                    </a:lnTo>
                    <a:lnTo>
                      <a:pt x="891" y="1327"/>
                    </a:lnTo>
                    <a:lnTo>
                      <a:pt x="889" y="1327"/>
                    </a:lnTo>
                    <a:lnTo>
                      <a:pt x="886" y="1327"/>
                    </a:lnTo>
                    <a:lnTo>
                      <a:pt x="886" y="1327"/>
                    </a:lnTo>
                    <a:lnTo>
                      <a:pt x="884" y="1327"/>
                    </a:lnTo>
                    <a:lnTo>
                      <a:pt x="881" y="1327"/>
                    </a:lnTo>
                    <a:lnTo>
                      <a:pt x="881" y="1329"/>
                    </a:lnTo>
                    <a:lnTo>
                      <a:pt x="881" y="1327"/>
                    </a:lnTo>
                    <a:lnTo>
                      <a:pt x="879" y="1327"/>
                    </a:lnTo>
                    <a:lnTo>
                      <a:pt x="879" y="1329"/>
                    </a:lnTo>
                    <a:lnTo>
                      <a:pt x="879" y="1329"/>
                    </a:lnTo>
                    <a:lnTo>
                      <a:pt x="877" y="1329"/>
                    </a:lnTo>
                    <a:lnTo>
                      <a:pt x="877" y="1329"/>
                    </a:lnTo>
                    <a:lnTo>
                      <a:pt x="874" y="1329"/>
                    </a:lnTo>
                    <a:lnTo>
                      <a:pt x="872" y="1332"/>
                    </a:lnTo>
                    <a:lnTo>
                      <a:pt x="872" y="1334"/>
                    </a:lnTo>
                    <a:lnTo>
                      <a:pt x="872" y="1334"/>
                    </a:lnTo>
                    <a:lnTo>
                      <a:pt x="872" y="1334"/>
                    </a:lnTo>
                    <a:lnTo>
                      <a:pt x="872" y="1337"/>
                    </a:lnTo>
                    <a:lnTo>
                      <a:pt x="872" y="1337"/>
                    </a:lnTo>
                    <a:lnTo>
                      <a:pt x="872" y="1337"/>
                    </a:lnTo>
                    <a:lnTo>
                      <a:pt x="870" y="1337"/>
                    </a:lnTo>
                    <a:lnTo>
                      <a:pt x="867" y="1339"/>
                    </a:lnTo>
                    <a:lnTo>
                      <a:pt x="867" y="1339"/>
                    </a:lnTo>
                    <a:lnTo>
                      <a:pt x="865" y="1339"/>
                    </a:lnTo>
                    <a:lnTo>
                      <a:pt x="865" y="1339"/>
                    </a:lnTo>
                    <a:lnTo>
                      <a:pt x="865" y="1341"/>
                    </a:lnTo>
                    <a:lnTo>
                      <a:pt x="865" y="1341"/>
                    </a:lnTo>
                    <a:lnTo>
                      <a:pt x="863" y="1344"/>
                    </a:lnTo>
                    <a:lnTo>
                      <a:pt x="860" y="1344"/>
                    </a:lnTo>
                    <a:lnTo>
                      <a:pt x="860" y="1344"/>
                    </a:lnTo>
                    <a:lnTo>
                      <a:pt x="855" y="1344"/>
                    </a:lnTo>
                    <a:lnTo>
                      <a:pt x="855" y="1344"/>
                    </a:lnTo>
                    <a:lnTo>
                      <a:pt x="853" y="1341"/>
                    </a:lnTo>
                    <a:lnTo>
                      <a:pt x="853" y="1341"/>
                    </a:lnTo>
                    <a:lnTo>
                      <a:pt x="848" y="1341"/>
                    </a:lnTo>
                    <a:lnTo>
                      <a:pt x="848" y="1344"/>
                    </a:lnTo>
                    <a:lnTo>
                      <a:pt x="846" y="1344"/>
                    </a:lnTo>
                    <a:lnTo>
                      <a:pt x="846" y="1344"/>
                    </a:lnTo>
                    <a:lnTo>
                      <a:pt x="846" y="1344"/>
                    </a:lnTo>
                    <a:lnTo>
                      <a:pt x="844" y="1344"/>
                    </a:lnTo>
                    <a:lnTo>
                      <a:pt x="844" y="1344"/>
                    </a:lnTo>
                    <a:lnTo>
                      <a:pt x="844" y="1346"/>
                    </a:lnTo>
                    <a:lnTo>
                      <a:pt x="844" y="1346"/>
                    </a:lnTo>
                    <a:lnTo>
                      <a:pt x="841" y="1346"/>
                    </a:lnTo>
                    <a:lnTo>
                      <a:pt x="841" y="1344"/>
                    </a:lnTo>
                    <a:lnTo>
                      <a:pt x="841" y="1346"/>
                    </a:lnTo>
                    <a:lnTo>
                      <a:pt x="839" y="1344"/>
                    </a:lnTo>
                    <a:lnTo>
                      <a:pt x="839" y="1346"/>
                    </a:lnTo>
                    <a:lnTo>
                      <a:pt x="839" y="1346"/>
                    </a:lnTo>
                    <a:lnTo>
                      <a:pt x="839" y="1346"/>
                    </a:lnTo>
                    <a:lnTo>
                      <a:pt x="839" y="1346"/>
                    </a:lnTo>
                    <a:lnTo>
                      <a:pt x="837" y="1346"/>
                    </a:lnTo>
                    <a:lnTo>
                      <a:pt x="837" y="1346"/>
                    </a:lnTo>
                    <a:lnTo>
                      <a:pt x="837" y="1346"/>
                    </a:lnTo>
                    <a:lnTo>
                      <a:pt x="837" y="1346"/>
                    </a:lnTo>
                    <a:lnTo>
                      <a:pt x="834" y="1346"/>
                    </a:lnTo>
                    <a:lnTo>
                      <a:pt x="834" y="1346"/>
                    </a:lnTo>
                    <a:lnTo>
                      <a:pt x="834" y="1346"/>
                    </a:lnTo>
                    <a:lnTo>
                      <a:pt x="832" y="1346"/>
                    </a:lnTo>
                    <a:lnTo>
                      <a:pt x="832" y="1344"/>
                    </a:lnTo>
                    <a:lnTo>
                      <a:pt x="832" y="1346"/>
                    </a:lnTo>
                    <a:lnTo>
                      <a:pt x="832" y="1344"/>
                    </a:lnTo>
                    <a:lnTo>
                      <a:pt x="829" y="1346"/>
                    </a:lnTo>
                    <a:lnTo>
                      <a:pt x="829" y="1344"/>
                    </a:lnTo>
                    <a:lnTo>
                      <a:pt x="829" y="1346"/>
                    </a:lnTo>
                    <a:lnTo>
                      <a:pt x="827" y="1344"/>
                    </a:lnTo>
                    <a:lnTo>
                      <a:pt x="827" y="1346"/>
                    </a:lnTo>
                    <a:lnTo>
                      <a:pt x="825" y="1348"/>
                    </a:lnTo>
                    <a:lnTo>
                      <a:pt x="825" y="1346"/>
                    </a:lnTo>
                    <a:lnTo>
                      <a:pt x="825" y="1346"/>
                    </a:lnTo>
                    <a:lnTo>
                      <a:pt x="822" y="1346"/>
                    </a:lnTo>
                    <a:lnTo>
                      <a:pt x="822" y="1346"/>
                    </a:lnTo>
                    <a:lnTo>
                      <a:pt x="820" y="1346"/>
                    </a:lnTo>
                    <a:lnTo>
                      <a:pt x="820" y="1346"/>
                    </a:lnTo>
                    <a:lnTo>
                      <a:pt x="820" y="1346"/>
                    </a:lnTo>
                    <a:lnTo>
                      <a:pt x="820" y="1346"/>
                    </a:lnTo>
                    <a:lnTo>
                      <a:pt x="820" y="1346"/>
                    </a:lnTo>
                    <a:lnTo>
                      <a:pt x="820" y="1344"/>
                    </a:lnTo>
                    <a:lnTo>
                      <a:pt x="818" y="1344"/>
                    </a:lnTo>
                    <a:lnTo>
                      <a:pt x="818" y="1344"/>
                    </a:lnTo>
                    <a:lnTo>
                      <a:pt x="818" y="1344"/>
                    </a:lnTo>
                    <a:lnTo>
                      <a:pt x="815" y="1344"/>
                    </a:lnTo>
                    <a:lnTo>
                      <a:pt x="815" y="1344"/>
                    </a:lnTo>
                    <a:lnTo>
                      <a:pt x="813" y="1344"/>
                    </a:lnTo>
                    <a:lnTo>
                      <a:pt x="813" y="1341"/>
                    </a:lnTo>
                    <a:lnTo>
                      <a:pt x="815" y="1344"/>
                    </a:lnTo>
                    <a:lnTo>
                      <a:pt x="815" y="1341"/>
                    </a:lnTo>
                    <a:lnTo>
                      <a:pt x="813" y="1341"/>
                    </a:lnTo>
                    <a:lnTo>
                      <a:pt x="813" y="1339"/>
                    </a:lnTo>
                    <a:lnTo>
                      <a:pt x="813" y="1339"/>
                    </a:lnTo>
                    <a:lnTo>
                      <a:pt x="813" y="1341"/>
                    </a:lnTo>
                    <a:lnTo>
                      <a:pt x="811" y="1339"/>
                    </a:lnTo>
                    <a:lnTo>
                      <a:pt x="811" y="1341"/>
                    </a:lnTo>
                    <a:lnTo>
                      <a:pt x="811" y="1339"/>
                    </a:lnTo>
                    <a:lnTo>
                      <a:pt x="811" y="1339"/>
                    </a:lnTo>
                    <a:lnTo>
                      <a:pt x="811" y="1339"/>
                    </a:lnTo>
                    <a:lnTo>
                      <a:pt x="811" y="1339"/>
                    </a:lnTo>
                    <a:lnTo>
                      <a:pt x="808" y="1339"/>
                    </a:lnTo>
                    <a:lnTo>
                      <a:pt x="808" y="1337"/>
                    </a:lnTo>
                    <a:lnTo>
                      <a:pt x="808" y="1337"/>
                    </a:lnTo>
                    <a:lnTo>
                      <a:pt x="808" y="1337"/>
                    </a:lnTo>
                    <a:lnTo>
                      <a:pt x="808" y="1337"/>
                    </a:lnTo>
                    <a:lnTo>
                      <a:pt x="808" y="1334"/>
                    </a:lnTo>
                    <a:lnTo>
                      <a:pt x="808" y="1337"/>
                    </a:lnTo>
                    <a:lnTo>
                      <a:pt x="806" y="1337"/>
                    </a:lnTo>
                    <a:lnTo>
                      <a:pt x="806" y="1337"/>
                    </a:lnTo>
                    <a:lnTo>
                      <a:pt x="806" y="1334"/>
                    </a:lnTo>
                    <a:lnTo>
                      <a:pt x="806" y="1337"/>
                    </a:lnTo>
                    <a:lnTo>
                      <a:pt x="806" y="1334"/>
                    </a:lnTo>
                    <a:lnTo>
                      <a:pt x="803" y="1334"/>
                    </a:lnTo>
                    <a:lnTo>
                      <a:pt x="806" y="1334"/>
                    </a:lnTo>
                    <a:lnTo>
                      <a:pt x="803" y="1334"/>
                    </a:lnTo>
                    <a:lnTo>
                      <a:pt x="801" y="1334"/>
                    </a:lnTo>
                    <a:lnTo>
                      <a:pt x="801" y="1334"/>
                    </a:lnTo>
                    <a:lnTo>
                      <a:pt x="799" y="1334"/>
                    </a:lnTo>
                    <a:lnTo>
                      <a:pt x="801" y="1334"/>
                    </a:lnTo>
                    <a:lnTo>
                      <a:pt x="801" y="1334"/>
                    </a:lnTo>
                    <a:lnTo>
                      <a:pt x="799" y="1334"/>
                    </a:lnTo>
                    <a:lnTo>
                      <a:pt x="799" y="1334"/>
                    </a:lnTo>
                    <a:lnTo>
                      <a:pt x="799" y="1334"/>
                    </a:lnTo>
                    <a:lnTo>
                      <a:pt x="796" y="1334"/>
                    </a:lnTo>
                    <a:lnTo>
                      <a:pt x="796" y="1332"/>
                    </a:lnTo>
                    <a:lnTo>
                      <a:pt x="796" y="1332"/>
                    </a:lnTo>
                    <a:lnTo>
                      <a:pt x="794" y="1329"/>
                    </a:lnTo>
                    <a:lnTo>
                      <a:pt x="794" y="1329"/>
                    </a:lnTo>
                    <a:lnTo>
                      <a:pt x="792" y="1329"/>
                    </a:lnTo>
                    <a:lnTo>
                      <a:pt x="792" y="1329"/>
                    </a:lnTo>
                    <a:lnTo>
                      <a:pt x="792" y="1329"/>
                    </a:lnTo>
                    <a:lnTo>
                      <a:pt x="789" y="1329"/>
                    </a:lnTo>
                    <a:lnTo>
                      <a:pt x="789" y="1329"/>
                    </a:lnTo>
                    <a:lnTo>
                      <a:pt x="787" y="1329"/>
                    </a:lnTo>
                    <a:lnTo>
                      <a:pt x="787" y="1329"/>
                    </a:lnTo>
                    <a:lnTo>
                      <a:pt x="785" y="1329"/>
                    </a:lnTo>
                    <a:lnTo>
                      <a:pt x="785" y="1329"/>
                    </a:lnTo>
                    <a:lnTo>
                      <a:pt x="785" y="1327"/>
                    </a:lnTo>
                    <a:lnTo>
                      <a:pt x="782" y="1327"/>
                    </a:lnTo>
                    <a:lnTo>
                      <a:pt x="782" y="1327"/>
                    </a:lnTo>
                    <a:lnTo>
                      <a:pt x="782" y="1325"/>
                    </a:lnTo>
                    <a:lnTo>
                      <a:pt x="780" y="1325"/>
                    </a:lnTo>
                    <a:lnTo>
                      <a:pt x="780" y="1325"/>
                    </a:lnTo>
                    <a:lnTo>
                      <a:pt x="780" y="1325"/>
                    </a:lnTo>
                    <a:lnTo>
                      <a:pt x="777" y="1327"/>
                    </a:lnTo>
                    <a:lnTo>
                      <a:pt x="777" y="1325"/>
                    </a:lnTo>
                    <a:lnTo>
                      <a:pt x="777" y="1327"/>
                    </a:lnTo>
                    <a:lnTo>
                      <a:pt x="777" y="1325"/>
                    </a:lnTo>
                    <a:lnTo>
                      <a:pt x="777" y="1325"/>
                    </a:lnTo>
                    <a:lnTo>
                      <a:pt x="775" y="1325"/>
                    </a:lnTo>
                    <a:lnTo>
                      <a:pt x="775" y="1325"/>
                    </a:lnTo>
                    <a:lnTo>
                      <a:pt x="773" y="1325"/>
                    </a:lnTo>
                    <a:lnTo>
                      <a:pt x="773" y="1322"/>
                    </a:lnTo>
                    <a:lnTo>
                      <a:pt x="773" y="1322"/>
                    </a:lnTo>
                    <a:lnTo>
                      <a:pt x="770" y="1320"/>
                    </a:lnTo>
                    <a:lnTo>
                      <a:pt x="773" y="1320"/>
                    </a:lnTo>
                    <a:lnTo>
                      <a:pt x="770" y="1320"/>
                    </a:lnTo>
                    <a:lnTo>
                      <a:pt x="770" y="1320"/>
                    </a:lnTo>
                    <a:lnTo>
                      <a:pt x="770" y="1320"/>
                    </a:lnTo>
                    <a:lnTo>
                      <a:pt x="768" y="1320"/>
                    </a:lnTo>
                    <a:lnTo>
                      <a:pt x="768" y="1318"/>
                    </a:lnTo>
                    <a:lnTo>
                      <a:pt x="768" y="1318"/>
                    </a:lnTo>
                    <a:lnTo>
                      <a:pt x="768" y="1318"/>
                    </a:lnTo>
                    <a:lnTo>
                      <a:pt x="768" y="1318"/>
                    </a:lnTo>
                    <a:lnTo>
                      <a:pt x="768" y="1318"/>
                    </a:lnTo>
                    <a:lnTo>
                      <a:pt x="768" y="1315"/>
                    </a:lnTo>
                    <a:lnTo>
                      <a:pt x="768" y="1315"/>
                    </a:lnTo>
                    <a:lnTo>
                      <a:pt x="768" y="1315"/>
                    </a:lnTo>
                    <a:lnTo>
                      <a:pt x="768" y="1315"/>
                    </a:lnTo>
                    <a:lnTo>
                      <a:pt x="768" y="1313"/>
                    </a:lnTo>
                    <a:lnTo>
                      <a:pt x="768" y="1311"/>
                    </a:lnTo>
                    <a:lnTo>
                      <a:pt x="768" y="1311"/>
                    </a:lnTo>
                    <a:lnTo>
                      <a:pt x="768" y="1311"/>
                    </a:lnTo>
                    <a:lnTo>
                      <a:pt x="766" y="1311"/>
                    </a:lnTo>
                    <a:lnTo>
                      <a:pt x="766" y="1311"/>
                    </a:lnTo>
                    <a:lnTo>
                      <a:pt x="763" y="1308"/>
                    </a:lnTo>
                    <a:lnTo>
                      <a:pt x="763" y="1311"/>
                    </a:lnTo>
                    <a:lnTo>
                      <a:pt x="763" y="1311"/>
                    </a:lnTo>
                    <a:lnTo>
                      <a:pt x="761" y="1308"/>
                    </a:lnTo>
                    <a:lnTo>
                      <a:pt x="761" y="1306"/>
                    </a:lnTo>
                    <a:lnTo>
                      <a:pt x="761" y="1308"/>
                    </a:lnTo>
                    <a:lnTo>
                      <a:pt x="761" y="1308"/>
                    </a:lnTo>
                    <a:lnTo>
                      <a:pt x="761" y="1308"/>
                    </a:lnTo>
                    <a:lnTo>
                      <a:pt x="759" y="1308"/>
                    </a:lnTo>
                    <a:lnTo>
                      <a:pt x="759" y="1308"/>
                    </a:lnTo>
                    <a:lnTo>
                      <a:pt x="759" y="1306"/>
                    </a:lnTo>
                    <a:lnTo>
                      <a:pt x="756" y="1308"/>
                    </a:lnTo>
                    <a:lnTo>
                      <a:pt x="756" y="1306"/>
                    </a:lnTo>
                    <a:lnTo>
                      <a:pt x="754" y="1308"/>
                    </a:lnTo>
                    <a:lnTo>
                      <a:pt x="754" y="1306"/>
                    </a:lnTo>
                    <a:lnTo>
                      <a:pt x="751" y="1308"/>
                    </a:lnTo>
                    <a:lnTo>
                      <a:pt x="751" y="1306"/>
                    </a:lnTo>
                    <a:lnTo>
                      <a:pt x="749" y="1308"/>
                    </a:lnTo>
                    <a:lnTo>
                      <a:pt x="749" y="1306"/>
                    </a:lnTo>
                    <a:lnTo>
                      <a:pt x="749" y="1306"/>
                    </a:lnTo>
                    <a:lnTo>
                      <a:pt x="747" y="1306"/>
                    </a:lnTo>
                    <a:lnTo>
                      <a:pt x="747" y="1306"/>
                    </a:lnTo>
                    <a:lnTo>
                      <a:pt x="744" y="1306"/>
                    </a:lnTo>
                    <a:lnTo>
                      <a:pt x="744" y="1306"/>
                    </a:lnTo>
                    <a:lnTo>
                      <a:pt x="744" y="1306"/>
                    </a:lnTo>
                    <a:lnTo>
                      <a:pt x="742" y="1303"/>
                    </a:lnTo>
                    <a:lnTo>
                      <a:pt x="742" y="1306"/>
                    </a:lnTo>
                    <a:lnTo>
                      <a:pt x="742" y="1306"/>
                    </a:lnTo>
                    <a:lnTo>
                      <a:pt x="740" y="1303"/>
                    </a:lnTo>
                    <a:lnTo>
                      <a:pt x="740" y="1301"/>
                    </a:lnTo>
                    <a:lnTo>
                      <a:pt x="740" y="1301"/>
                    </a:lnTo>
                    <a:lnTo>
                      <a:pt x="737" y="1301"/>
                    </a:lnTo>
                    <a:lnTo>
                      <a:pt x="737" y="1301"/>
                    </a:lnTo>
                    <a:lnTo>
                      <a:pt x="735" y="1301"/>
                    </a:lnTo>
                    <a:lnTo>
                      <a:pt x="737" y="1301"/>
                    </a:lnTo>
                    <a:lnTo>
                      <a:pt x="735" y="1301"/>
                    </a:lnTo>
                    <a:lnTo>
                      <a:pt x="735" y="1301"/>
                    </a:lnTo>
                    <a:lnTo>
                      <a:pt x="735" y="1301"/>
                    </a:lnTo>
                    <a:lnTo>
                      <a:pt x="733" y="1299"/>
                    </a:lnTo>
                    <a:lnTo>
                      <a:pt x="733" y="1299"/>
                    </a:lnTo>
                    <a:lnTo>
                      <a:pt x="730" y="1296"/>
                    </a:lnTo>
                    <a:lnTo>
                      <a:pt x="730" y="1299"/>
                    </a:lnTo>
                    <a:lnTo>
                      <a:pt x="730" y="1299"/>
                    </a:lnTo>
                    <a:lnTo>
                      <a:pt x="730" y="1299"/>
                    </a:lnTo>
                    <a:lnTo>
                      <a:pt x="728" y="1299"/>
                    </a:lnTo>
                    <a:lnTo>
                      <a:pt x="730" y="1299"/>
                    </a:lnTo>
                    <a:lnTo>
                      <a:pt x="728" y="1299"/>
                    </a:lnTo>
                    <a:lnTo>
                      <a:pt x="728" y="1299"/>
                    </a:lnTo>
                    <a:lnTo>
                      <a:pt x="728" y="1299"/>
                    </a:lnTo>
                    <a:lnTo>
                      <a:pt x="730" y="1296"/>
                    </a:lnTo>
                    <a:lnTo>
                      <a:pt x="726" y="1296"/>
                    </a:lnTo>
                    <a:lnTo>
                      <a:pt x="723" y="1296"/>
                    </a:lnTo>
                    <a:lnTo>
                      <a:pt x="723" y="1296"/>
                    </a:lnTo>
                    <a:lnTo>
                      <a:pt x="723" y="1299"/>
                    </a:lnTo>
                    <a:lnTo>
                      <a:pt x="723" y="1299"/>
                    </a:lnTo>
                    <a:lnTo>
                      <a:pt x="721" y="1296"/>
                    </a:lnTo>
                    <a:lnTo>
                      <a:pt x="721" y="1296"/>
                    </a:lnTo>
                    <a:lnTo>
                      <a:pt x="721" y="1296"/>
                    </a:lnTo>
                    <a:lnTo>
                      <a:pt x="718" y="1296"/>
                    </a:lnTo>
                    <a:lnTo>
                      <a:pt x="718" y="1296"/>
                    </a:lnTo>
                    <a:lnTo>
                      <a:pt x="716" y="1294"/>
                    </a:lnTo>
                    <a:lnTo>
                      <a:pt x="716" y="1296"/>
                    </a:lnTo>
                    <a:lnTo>
                      <a:pt x="716" y="1294"/>
                    </a:lnTo>
                    <a:lnTo>
                      <a:pt x="716" y="1294"/>
                    </a:lnTo>
                    <a:lnTo>
                      <a:pt x="714" y="1294"/>
                    </a:lnTo>
                    <a:lnTo>
                      <a:pt x="714" y="1292"/>
                    </a:lnTo>
                    <a:lnTo>
                      <a:pt x="714" y="1294"/>
                    </a:lnTo>
                    <a:lnTo>
                      <a:pt x="714" y="1292"/>
                    </a:lnTo>
                    <a:lnTo>
                      <a:pt x="714" y="1289"/>
                    </a:lnTo>
                    <a:lnTo>
                      <a:pt x="714" y="1292"/>
                    </a:lnTo>
                    <a:lnTo>
                      <a:pt x="714" y="1289"/>
                    </a:lnTo>
                    <a:lnTo>
                      <a:pt x="714" y="1289"/>
                    </a:lnTo>
                    <a:lnTo>
                      <a:pt x="714" y="1287"/>
                    </a:lnTo>
                    <a:lnTo>
                      <a:pt x="711" y="1287"/>
                    </a:lnTo>
                    <a:lnTo>
                      <a:pt x="709" y="1285"/>
                    </a:lnTo>
                    <a:lnTo>
                      <a:pt x="709" y="1285"/>
                    </a:lnTo>
                    <a:lnTo>
                      <a:pt x="709" y="1287"/>
                    </a:lnTo>
                    <a:lnTo>
                      <a:pt x="709" y="1287"/>
                    </a:lnTo>
                    <a:lnTo>
                      <a:pt x="707" y="1285"/>
                    </a:lnTo>
                    <a:lnTo>
                      <a:pt x="707" y="1285"/>
                    </a:lnTo>
                    <a:lnTo>
                      <a:pt x="707" y="1285"/>
                    </a:lnTo>
                    <a:lnTo>
                      <a:pt x="704" y="1285"/>
                    </a:lnTo>
                    <a:lnTo>
                      <a:pt x="702" y="1285"/>
                    </a:lnTo>
                    <a:lnTo>
                      <a:pt x="700" y="1285"/>
                    </a:lnTo>
                    <a:lnTo>
                      <a:pt x="700" y="1285"/>
                    </a:lnTo>
                    <a:lnTo>
                      <a:pt x="700" y="1285"/>
                    </a:lnTo>
                    <a:lnTo>
                      <a:pt x="697" y="1285"/>
                    </a:lnTo>
                    <a:lnTo>
                      <a:pt x="697" y="1285"/>
                    </a:lnTo>
                    <a:lnTo>
                      <a:pt x="697" y="1287"/>
                    </a:lnTo>
                    <a:lnTo>
                      <a:pt x="697" y="1287"/>
                    </a:lnTo>
                    <a:lnTo>
                      <a:pt x="697" y="1287"/>
                    </a:lnTo>
                    <a:lnTo>
                      <a:pt x="695" y="1287"/>
                    </a:lnTo>
                    <a:lnTo>
                      <a:pt x="695" y="1287"/>
                    </a:lnTo>
                    <a:lnTo>
                      <a:pt x="692" y="1287"/>
                    </a:lnTo>
                    <a:lnTo>
                      <a:pt x="692" y="1287"/>
                    </a:lnTo>
                    <a:lnTo>
                      <a:pt x="690" y="1287"/>
                    </a:lnTo>
                    <a:lnTo>
                      <a:pt x="690" y="1289"/>
                    </a:lnTo>
                    <a:lnTo>
                      <a:pt x="690" y="1289"/>
                    </a:lnTo>
                    <a:lnTo>
                      <a:pt x="688" y="1289"/>
                    </a:lnTo>
                    <a:lnTo>
                      <a:pt x="688" y="1289"/>
                    </a:lnTo>
                    <a:lnTo>
                      <a:pt x="688" y="1292"/>
                    </a:lnTo>
                    <a:lnTo>
                      <a:pt x="688" y="1292"/>
                    </a:lnTo>
                    <a:lnTo>
                      <a:pt x="688" y="1292"/>
                    </a:lnTo>
                    <a:lnTo>
                      <a:pt x="685" y="1292"/>
                    </a:lnTo>
                    <a:lnTo>
                      <a:pt x="685" y="1292"/>
                    </a:lnTo>
                    <a:lnTo>
                      <a:pt x="683" y="1292"/>
                    </a:lnTo>
                    <a:lnTo>
                      <a:pt x="683" y="1292"/>
                    </a:lnTo>
                    <a:lnTo>
                      <a:pt x="681" y="1292"/>
                    </a:lnTo>
                    <a:lnTo>
                      <a:pt x="681" y="1292"/>
                    </a:lnTo>
                    <a:lnTo>
                      <a:pt x="683" y="1294"/>
                    </a:lnTo>
                    <a:lnTo>
                      <a:pt x="681" y="1294"/>
                    </a:lnTo>
                    <a:lnTo>
                      <a:pt x="681" y="1294"/>
                    </a:lnTo>
                    <a:lnTo>
                      <a:pt x="681" y="1294"/>
                    </a:lnTo>
                    <a:lnTo>
                      <a:pt x="678" y="1294"/>
                    </a:lnTo>
                    <a:lnTo>
                      <a:pt x="678" y="1294"/>
                    </a:lnTo>
                    <a:lnTo>
                      <a:pt x="678" y="1296"/>
                    </a:lnTo>
                    <a:lnTo>
                      <a:pt x="678" y="1296"/>
                    </a:lnTo>
                    <a:lnTo>
                      <a:pt x="678" y="1299"/>
                    </a:lnTo>
                    <a:lnTo>
                      <a:pt x="678" y="1299"/>
                    </a:lnTo>
                    <a:lnTo>
                      <a:pt x="676" y="1299"/>
                    </a:lnTo>
                    <a:lnTo>
                      <a:pt x="676" y="1299"/>
                    </a:lnTo>
                    <a:lnTo>
                      <a:pt x="676" y="1299"/>
                    </a:lnTo>
                    <a:lnTo>
                      <a:pt x="674" y="1299"/>
                    </a:lnTo>
                    <a:lnTo>
                      <a:pt x="674" y="1299"/>
                    </a:lnTo>
                    <a:lnTo>
                      <a:pt x="671" y="1299"/>
                    </a:lnTo>
                    <a:lnTo>
                      <a:pt x="671" y="1301"/>
                    </a:lnTo>
                    <a:lnTo>
                      <a:pt x="671" y="1299"/>
                    </a:lnTo>
                    <a:lnTo>
                      <a:pt x="671" y="1299"/>
                    </a:lnTo>
                    <a:lnTo>
                      <a:pt x="671" y="1299"/>
                    </a:lnTo>
                    <a:lnTo>
                      <a:pt x="671" y="1299"/>
                    </a:lnTo>
                    <a:lnTo>
                      <a:pt x="669" y="1296"/>
                    </a:lnTo>
                    <a:lnTo>
                      <a:pt x="669" y="1299"/>
                    </a:lnTo>
                    <a:lnTo>
                      <a:pt x="669" y="1299"/>
                    </a:lnTo>
                    <a:lnTo>
                      <a:pt x="669" y="1299"/>
                    </a:lnTo>
                    <a:lnTo>
                      <a:pt x="666" y="1299"/>
                    </a:lnTo>
                    <a:lnTo>
                      <a:pt x="666" y="1301"/>
                    </a:lnTo>
                    <a:lnTo>
                      <a:pt x="666" y="1301"/>
                    </a:lnTo>
                    <a:lnTo>
                      <a:pt x="664" y="1301"/>
                    </a:lnTo>
                    <a:lnTo>
                      <a:pt x="662" y="1303"/>
                    </a:lnTo>
                    <a:lnTo>
                      <a:pt x="662" y="1303"/>
                    </a:lnTo>
                    <a:lnTo>
                      <a:pt x="659" y="1303"/>
                    </a:lnTo>
                    <a:lnTo>
                      <a:pt x="659" y="1306"/>
                    </a:lnTo>
                    <a:lnTo>
                      <a:pt x="657" y="1306"/>
                    </a:lnTo>
                    <a:lnTo>
                      <a:pt x="657" y="1303"/>
                    </a:lnTo>
                    <a:lnTo>
                      <a:pt x="657" y="1303"/>
                    </a:lnTo>
                    <a:lnTo>
                      <a:pt x="657" y="1301"/>
                    </a:lnTo>
                    <a:lnTo>
                      <a:pt x="655" y="1301"/>
                    </a:lnTo>
                    <a:lnTo>
                      <a:pt x="655" y="1303"/>
                    </a:lnTo>
                    <a:lnTo>
                      <a:pt x="652" y="1301"/>
                    </a:lnTo>
                    <a:lnTo>
                      <a:pt x="652" y="1301"/>
                    </a:lnTo>
                    <a:lnTo>
                      <a:pt x="652" y="1299"/>
                    </a:lnTo>
                    <a:lnTo>
                      <a:pt x="650" y="1301"/>
                    </a:lnTo>
                    <a:lnTo>
                      <a:pt x="650" y="1301"/>
                    </a:lnTo>
                    <a:lnTo>
                      <a:pt x="650" y="1301"/>
                    </a:lnTo>
                    <a:lnTo>
                      <a:pt x="650" y="1301"/>
                    </a:lnTo>
                    <a:lnTo>
                      <a:pt x="650" y="1303"/>
                    </a:lnTo>
                    <a:lnTo>
                      <a:pt x="650" y="1303"/>
                    </a:lnTo>
                    <a:lnTo>
                      <a:pt x="648" y="1303"/>
                    </a:lnTo>
                    <a:lnTo>
                      <a:pt x="648" y="1303"/>
                    </a:lnTo>
                    <a:lnTo>
                      <a:pt x="645" y="1306"/>
                    </a:lnTo>
                    <a:lnTo>
                      <a:pt x="643" y="1303"/>
                    </a:lnTo>
                    <a:lnTo>
                      <a:pt x="640" y="1303"/>
                    </a:lnTo>
                    <a:lnTo>
                      <a:pt x="643" y="1306"/>
                    </a:lnTo>
                    <a:lnTo>
                      <a:pt x="640" y="1306"/>
                    </a:lnTo>
                    <a:lnTo>
                      <a:pt x="640" y="1306"/>
                    </a:lnTo>
                    <a:lnTo>
                      <a:pt x="638" y="1306"/>
                    </a:lnTo>
                    <a:lnTo>
                      <a:pt x="638" y="1306"/>
                    </a:lnTo>
                    <a:lnTo>
                      <a:pt x="638" y="1306"/>
                    </a:lnTo>
                    <a:lnTo>
                      <a:pt x="636" y="1306"/>
                    </a:lnTo>
                    <a:lnTo>
                      <a:pt x="636" y="1306"/>
                    </a:lnTo>
                    <a:lnTo>
                      <a:pt x="633" y="1306"/>
                    </a:lnTo>
                    <a:lnTo>
                      <a:pt x="633" y="1303"/>
                    </a:lnTo>
                    <a:lnTo>
                      <a:pt x="633" y="1306"/>
                    </a:lnTo>
                    <a:lnTo>
                      <a:pt x="633" y="1306"/>
                    </a:lnTo>
                    <a:lnTo>
                      <a:pt x="633" y="1306"/>
                    </a:lnTo>
                    <a:lnTo>
                      <a:pt x="631" y="1306"/>
                    </a:lnTo>
                    <a:lnTo>
                      <a:pt x="631" y="1306"/>
                    </a:lnTo>
                    <a:lnTo>
                      <a:pt x="631" y="1306"/>
                    </a:lnTo>
                    <a:lnTo>
                      <a:pt x="631" y="1306"/>
                    </a:lnTo>
                    <a:lnTo>
                      <a:pt x="629" y="1306"/>
                    </a:lnTo>
                    <a:lnTo>
                      <a:pt x="629" y="1306"/>
                    </a:lnTo>
                    <a:lnTo>
                      <a:pt x="629" y="1303"/>
                    </a:lnTo>
                    <a:lnTo>
                      <a:pt x="626" y="1306"/>
                    </a:lnTo>
                    <a:lnTo>
                      <a:pt x="626" y="1303"/>
                    </a:lnTo>
                    <a:lnTo>
                      <a:pt x="624" y="1303"/>
                    </a:lnTo>
                    <a:lnTo>
                      <a:pt x="624" y="1303"/>
                    </a:lnTo>
                    <a:lnTo>
                      <a:pt x="622" y="1303"/>
                    </a:lnTo>
                    <a:lnTo>
                      <a:pt x="622" y="1306"/>
                    </a:lnTo>
                    <a:lnTo>
                      <a:pt x="622" y="1306"/>
                    </a:lnTo>
                    <a:lnTo>
                      <a:pt x="619" y="1306"/>
                    </a:lnTo>
                    <a:lnTo>
                      <a:pt x="619" y="1306"/>
                    </a:lnTo>
                    <a:lnTo>
                      <a:pt x="617" y="1308"/>
                    </a:lnTo>
                    <a:lnTo>
                      <a:pt x="617" y="1308"/>
                    </a:lnTo>
                    <a:lnTo>
                      <a:pt x="617" y="1308"/>
                    </a:lnTo>
                    <a:lnTo>
                      <a:pt x="614" y="1311"/>
                    </a:lnTo>
                    <a:lnTo>
                      <a:pt x="614" y="1311"/>
                    </a:lnTo>
                    <a:lnTo>
                      <a:pt x="614" y="1313"/>
                    </a:lnTo>
                    <a:lnTo>
                      <a:pt x="614" y="1313"/>
                    </a:lnTo>
                    <a:lnTo>
                      <a:pt x="612" y="1313"/>
                    </a:lnTo>
                    <a:lnTo>
                      <a:pt x="610" y="1313"/>
                    </a:lnTo>
                    <a:lnTo>
                      <a:pt x="610" y="1315"/>
                    </a:lnTo>
                    <a:lnTo>
                      <a:pt x="607" y="1318"/>
                    </a:lnTo>
                    <a:lnTo>
                      <a:pt x="610" y="1318"/>
                    </a:lnTo>
                    <a:lnTo>
                      <a:pt x="610" y="1318"/>
                    </a:lnTo>
                    <a:lnTo>
                      <a:pt x="612" y="1318"/>
                    </a:lnTo>
                    <a:lnTo>
                      <a:pt x="610" y="1320"/>
                    </a:lnTo>
                    <a:lnTo>
                      <a:pt x="610" y="1320"/>
                    </a:lnTo>
                    <a:lnTo>
                      <a:pt x="607" y="1320"/>
                    </a:lnTo>
                    <a:lnTo>
                      <a:pt x="610" y="1320"/>
                    </a:lnTo>
                    <a:lnTo>
                      <a:pt x="610" y="1322"/>
                    </a:lnTo>
                    <a:lnTo>
                      <a:pt x="610" y="1322"/>
                    </a:lnTo>
                    <a:lnTo>
                      <a:pt x="607" y="1322"/>
                    </a:lnTo>
                    <a:lnTo>
                      <a:pt x="607" y="1325"/>
                    </a:lnTo>
                    <a:lnTo>
                      <a:pt x="607" y="1325"/>
                    </a:lnTo>
                    <a:lnTo>
                      <a:pt x="607" y="1327"/>
                    </a:lnTo>
                    <a:lnTo>
                      <a:pt x="605" y="1325"/>
                    </a:lnTo>
                    <a:lnTo>
                      <a:pt x="605" y="1327"/>
                    </a:lnTo>
                    <a:lnTo>
                      <a:pt x="605" y="1327"/>
                    </a:lnTo>
                    <a:lnTo>
                      <a:pt x="605" y="1329"/>
                    </a:lnTo>
                    <a:lnTo>
                      <a:pt x="605" y="1329"/>
                    </a:lnTo>
                    <a:lnTo>
                      <a:pt x="603" y="1332"/>
                    </a:lnTo>
                    <a:lnTo>
                      <a:pt x="603" y="1334"/>
                    </a:lnTo>
                    <a:lnTo>
                      <a:pt x="600" y="1332"/>
                    </a:lnTo>
                    <a:lnTo>
                      <a:pt x="598" y="1334"/>
                    </a:lnTo>
                    <a:lnTo>
                      <a:pt x="596" y="1334"/>
                    </a:lnTo>
                    <a:lnTo>
                      <a:pt x="593" y="1337"/>
                    </a:lnTo>
                    <a:lnTo>
                      <a:pt x="593" y="1337"/>
                    </a:lnTo>
                    <a:lnTo>
                      <a:pt x="591" y="1339"/>
                    </a:lnTo>
                    <a:lnTo>
                      <a:pt x="591" y="1339"/>
                    </a:lnTo>
                    <a:lnTo>
                      <a:pt x="591" y="1339"/>
                    </a:lnTo>
                    <a:lnTo>
                      <a:pt x="591" y="1341"/>
                    </a:lnTo>
                    <a:lnTo>
                      <a:pt x="591" y="1341"/>
                    </a:lnTo>
                    <a:lnTo>
                      <a:pt x="591" y="1344"/>
                    </a:lnTo>
                    <a:lnTo>
                      <a:pt x="593" y="1341"/>
                    </a:lnTo>
                    <a:lnTo>
                      <a:pt x="593" y="1344"/>
                    </a:lnTo>
                    <a:lnTo>
                      <a:pt x="591" y="1346"/>
                    </a:lnTo>
                    <a:lnTo>
                      <a:pt x="589" y="1348"/>
                    </a:lnTo>
                    <a:lnTo>
                      <a:pt x="589" y="1351"/>
                    </a:lnTo>
                    <a:lnTo>
                      <a:pt x="586" y="1351"/>
                    </a:lnTo>
                    <a:lnTo>
                      <a:pt x="586" y="1351"/>
                    </a:lnTo>
                    <a:lnTo>
                      <a:pt x="586" y="1353"/>
                    </a:lnTo>
                    <a:lnTo>
                      <a:pt x="586" y="1353"/>
                    </a:lnTo>
                    <a:lnTo>
                      <a:pt x="584" y="1353"/>
                    </a:lnTo>
                    <a:lnTo>
                      <a:pt x="584" y="1358"/>
                    </a:lnTo>
                    <a:lnTo>
                      <a:pt x="581" y="1358"/>
                    </a:lnTo>
                    <a:lnTo>
                      <a:pt x="581" y="1358"/>
                    </a:lnTo>
                    <a:lnTo>
                      <a:pt x="579" y="1358"/>
                    </a:lnTo>
                    <a:lnTo>
                      <a:pt x="579" y="1358"/>
                    </a:lnTo>
                    <a:lnTo>
                      <a:pt x="577" y="1360"/>
                    </a:lnTo>
                    <a:lnTo>
                      <a:pt x="577" y="1360"/>
                    </a:lnTo>
                    <a:lnTo>
                      <a:pt x="577" y="1363"/>
                    </a:lnTo>
                    <a:lnTo>
                      <a:pt x="574" y="1363"/>
                    </a:lnTo>
                    <a:lnTo>
                      <a:pt x="574" y="1365"/>
                    </a:lnTo>
                    <a:lnTo>
                      <a:pt x="570" y="1363"/>
                    </a:lnTo>
                    <a:lnTo>
                      <a:pt x="567" y="1365"/>
                    </a:lnTo>
                    <a:lnTo>
                      <a:pt x="565" y="1365"/>
                    </a:lnTo>
                    <a:lnTo>
                      <a:pt x="563" y="1365"/>
                    </a:lnTo>
                    <a:lnTo>
                      <a:pt x="560" y="1365"/>
                    </a:lnTo>
                    <a:lnTo>
                      <a:pt x="560" y="1365"/>
                    </a:lnTo>
                    <a:lnTo>
                      <a:pt x="560" y="1365"/>
                    </a:lnTo>
                    <a:lnTo>
                      <a:pt x="558" y="1365"/>
                    </a:lnTo>
                    <a:lnTo>
                      <a:pt x="558" y="1367"/>
                    </a:lnTo>
                    <a:lnTo>
                      <a:pt x="555" y="1365"/>
                    </a:lnTo>
                    <a:lnTo>
                      <a:pt x="558" y="1367"/>
                    </a:lnTo>
                    <a:lnTo>
                      <a:pt x="558" y="1367"/>
                    </a:lnTo>
                    <a:lnTo>
                      <a:pt x="558" y="1367"/>
                    </a:lnTo>
                    <a:lnTo>
                      <a:pt x="555" y="1367"/>
                    </a:lnTo>
                    <a:lnTo>
                      <a:pt x="555" y="1370"/>
                    </a:lnTo>
                    <a:lnTo>
                      <a:pt x="551" y="1367"/>
                    </a:lnTo>
                    <a:lnTo>
                      <a:pt x="551" y="1370"/>
                    </a:lnTo>
                    <a:lnTo>
                      <a:pt x="551" y="1370"/>
                    </a:lnTo>
                    <a:lnTo>
                      <a:pt x="551" y="1367"/>
                    </a:lnTo>
                    <a:lnTo>
                      <a:pt x="551" y="1367"/>
                    </a:lnTo>
                    <a:lnTo>
                      <a:pt x="551" y="1370"/>
                    </a:lnTo>
                    <a:lnTo>
                      <a:pt x="548" y="1367"/>
                    </a:lnTo>
                    <a:lnTo>
                      <a:pt x="548" y="1370"/>
                    </a:lnTo>
                    <a:lnTo>
                      <a:pt x="546" y="1370"/>
                    </a:lnTo>
                    <a:lnTo>
                      <a:pt x="546" y="1372"/>
                    </a:lnTo>
                    <a:lnTo>
                      <a:pt x="544" y="1372"/>
                    </a:lnTo>
                    <a:lnTo>
                      <a:pt x="544" y="1372"/>
                    </a:lnTo>
                    <a:lnTo>
                      <a:pt x="544" y="1372"/>
                    </a:lnTo>
                    <a:lnTo>
                      <a:pt x="544" y="1372"/>
                    </a:lnTo>
                    <a:lnTo>
                      <a:pt x="541" y="1372"/>
                    </a:lnTo>
                    <a:lnTo>
                      <a:pt x="541" y="1370"/>
                    </a:lnTo>
                    <a:lnTo>
                      <a:pt x="541" y="1370"/>
                    </a:lnTo>
                    <a:lnTo>
                      <a:pt x="539" y="1372"/>
                    </a:lnTo>
                    <a:lnTo>
                      <a:pt x="537" y="1372"/>
                    </a:lnTo>
                    <a:lnTo>
                      <a:pt x="537" y="1372"/>
                    </a:lnTo>
                    <a:lnTo>
                      <a:pt x="537" y="1374"/>
                    </a:lnTo>
                    <a:lnTo>
                      <a:pt x="537" y="1374"/>
                    </a:lnTo>
                    <a:lnTo>
                      <a:pt x="534" y="1374"/>
                    </a:lnTo>
                    <a:lnTo>
                      <a:pt x="532" y="1377"/>
                    </a:lnTo>
                    <a:lnTo>
                      <a:pt x="532" y="1377"/>
                    </a:lnTo>
                    <a:lnTo>
                      <a:pt x="532" y="1379"/>
                    </a:lnTo>
                    <a:lnTo>
                      <a:pt x="532" y="1381"/>
                    </a:lnTo>
                    <a:lnTo>
                      <a:pt x="529" y="1379"/>
                    </a:lnTo>
                    <a:lnTo>
                      <a:pt x="527" y="1377"/>
                    </a:lnTo>
                    <a:lnTo>
                      <a:pt x="527" y="1374"/>
                    </a:lnTo>
                    <a:lnTo>
                      <a:pt x="522" y="1374"/>
                    </a:lnTo>
                    <a:lnTo>
                      <a:pt x="520" y="1374"/>
                    </a:lnTo>
                    <a:lnTo>
                      <a:pt x="520" y="1372"/>
                    </a:lnTo>
                    <a:lnTo>
                      <a:pt x="518" y="1370"/>
                    </a:lnTo>
                    <a:lnTo>
                      <a:pt x="518" y="1370"/>
                    </a:lnTo>
                    <a:lnTo>
                      <a:pt x="515" y="1370"/>
                    </a:lnTo>
                    <a:lnTo>
                      <a:pt x="515" y="1367"/>
                    </a:lnTo>
                    <a:lnTo>
                      <a:pt x="511" y="1367"/>
                    </a:lnTo>
                    <a:lnTo>
                      <a:pt x="511" y="1367"/>
                    </a:lnTo>
                    <a:lnTo>
                      <a:pt x="511" y="1365"/>
                    </a:lnTo>
                    <a:lnTo>
                      <a:pt x="511" y="1365"/>
                    </a:lnTo>
                    <a:lnTo>
                      <a:pt x="513" y="1363"/>
                    </a:lnTo>
                    <a:lnTo>
                      <a:pt x="511" y="1363"/>
                    </a:lnTo>
                    <a:lnTo>
                      <a:pt x="511" y="1360"/>
                    </a:lnTo>
                    <a:lnTo>
                      <a:pt x="511" y="1360"/>
                    </a:lnTo>
                    <a:lnTo>
                      <a:pt x="511" y="1360"/>
                    </a:lnTo>
                    <a:lnTo>
                      <a:pt x="508" y="1358"/>
                    </a:lnTo>
                    <a:lnTo>
                      <a:pt x="506" y="1355"/>
                    </a:lnTo>
                    <a:lnTo>
                      <a:pt x="506" y="1355"/>
                    </a:lnTo>
                    <a:lnTo>
                      <a:pt x="506" y="1358"/>
                    </a:lnTo>
                    <a:lnTo>
                      <a:pt x="503" y="1358"/>
                    </a:lnTo>
                    <a:lnTo>
                      <a:pt x="503" y="1358"/>
                    </a:lnTo>
                    <a:lnTo>
                      <a:pt x="503" y="1358"/>
                    </a:lnTo>
                    <a:lnTo>
                      <a:pt x="503" y="1355"/>
                    </a:lnTo>
                    <a:lnTo>
                      <a:pt x="501" y="1355"/>
                    </a:lnTo>
                    <a:lnTo>
                      <a:pt x="501" y="1355"/>
                    </a:lnTo>
                    <a:lnTo>
                      <a:pt x="501" y="1353"/>
                    </a:lnTo>
                    <a:lnTo>
                      <a:pt x="501" y="1353"/>
                    </a:lnTo>
                    <a:lnTo>
                      <a:pt x="503" y="1351"/>
                    </a:lnTo>
                    <a:lnTo>
                      <a:pt x="503" y="1351"/>
                    </a:lnTo>
                    <a:lnTo>
                      <a:pt x="503" y="1351"/>
                    </a:lnTo>
                    <a:lnTo>
                      <a:pt x="503" y="1348"/>
                    </a:lnTo>
                    <a:lnTo>
                      <a:pt x="501" y="1348"/>
                    </a:lnTo>
                    <a:lnTo>
                      <a:pt x="501" y="1348"/>
                    </a:lnTo>
                    <a:lnTo>
                      <a:pt x="501" y="1346"/>
                    </a:lnTo>
                    <a:lnTo>
                      <a:pt x="501" y="1346"/>
                    </a:lnTo>
                    <a:lnTo>
                      <a:pt x="501" y="1346"/>
                    </a:lnTo>
                    <a:lnTo>
                      <a:pt x="501" y="1344"/>
                    </a:lnTo>
                    <a:lnTo>
                      <a:pt x="501" y="1344"/>
                    </a:lnTo>
                    <a:lnTo>
                      <a:pt x="499" y="1341"/>
                    </a:lnTo>
                    <a:lnTo>
                      <a:pt x="499" y="1339"/>
                    </a:lnTo>
                    <a:lnTo>
                      <a:pt x="499" y="1337"/>
                    </a:lnTo>
                    <a:lnTo>
                      <a:pt x="496" y="1337"/>
                    </a:lnTo>
                    <a:lnTo>
                      <a:pt x="496" y="1334"/>
                    </a:lnTo>
                    <a:lnTo>
                      <a:pt x="496" y="1332"/>
                    </a:lnTo>
                    <a:lnTo>
                      <a:pt x="494" y="1332"/>
                    </a:lnTo>
                    <a:lnTo>
                      <a:pt x="492" y="1337"/>
                    </a:lnTo>
                    <a:lnTo>
                      <a:pt x="475" y="1320"/>
                    </a:lnTo>
                    <a:lnTo>
                      <a:pt x="463" y="1329"/>
                    </a:lnTo>
                    <a:lnTo>
                      <a:pt x="461" y="1329"/>
                    </a:lnTo>
                    <a:lnTo>
                      <a:pt x="461" y="1327"/>
                    </a:lnTo>
                    <a:lnTo>
                      <a:pt x="461" y="1329"/>
                    </a:lnTo>
                    <a:lnTo>
                      <a:pt x="459" y="1327"/>
                    </a:lnTo>
                    <a:lnTo>
                      <a:pt x="459" y="1327"/>
                    </a:lnTo>
                    <a:lnTo>
                      <a:pt x="459" y="1327"/>
                    </a:lnTo>
                    <a:lnTo>
                      <a:pt x="456" y="1327"/>
                    </a:lnTo>
                    <a:lnTo>
                      <a:pt x="456" y="1327"/>
                    </a:lnTo>
                    <a:lnTo>
                      <a:pt x="456" y="1322"/>
                    </a:lnTo>
                    <a:lnTo>
                      <a:pt x="454" y="1320"/>
                    </a:lnTo>
                    <a:lnTo>
                      <a:pt x="451" y="1320"/>
                    </a:lnTo>
                    <a:lnTo>
                      <a:pt x="449" y="1322"/>
                    </a:lnTo>
                    <a:lnTo>
                      <a:pt x="447" y="1320"/>
                    </a:lnTo>
                    <a:lnTo>
                      <a:pt x="447" y="1318"/>
                    </a:lnTo>
                    <a:lnTo>
                      <a:pt x="444" y="1315"/>
                    </a:lnTo>
                    <a:lnTo>
                      <a:pt x="442" y="1318"/>
                    </a:lnTo>
                    <a:lnTo>
                      <a:pt x="442" y="1315"/>
                    </a:lnTo>
                    <a:lnTo>
                      <a:pt x="442" y="1315"/>
                    </a:lnTo>
                    <a:lnTo>
                      <a:pt x="442" y="1313"/>
                    </a:lnTo>
                    <a:lnTo>
                      <a:pt x="437" y="1313"/>
                    </a:lnTo>
                    <a:lnTo>
                      <a:pt x="435" y="1313"/>
                    </a:lnTo>
                    <a:lnTo>
                      <a:pt x="437" y="1311"/>
                    </a:lnTo>
                    <a:lnTo>
                      <a:pt x="435" y="1308"/>
                    </a:lnTo>
                    <a:lnTo>
                      <a:pt x="433" y="1308"/>
                    </a:lnTo>
                    <a:lnTo>
                      <a:pt x="433" y="1308"/>
                    </a:lnTo>
                    <a:lnTo>
                      <a:pt x="433" y="1308"/>
                    </a:lnTo>
                    <a:lnTo>
                      <a:pt x="430" y="1308"/>
                    </a:lnTo>
                    <a:lnTo>
                      <a:pt x="430" y="1308"/>
                    </a:lnTo>
                    <a:lnTo>
                      <a:pt x="430" y="1308"/>
                    </a:lnTo>
                    <a:lnTo>
                      <a:pt x="428" y="1308"/>
                    </a:lnTo>
                    <a:lnTo>
                      <a:pt x="428" y="1308"/>
                    </a:lnTo>
                    <a:lnTo>
                      <a:pt x="428" y="1308"/>
                    </a:lnTo>
                    <a:lnTo>
                      <a:pt x="428" y="1306"/>
                    </a:lnTo>
                    <a:lnTo>
                      <a:pt x="426" y="1306"/>
                    </a:lnTo>
                    <a:lnTo>
                      <a:pt x="426" y="1301"/>
                    </a:lnTo>
                    <a:lnTo>
                      <a:pt x="423" y="1301"/>
                    </a:lnTo>
                    <a:lnTo>
                      <a:pt x="423" y="1301"/>
                    </a:lnTo>
                    <a:lnTo>
                      <a:pt x="423" y="1301"/>
                    </a:lnTo>
                    <a:lnTo>
                      <a:pt x="423" y="1299"/>
                    </a:lnTo>
                    <a:lnTo>
                      <a:pt x="423" y="1299"/>
                    </a:lnTo>
                    <a:lnTo>
                      <a:pt x="423" y="1299"/>
                    </a:lnTo>
                    <a:lnTo>
                      <a:pt x="421" y="1296"/>
                    </a:lnTo>
                    <a:lnTo>
                      <a:pt x="421" y="1296"/>
                    </a:lnTo>
                    <a:lnTo>
                      <a:pt x="421" y="1296"/>
                    </a:lnTo>
                    <a:lnTo>
                      <a:pt x="418" y="1294"/>
                    </a:lnTo>
                    <a:lnTo>
                      <a:pt x="418" y="1292"/>
                    </a:lnTo>
                    <a:lnTo>
                      <a:pt x="418" y="1292"/>
                    </a:lnTo>
                    <a:lnTo>
                      <a:pt x="416" y="1289"/>
                    </a:lnTo>
                    <a:lnTo>
                      <a:pt x="414" y="1289"/>
                    </a:lnTo>
                    <a:lnTo>
                      <a:pt x="414" y="1289"/>
                    </a:lnTo>
                    <a:lnTo>
                      <a:pt x="414" y="1289"/>
                    </a:lnTo>
                    <a:lnTo>
                      <a:pt x="411" y="1287"/>
                    </a:lnTo>
                    <a:lnTo>
                      <a:pt x="411" y="1280"/>
                    </a:lnTo>
                    <a:lnTo>
                      <a:pt x="411" y="1278"/>
                    </a:lnTo>
                    <a:lnTo>
                      <a:pt x="411" y="1275"/>
                    </a:lnTo>
                    <a:lnTo>
                      <a:pt x="411" y="1275"/>
                    </a:lnTo>
                    <a:lnTo>
                      <a:pt x="409" y="1278"/>
                    </a:lnTo>
                    <a:lnTo>
                      <a:pt x="407" y="1278"/>
                    </a:lnTo>
                    <a:lnTo>
                      <a:pt x="407" y="1275"/>
                    </a:lnTo>
                    <a:lnTo>
                      <a:pt x="407" y="1273"/>
                    </a:lnTo>
                    <a:lnTo>
                      <a:pt x="407" y="1273"/>
                    </a:lnTo>
                    <a:lnTo>
                      <a:pt x="407" y="1273"/>
                    </a:lnTo>
                    <a:lnTo>
                      <a:pt x="407" y="1273"/>
                    </a:lnTo>
                    <a:lnTo>
                      <a:pt x="407" y="1270"/>
                    </a:lnTo>
                    <a:lnTo>
                      <a:pt x="409" y="1268"/>
                    </a:lnTo>
                    <a:lnTo>
                      <a:pt x="407" y="1268"/>
                    </a:lnTo>
                    <a:lnTo>
                      <a:pt x="407" y="1268"/>
                    </a:lnTo>
                    <a:lnTo>
                      <a:pt x="407" y="1266"/>
                    </a:lnTo>
                    <a:lnTo>
                      <a:pt x="409" y="1266"/>
                    </a:lnTo>
                    <a:lnTo>
                      <a:pt x="409" y="1266"/>
                    </a:lnTo>
                    <a:lnTo>
                      <a:pt x="407" y="1266"/>
                    </a:lnTo>
                    <a:lnTo>
                      <a:pt x="407" y="1263"/>
                    </a:lnTo>
                    <a:lnTo>
                      <a:pt x="407" y="1263"/>
                    </a:lnTo>
                    <a:lnTo>
                      <a:pt x="409" y="1261"/>
                    </a:lnTo>
                    <a:lnTo>
                      <a:pt x="407" y="1261"/>
                    </a:lnTo>
                    <a:lnTo>
                      <a:pt x="404" y="1259"/>
                    </a:lnTo>
                    <a:lnTo>
                      <a:pt x="404" y="1259"/>
                    </a:lnTo>
                    <a:lnTo>
                      <a:pt x="404" y="1259"/>
                    </a:lnTo>
                    <a:lnTo>
                      <a:pt x="402" y="1259"/>
                    </a:lnTo>
                    <a:lnTo>
                      <a:pt x="402" y="1256"/>
                    </a:lnTo>
                    <a:lnTo>
                      <a:pt x="404" y="1254"/>
                    </a:lnTo>
                    <a:lnTo>
                      <a:pt x="402" y="1254"/>
                    </a:lnTo>
                    <a:lnTo>
                      <a:pt x="402" y="1254"/>
                    </a:lnTo>
                    <a:lnTo>
                      <a:pt x="402" y="1254"/>
                    </a:lnTo>
                    <a:lnTo>
                      <a:pt x="402" y="1252"/>
                    </a:lnTo>
                    <a:lnTo>
                      <a:pt x="402" y="1252"/>
                    </a:lnTo>
                    <a:lnTo>
                      <a:pt x="402" y="1252"/>
                    </a:lnTo>
                    <a:lnTo>
                      <a:pt x="402" y="1249"/>
                    </a:lnTo>
                    <a:lnTo>
                      <a:pt x="402" y="1249"/>
                    </a:lnTo>
                    <a:lnTo>
                      <a:pt x="402" y="1244"/>
                    </a:lnTo>
                    <a:lnTo>
                      <a:pt x="402" y="1244"/>
                    </a:lnTo>
                    <a:lnTo>
                      <a:pt x="402" y="1244"/>
                    </a:lnTo>
                    <a:lnTo>
                      <a:pt x="402" y="1244"/>
                    </a:lnTo>
                    <a:lnTo>
                      <a:pt x="402" y="1242"/>
                    </a:lnTo>
                    <a:lnTo>
                      <a:pt x="402" y="1242"/>
                    </a:lnTo>
                    <a:lnTo>
                      <a:pt x="402" y="1242"/>
                    </a:lnTo>
                    <a:lnTo>
                      <a:pt x="402" y="1240"/>
                    </a:lnTo>
                    <a:lnTo>
                      <a:pt x="402" y="1237"/>
                    </a:lnTo>
                    <a:lnTo>
                      <a:pt x="402" y="1235"/>
                    </a:lnTo>
                    <a:lnTo>
                      <a:pt x="402" y="1235"/>
                    </a:lnTo>
                    <a:lnTo>
                      <a:pt x="402" y="1235"/>
                    </a:lnTo>
                    <a:lnTo>
                      <a:pt x="402" y="1233"/>
                    </a:lnTo>
                    <a:lnTo>
                      <a:pt x="402" y="1230"/>
                    </a:lnTo>
                    <a:lnTo>
                      <a:pt x="402" y="1228"/>
                    </a:lnTo>
                    <a:lnTo>
                      <a:pt x="402" y="1226"/>
                    </a:lnTo>
                    <a:lnTo>
                      <a:pt x="402" y="1223"/>
                    </a:lnTo>
                    <a:lnTo>
                      <a:pt x="402" y="1218"/>
                    </a:lnTo>
                    <a:lnTo>
                      <a:pt x="402" y="1216"/>
                    </a:lnTo>
                    <a:lnTo>
                      <a:pt x="407" y="1209"/>
                    </a:lnTo>
                    <a:lnTo>
                      <a:pt x="407" y="1209"/>
                    </a:lnTo>
                    <a:lnTo>
                      <a:pt x="409" y="1207"/>
                    </a:lnTo>
                    <a:lnTo>
                      <a:pt x="411" y="1204"/>
                    </a:lnTo>
                    <a:lnTo>
                      <a:pt x="411" y="1202"/>
                    </a:lnTo>
                    <a:lnTo>
                      <a:pt x="416" y="1200"/>
                    </a:lnTo>
                    <a:lnTo>
                      <a:pt x="418" y="1200"/>
                    </a:lnTo>
                    <a:lnTo>
                      <a:pt x="418" y="1195"/>
                    </a:lnTo>
                    <a:lnTo>
                      <a:pt x="418" y="1192"/>
                    </a:lnTo>
                    <a:lnTo>
                      <a:pt x="418" y="1190"/>
                    </a:lnTo>
                    <a:lnTo>
                      <a:pt x="416" y="1188"/>
                    </a:lnTo>
                    <a:lnTo>
                      <a:pt x="418" y="1183"/>
                    </a:lnTo>
                    <a:lnTo>
                      <a:pt x="418" y="1183"/>
                    </a:lnTo>
                    <a:lnTo>
                      <a:pt x="418" y="1181"/>
                    </a:lnTo>
                    <a:lnTo>
                      <a:pt x="418" y="1183"/>
                    </a:lnTo>
                    <a:lnTo>
                      <a:pt x="421" y="1181"/>
                    </a:lnTo>
                    <a:lnTo>
                      <a:pt x="423" y="1181"/>
                    </a:lnTo>
                    <a:lnTo>
                      <a:pt x="421" y="1178"/>
                    </a:lnTo>
                    <a:lnTo>
                      <a:pt x="423" y="1174"/>
                    </a:lnTo>
                    <a:lnTo>
                      <a:pt x="423" y="1171"/>
                    </a:lnTo>
                    <a:lnTo>
                      <a:pt x="421" y="1169"/>
                    </a:lnTo>
                    <a:lnTo>
                      <a:pt x="421" y="1166"/>
                    </a:lnTo>
                    <a:lnTo>
                      <a:pt x="418" y="1166"/>
                    </a:lnTo>
                    <a:lnTo>
                      <a:pt x="418" y="1166"/>
                    </a:lnTo>
                    <a:lnTo>
                      <a:pt x="416" y="1166"/>
                    </a:lnTo>
                    <a:lnTo>
                      <a:pt x="414" y="1166"/>
                    </a:lnTo>
                    <a:lnTo>
                      <a:pt x="411" y="1164"/>
                    </a:lnTo>
                    <a:lnTo>
                      <a:pt x="411" y="1171"/>
                    </a:lnTo>
                    <a:lnTo>
                      <a:pt x="409" y="1171"/>
                    </a:lnTo>
                    <a:lnTo>
                      <a:pt x="407" y="1174"/>
                    </a:lnTo>
                    <a:lnTo>
                      <a:pt x="362" y="1171"/>
                    </a:lnTo>
                    <a:lnTo>
                      <a:pt x="274" y="1169"/>
                    </a:lnTo>
                    <a:lnTo>
                      <a:pt x="185" y="1166"/>
                    </a:lnTo>
                    <a:lnTo>
                      <a:pt x="182" y="1117"/>
                    </a:lnTo>
                    <a:lnTo>
                      <a:pt x="177" y="1063"/>
                    </a:lnTo>
                    <a:lnTo>
                      <a:pt x="135" y="1015"/>
                    </a:lnTo>
                    <a:lnTo>
                      <a:pt x="144" y="1013"/>
                    </a:lnTo>
                    <a:lnTo>
                      <a:pt x="175" y="1013"/>
                    </a:lnTo>
                    <a:lnTo>
                      <a:pt x="173" y="952"/>
                    </a:lnTo>
                    <a:lnTo>
                      <a:pt x="170" y="952"/>
                    </a:lnTo>
                    <a:lnTo>
                      <a:pt x="166" y="949"/>
                    </a:lnTo>
                    <a:lnTo>
                      <a:pt x="166" y="947"/>
                    </a:lnTo>
                    <a:lnTo>
                      <a:pt x="166" y="944"/>
                    </a:lnTo>
                    <a:lnTo>
                      <a:pt x="166" y="944"/>
                    </a:lnTo>
                    <a:lnTo>
                      <a:pt x="166" y="942"/>
                    </a:lnTo>
                    <a:lnTo>
                      <a:pt x="166" y="940"/>
                    </a:lnTo>
                    <a:lnTo>
                      <a:pt x="163" y="940"/>
                    </a:lnTo>
                    <a:lnTo>
                      <a:pt x="166" y="940"/>
                    </a:lnTo>
                    <a:lnTo>
                      <a:pt x="163" y="940"/>
                    </a:lnTo>
                    <a:lnTo>
                      <a:pt x="163" y="937"/>
                    </a:lnTo>
                    <a:lnTo>
                      <a:pt x="163" y="935"/>
                    </a:lnTo>
                    <a:lnTo>
                      <a:pt x="163" y="935"/>
                    </a:lnTo>
                    <a:lnTo>
                      <a:pt x="161" y="933"/>
                    </a:lnTo>
                    <a:lnTo>
                      <a:pt x="161" y="933"/>
                    </a:lnTo>
                    <a:lnTo>
                      <a:pt x="161" y="933"/>
                    </a:lnTo>
                    <a:lnTo>
                      <a:pt x="161" y="933"/>
                    </a:lnTo>
                    <a:lnTo>
                      <a:pt x="159" y="930"/>
                    </a:lnTo>
                    <a:lnTo>
                      <a:pt x="161" y="930"/>
                    </a:lnTo>
                    <a:lnTo>
                      <a:pt x="159" y="930"/>
                    </a:lnTo>
                    <a:lnTo>
                      <a:pt x="159" y="928"/>
                    </a:lnTo>
                    <a:lnTo>
                      <a:pt x="159" y="926"/>
                    </a:lnTo>
                    <a:lnTo>
                      <a:pt x="156" y="926"/>
                    </a:lnTo>
                    <a:lnTo>
                      <a:pt x="156" y="926"/>
                    </a:lnTo>
                    <a:lnTo>
                      <a:pt x="156" y="926"/>
                    </a:lnTo>
                    <a:lnTo>
                      <a:pt x="156" y="926"/>
                    </a:lnTo>
                    <a:lnTo>
                      <a:pt x="156" y="926"/>
                    </a:lnTo>
                    <a:lnTo>
                      <a:pt x="156" y="923"/>
                    </a:lnTo>
                    <a:lnTo>
                      <a:pt x="156" y="923"/>
                    </a:lnTo>
                    <a:lnTo>
                      <a:pt x="156" y="923"/>
                    </a:lnTo>
                    <a:lnTo>
                      <a:pt x="156" y="923"/>
                    </a:lnTo>
                    <a:lnTo>
                      <a:pt x="156" y="921"/>
                    </a:lnTo>
                    <a:lnTo>
                      <a:pt x="156" y="921"/>
                    </a:lnTo>
                    <a:lnTo>
                      <a:pt x="156" y="921"/>
                    </a:lnTo>
                    <a:lnTo>
                      <a:pt x="156" y="921"/>
                    </a:lnTo>
                    <a:lnTo>
                      <a:pt x="156" y="918"/>
                    </a:lnTo>
                    <a:lnTo>
                      <a:pt x="156" y="916"/>
                    </a:lnTo>
                    <a:lnTo>
                      <a:pt x="156" y="918"/>
                    </a:lnTo>
                    <a:lnTo>
                      <a:pt x="156" y="916"/>
                    </a:lnTo>
                    <a:lnTo>
                      <a:pt x="156" y="918"/>
                    </a:lnTo>
                    <a:lnTo>
                      <a:pt x="156" y="916"/>
                    </a:lnTo>
                    <a:lnTo>
                      <a:pt x="156" y="916"/>
                    </a:lnTo>
                    <a:lnTo>
                      <a:pt x="154" y="916"/>
                    </a:lnTo>
                    <a:lnTo>
                      <a:pt x="154" y="916"/>
                    </a:lnTo>
                    <a:lnTo>
                      <a:pt x="154" y="916"/>
                    </a:lnTo>
                    <a:lnTo>
                      <a:pt x="154" y="916"/>
                    </a:lnTo>
                    <a:lnTo>
                      <a:pt x="154" y="916"/>
                    </a:lnTo>
                    <a:lnTo>
                      <a:pt x="154" y="914"/>
                    </a:lnTo>
                    <a:lnTo>
                      <a:pt x="151" y="914"/>
                    </a:lnTo>
                    <a:lnTo>
                      <a:pt x="151" y="911"/>
                    </a:lnTo>
                    <a:lnTo>
                      <a:pt x="151" y="911"/>
                    </a:lnTo>
                    <a:lnTo>
                      <a:pt x="151" y="911"/>
                    </a:lnTo>
                    <a:lnTo>
                      <a:pt x="149" y="909"/>
                    </a:lnTo>
                    <a:lnTo>
                      <a:pt x="149" y="907"/>
                    </a:lnTo>
                    <a:lnTo>
                      <a:pt x="149" y="907"/>
                    </a:lnTo>
                    <a:lnTo>
                      <a:pt x="149" y="907"/>
                    </a:lnTo>
                    <a:lnTo>
                      <a:pt x="149" y="904"/>
                    </a:lnTo>
                    <a:lnTo>
                      <a:pt x="149" y="904"/>
                    </a:lnTo>
                    <a:lnTo>
                      <a:pt x="151" y="902"/>
                    </a:lnTo>
                    <a:lnTo>
                      <a:pt x="151" y="902"/>
                    </a:lnTo>
                    <a:lnTo>
                      <a:pt x="149" y="902"/>
                    </a:lnTo>
                    <a:lnTo>
                      <a:pt x="149" y="900"/>
                    </a:lnTo>
                    <a:lnTo>
                      <a:pt x="147" y="897"/>
                    </a:lnTo>
                    <a:lnTo>
                      <a:pt x="147" y="897"/>
                    </a:lnTo>
                    <a:lnTo>
                      <a:pt x="147" y="895"/>
                    </a:lnTo>
                    <a:lnTo>
                      <a:pt x="147" y="895"/>
                    </a:lnTo>
                    <a:lnTo>
                      <a:pt x="144" y="895"/>
                    </a:lnTo>
                    <a:lnTo>
                      <a:pt x="144" y="895"/>
                    </a:lnTo>
                    <a:lnTo>
                      <a:pt x="144" y="892"/>
                    </a:lnTo>
                    <a:lnTo>
                      <a:pt x="147" y="892"/>
                    </a:lnTo>
                    <a:lnTo>
                      <a:pt x="147" y="890"/>
                    </a:lnTo>
                    <a:lnTo>
                      <a:pt x="147" y="890"/>
                    </a:lnTo>
                    <a:lnTo>
                      <a:pt x="147" y="888"/>
                    </a:lnTo>
                    <a:lnTo>
                      <a:pt x="147" y="888"/>
                    </a:lnTo>
                    <a:lnTo>
                      <a:pt x="147" y="885"/>
                    </a:lnTo>
                    <a:lnTo>
                      <a:pt x="147" y="885"/>
                    </a:lnTo>
                    <a:lnTo>
                      <a:pt x="147" y="883"/>
                    </a:lnTo>
                    <a:lnTo>
                      <a:pt x="147" y="883"/>
                    </a:lnTo>
                    <a:lnTo>
                      <a:pt x="147" y="883"/>
                    </a:lnTo>
                    <a:lnTo>
                      <a:pt x="149" y="883"/>
                    </a:lnTo>
                    <a:lnTo>
                      <a:pt x="151" y="881"/>
                    </a:lnTo>
                    <a:lnTo>
                      <a:pt x="154" y="878"/>
                    </a:lnTo>
                    <a:lnTo>
                      <a:pt x="154" y="878"/>
                    </a:lnTo>
                    <a:lnTo>
                      <a:pt x="154" y="876"/>
                    </a:lnTo>
                    <a:lnTo>
                      <a:pt x="156" y="874"/>
                    </a:lnTo>
                    <a:lnTo>
                      <a:pt x="156" y="874"/>
                    </a:lnTo>
                    <a:lnTo>
                      <a:pt x="156" y="871"/>
                    </a:lnTo>
                    <a:lnTo>
                      <a:pt x="156" y="869"/>
                    </a:lnTo>
                    <a:lnTo>
                      <a:pt x="156" y="869"/>
                    </a:lnTo>
                    <a:lnTo>
                      <a:pt x="156" y="869"/>
                    </a:lnTo>
                    <a:lnTo>
                      <a:pt x="156" y="869"/>
                    </a:lnTo>
                    <a:lnTo>
                      <a:pt x="159" y="869"/>
                    </a:lnTo>
                    <a:lnTo>
                      <a:pt x="159" y="869"/>
                    </a:lnTo>
                    <a:lnTo>
                      <a:pt x="159" y="866"/>
                    </a:lnTo>
                    <a:lnTo>
                      <a:pt x="154" y="866"/>
                    </a:lnTo>
                    <a:lnTo>
                      <a:pt x="154" y="864"/>
                    </a:lnTo>
                    <a:lnTo>
                      <a:pt x="154" y="866"/>
                    </a:lnTo>
                    <a:lnTo>
                      <a:pt x="154" y="864"/>
                    </a:lnTo>
                    <a:lnTo>
                      <a:pt x="156" y="864"/>
                    </a:lnTo>
                    <a:lnTo>
                      <a:pt x="154" y="864"/>
                    </a:lnTo>
                    <a:lnTo>
                      <a:pt x="154" y="862"/>
                    </a:lnTo>
                    <a:lnTo>
                      <a:pt x="154" y="862"/>
                    </a:lnTo>
                    <a:lnTo>
                      <a:pt x="154" y="862"/>
                    </a:lnTo>
                    <a:lnTo>
                      <a:pt x="151" y="862"/>
                    </a:lnTo>
                    <a:lnTo>
                      <a:pt x="151" y="862"/>
                    </a:lnTo>
                    <a:lnTo>
                      <a:pt x="151" y="862"/>
                    </a:lnTo>
                    <a:lnTo>
                      <a:pt x="151" y="862"/>
                    </a:lnTo>
                    <a:lnTo>
                      <a:pt x="151" y="857"/>
                    </a:lnTo>
                    <a:lnTo>
                      <a:pt x="149" y="857"/>
                    </a:lnTo>
                    <a:lnTo>
                      <a:pt x="151" y="855"/>
                    </a:lnTo>
                    <a:lnTo>
                      <a:pt x="151" y="855"/>
                    </a:lnTo>
                    <a:lnTo>
                      <a:pt x="149" y="855"/>
                    </a:lnTo>
                    <a:lnTo>
                      <a:pt x="149" y="855"/>
                    </a:lnTo>
                    <a:lnTo>
                      <a:pt x="147" y="855"/>
                    </a:lnTo>
                    <a:lnTo>
                      <a:pt x="147" y="857"/>
                    </a:lnTo>
                    <a:lnTo>
                      <a:pt x="147" y="855"/>
                    </a:lnTo>
                    <a:lnTo>
                      <a:pt x="147" y="855"/>
                    </a:lnTo>
                    <a:lnTo>
                      <a:pt x="149" y="852"/>
                    </a:lnTo>
                    <a:lnTo>
                      <a:pt x="149" y="852"/>
                    </a:lnTo>
                    <a:lnTo>
                      <a:pt x="149" y="850"/>
                    </a:lnTo>
                    <a:lnTo>
                      <a:pt x="147" y="850"/>
                    </a:lnTo>
                    <a:lnTo>
                      <a:pt x="147" y="850"/>
                    </a:lnTo>
                    <a:lnTo>
                      <a:pt x="147" y="850"/>
                    </a:lnTo>
                    <a:lnTo>
                      <a:pt x="144" y="850"/>
                    </a:lnTo>
                    <a:lnTo>
                      <a:pt x="147" y="848"/>
                    </a:lnTo>
                    <a:lnTo>
                      <a:pt x="147" y="848"/>
                    </a:lnTo>
                    <a:lnTo>
                      <a:pt x="147" y="848"/>
                    </a:lnTo>
                    <a:lnTo>
                      <a:pt x="144" y="848"/>
                    </a:lnTo>
                    <a:lnTo>
                      <a:pt x="144" y="848"/>
                    </a:lnTo>
                    <a:lnTo>
                      <a:pt x="147" y="848"/>
                    </a:lnTo>
                    <a:lnTo>
                      <a:pt x="147" y="848"/>
                    </a:lnTo>
                    <a:lnTo>
                      <a:pt x="149" y="845"/>
                    </a:lnTo>
                    <a:lnTo>
                      <a:pt x="147" y="845"/>
                    </a:lnTo>
                    <a:lnTo>
                      <a:pt x="147" y="843"/>
                    </a:lnTo>
                    <a:lnTo>
                      <a:pt x="147" y="843"/>
                    </a:lnTo>
                    <a:lnTo>
                      <a:pt x="149" y="843"/>
                    </a:lnTo>
                    <a:lnTo>
                      <a:pt x="147" y="843"/>
                    </a:lnTo>
                    <a:lnTo>
                      <a:pt x="144" y="843"/>
                    </a:lnTo>
                    <a:lnTo>
                      <a:pt x="144" y="843"/>
                    </a:lnTo>
                    <a:lnTo>
                      <a:pt x="144" y="843"/>
                    </a:lnTo>
                    <a:lnTo>
                      <a:pt x="142" y="843"/>
                    </a:lnTo>
                    <a:lnTo>
                      <a:pt x="140" y="843"/>
                    </a:lnTo>
                    <a:lnTo>
                      <a:pt x="142" y="841"/>
                    </a:lnTo>
                    <a:lnTo>
                      <a:pt x="142" y="841"/>
                    </a:lnTo>
                    <a:lnTo>
                      <a:pt x="140" y="841"/>
                    </a:lnTo>
                    <a:lnTo>
                      <a:pt x="137" y="841"/>
                    </a:lnTo>
                    <a:lnTo>
                      <a:pt x="137" y="841"/>
                    </a:lnTo>
                    <a:lnTo>
                      <a:pt x="137" y="841"/>
                    </a:lnTo>
                    <a:lnTo>
                      <a:pt x="137" y="841"/>
                    </a:lnTo>
                    <a:lnTo>
                      <a:pt x="135" y="841"/>
                    </a:lnTo>
                    <a:lnTo>
                      <a:pt x="135" y="838"/>
                    </a:lnTo>
                    <a:lnTo>
                      <a:pt x="135" y="838"/>
                    </a:lnTo>
                    <a:lnTo>
                      <a:pt x="135" y="838"/>
                    </a:lnTo>
                    <a:lnTo>
                      <a:pt x="133" y="838"/>
                    </a:lnTo>
                    <a:lnTo>
                      <a:pt x="133" y="836"/>
                    </a:lnTo>
                    <a:lnTo>
                      <a:pt x="133" y="838"/>
                    </a:lnTo>
                    <a:lnTo>
                      <a:pt x="130" y="838"/>
                    </a:lnTo>
                    <a:lnTo>
                      <a:pt x="130" y="836"/>
                    </a:lnTo>
                    <a:lnTo>
                      <a:pt x="130" y="836"/>
                    </a:lnTo>
                    <a:lnTo>
                      <a:pt x="130" y="836"/>
                    </a:lnTo>
                    <a:lnTo>
                      <a:pt x="130" y="833"/>
                    </a:lnTo>
                    <a:lnTo>
                      <a:pt x="128" y="833"/>
                    </a:lnTo>
                    <a:lnTo>
                      <a:pt x="128" y="833"/>
                    </a:lnTo>
                    <a:lnTo>
                      <a:pt x="125" y="833"/>
                    </a:lnTo>
                    <a:lnTo>
                      <a:pt x="125" y="836"/>
                    </a:lnTo>
                    <a:lnTo>
                      <a:pt x="125" y="836"/>
                    </a:lnTo>
                    <a:lnTo>
                      <a:pt x="125" y="833"/>
                    </a:lnTo>
                    <a:lnTo>
                      <a:pt x="125" y="836"/>
                    </a:lnTo>
                    <a:lnTo>
                      <a:pt x="123" y="833"/>
                    </a:lnTo>
                    <a:lnTo>
                      <a:pt x="121" y="833"/>
                    </a:lnTo>
                    <a:lnTo>
                      <a:pt x="121" y="831"/>
                    </a:lnTo>
                    <a:lnTo>
                      <a:pt x="118" y="831"/>
                    </a:lnTo>
                    <a:lnTo>
                      <a:pt x="118" y="833"/>
                    </a:lnTo>
                    <a:lnTo>
                      <a:pt x="118" y="831"/>
                    </a:lnTo>
                    <a:lnTo>
                      <a:pt x="118" y="829"/>
                    </a:lnTo>
                    <a:lnTo>
                      <a:pt x="116" y="829"/>
                    </a:lnTo>
                    <a:lnTo>
                      <a:pt x="116" y="829"/>
                    </a:lnTo>
                    <a:lnTo>
                      <a:pt x="118" y="829"/>
                    </a:lnTo>
                    <a:lnTo>
                      <a:pt x="118" y="826"/>
                    </a:lnTo>
                    <a:lnTo>
                      <a:pt x="118" y="826"/>
                    </a:lnTo>
                    <a:lnTo>
                      <a:pt x="118" y="826"/>
                    </a:lnTo>
                    <a:lnTo>
                      <a:pt x="118" y="824"/>
                    </a:lnTo>
                    <a:lnTo>
                      <a:pt x="118" y="824"/>
                    </a:lnTo>
                    <a:lnTo>
                      <a:pt x="118" y="824"/>
                    </a:lnTo>
                    <a:lnTo>
                      <a:pt x="118" y="824"/>
                    </a:lnTo>
                    <a:lnTo>
                      <a:pt x="121" y="824"/>
                    </a:lnTo>
                    <a:lnTo>
                      <a:pt x="118" y="824"/>
                    </a:lnTo>
                    <a:lnTo>
                      <a:pt x="121" y="822"/>
                    </a:lnTo>
                    <a:lnTo>
                      <a:pt x="121" y="822"/>
                    </a:lnTo>
                    <a:lnTo>
                      <a:pt x="121" y="822"/>
                    </a:lnTo>
                    <a:lnTo>
                      <a:pt x="123" y="819"/>
                    </a:lnTo>
                    <a:lnTo>
                      <a:pt x="123" y="819"/>
                    </a:lnTo>
                    <a:lnTo>
                      <a:pt x="123" y="819"/>
                    </a:lnTo>
                    <a:lnTo>
                      <a:pt x="123" y="819"/>
                    </a:lnTo>
                    <a:lnTo>
                      <a:pt x="125" y="819"/>
                    </a:lnTo>
                    <a:lnTo>
                      <a:pt x="125" y="817"/>
                    </a:lnTo>
                    <a:lnTo>
                      <a:pt x="125" y="817"/>
                    </a:lnTo>
                    <a:lnTo>
                      <a:pt x="125" y="817"/>
                    </a:lnTo>
                    <a:lnTo>
                      <a:pt x="125" y="815"/>
                    </a:lnTo>
                    <a:lnTo>
                      <a:pt x="128" y="815"/>
                    </a:lnTo>
                    <a:lnTo>
                      <a:pt x="128" y="815"/>
                    </a:lnTo>
                    <a:lnTo>
                      <a:pt x="130" y="812"/>
                    </a:lnTo>
                    <a:lnTo>
                      <a:pt x="133" y="815"/>
                    </a:lnTo>
                    <a:lnTo>
                      <a:pt x="133" y="815"/>
                    </a:lnTo>
                    <a:lnTo>
                      <a:pt x="133" y="812"/>
                    </a:lnTo>
                    <a:lnTo>
                      <a:pt x="135" y="812"/>
                    </a:lnTo>
                    <a:lnTo>
                      <a:pt x="137" y="812"/>
                    </a:lnTo>
                    <a:lnTo>
                      <a:pt x="137" y="810"/>
                    </a:lnTo>
                    <a:lnTo>
                      <a:pt x="137" y="810"/>
                    </a:lnTo>
                    <a:lnTo>
                      <a:pt x="137" y="810"/>
                    </a:lnTo>
                    <a:lnTo>
                      <a:pt x="140" y="810"/>
                    </a:lnTo>
                    <a:lnTo>
                      <a:pt x="140" y="807"/>
                    </a:lnTo>
                    <a:lnTo>
                      <a:pt x="144" y="805"/>
                    </a:lnTo>
                    <a:lnTo>
                      <a:pt x="147" y="803"/>
                    </a:lnTo>
                    <a:lnTo>
                      <a:pt x="147" y="805"/>
                    </a:lnTo>
                    <a:lnTo>
                      <a:pt x="147" y="803"/>
                    </a:lnTo>
                    <a:lnTo>
                      <a:pt x="149" y="803"/>
                    </a:lnTo>
                    <a:lnTo>
                      <a:pt x="149" y="803"/>
                    </a:lnTo>
                    <a:lnTo>
                      <a:pt x="154" y="803"/>
                    </a:lnTo>
                    <a:lnTo>
                      <a:pt x="154" y="803"/>
                    </a:lnTo>
                    <a:lnTo>
                      <a:pt x="156" y="800"/>
                    </a:lnTo>
                    <a:lnTo>
                      <a:pt x="156" y="800"/>
                    </a:lnTo>
                    <a:lnTo>
                      <a:pt x="156" y="798"/>
                    </a:lnTo>
                    <a:lnTo>
                      <a:pt x="159" y="798"/>
                    </a:lnTo>
                    <a:lnTo>
                      <a:pt x="159" y="796"/>
                    </a:lnTo>
                    <a:lnTo>
                      <a:pt x="159" y="793"/>
                    </a:lnTo>
                    <a:lnTo>
                      <a:pt x="159" y="793"/>
                    </a:lnTo>
                    <a:lnTo>
                      <a:pt x="161" y="793"/>
                    </a:lnTo>
                    <a:lnTo>
                      <a:pt x="159" y="791"/>
                    </a:lnTo>
                    <a:lnTo>
                      <a:pt x="159" y="789"/>
                    </a:lnTo>
                    <a:lnTo>
                      <a:pt x="161" y="789"/>
                    </a:lnTo>
                    <a:lnTo>
                      <a:pt x="161" y="786"/>
                    </a:lnTo>
                    <a:lnTo>
                      <a:pt x="161" y="786"/>
                    </a:lnTo>
                    <a:lnTo>
                      <a:pt x="161" y="786"/>
                    </a:lnTo>
                    <a:lnTo>
                      <a:pt x="161" y="784"/>
                    </a:lnTo>
                    <a:lnTo>
                      <a:pt x="161" y="784"/>
                    </a:lnTo>
                    <a:lnTo>
                      <a:pt x="161" y="784"/>
                    </a:lnTo>
                    <a:lnTo>
                      <a:pt x="161" y="781"/>
                    </a:lnTo>
                    <a:lnTo>
                      <a:pt x="161" y="781"/>
                    </a:lnTo>
                    <a:lnTo>
                      <a:pt x="161" y="779"/>
                    </a:lnTo>
                    <a:lnTo>
                      <a:pt x="161" y="779"/>
                    </a:lnTo>
                    <a:lnTo>
                      <a:pt x="161" y="777"/>
                    </a:lnTo>
                    <a:lnTo>
                      <a:pt x="161" y="779"/>
                    </a:lnTo>
                    <a:lnTo>
                      <a:pt x="163" y="777"/>
                    </a:lnTo>
                    <a:lnTo>
                      <a:pt x="163" y="777"/>
                    </a:lnTo>
                    <a:lnTo>
                      <a:pt x="163" y="774"/>
                    </a:lnTo>
                    <a:lnTo>
                      <a:pt x="163" y="774"/>
                    </a:lnTo>
                    <a:lnTo>
                      <a:pt x="166" y="772"/>
                    </a:lnTo>
                    <a:lnTo>
                      <a:pt x="166" y="772"/>
                    </a:lnTo>
                    <a:lnTo>
                      <a:pt x="166" y="770"/>
                    </a:lnTo>
                    <a:lnTo>
                      <a:pt x="166" y="770"/>
                    </a:lnTo>
                    <a:lnTo>
                      <a:pt x="166" y="767"/>
                    </a:lnTo>
                    <a:lnTo>
                      <a:pt x="168" y="765"/>
                    </a:lnTo>
                    <a:lnTo>
                      <a:pt x="168" y="765"/>
                    </a:lnTo>
                    <a:lnTo>
                      <a:pt x="168" y="763"/>
                    </a:lnTo>
                    <a:lnTo>
                      <a:pt x="170" y="763"/>
                    </a:lnTo>
                    <a:lnTo>
                      <a:pt x="170" y="763"/>
                    </a:lnTo>
                    <a:lnTo>
                      <a:pt x="173" y="758"/>
                    </a:lnTo>
                    <a:lnTo>
                      <a:pt x="173" y="758"/>
                    </a:lnTo>
                    <a:lnTo>
                      <a:pt x="173" y="755"/>
                    </a:lnTo>
                    <a:lnTo>
                      <a:pt x="173" y="755"/>
                    </a:lnTo>
                    <a:lnTo>
                      <a:pt x="173" y="753"/>
                    </a:lnTo>
                    <a:lnTo>
                      <a:pt x="173" y="753"/>
                    </a:lnTo>
                    <a:lnTo>
                      <a:pt x="170" y="751"/>
                    </a:lnTo>
                    <a:lnTo>
                      <a:pt x="173" y="751"/>
                    </a:lnTo>
                    <a:lnTo>
                      <a:pt x="173" y="748"/>
                    </a:lnTo>
                    <a:lnTo>
                      <a:pt x="173" y="748"/>
                    </a:lnTo>
                    <a:lnTo>
                      <a:pt x="175" y="746"/>
                    </a:lnTo>
                    <a:lnTo>
                      <a:pt x="175" y="746"/>
                    </a:lnTo>
                    <a:lnTo>
                      <a:pt x="177" y="746"/>
                    </a:lnTo>
                    <a:lnTo>
                      <a:pt x="177" y="744"/>
                    </a:lnTo>
                    <a:lnTo>
                      <a:pt x="180" y="744"/>
                    </a:lnTo>
                    <a:lnTo>
                      <a:pt x="180" y="741"/>
                    </a:lnTo>
                    <a:lnTo>
                      <a:pt x="180" y="741"/>
                    </a:lnTo>
                    <a:lnTo>
                      <a:pt x="180" y="739"/>
                    </a:lnTo>
                    <a:lnTo>
                      <a:pt x="182" y="739"/>
                    </a:lnTo>
                    <a:lnTo>
                      <a:pt x="182" y="737"/>
                    </a:lnTo>
                    <a:lnTo>
                      <a:pt x="182" y="737"/>
                    </a:lnTo>
                    <a:lnTo>
                      <a:pt x="182" y="737"/>
                    </a:lnTo>
                    <a:lnTo>
                      <a:pt x="185" y="734"/>
                    </a:lnTo>
                    <a:lnTo>
                      <a:pt x="187" y="737"/>
                    </a:lnTo>
                    <a:lnTo>
                      <a:pt x="187" y="734"/>
                    </a:lnTo>
                    <a:lnTo>
                      <a:pt x="189" y="734"/>
                    </a:lnTo>
                    <a:lnTo>
                      <a:pt x="189" y="734"/>
                    </a:lnTo>
                    <a:lnTo>
                      <a:pt x="189" y="737"/>
                    </a:lnTo>
                    <a:lnTo>
                      <a:pt x="192" y="734"/>
                    </a:lnTo>
                    <a:lnTo>
                      <a:pt x="192" y="734"/>
                    </a:lnTo>
                    <a:lnTo>
                      <a:pt x="194" y="729"/>
                    </a:lnTo>
                    <a:lnTo>
                      <a:pt x="196" y="727"/>
                    </a:lnTo>
                    <a:lnTo>
                      <a:pt x="199" y="722"/>
                    </a:lnTo>
                    <a:lnTo>
                      <a:pt x="196" y="718"/>
                    </a:lnTo>
                    <a:lnTo>
                      <a:pt x="199" y="713"/>
                    </a:lnTo>
                    <a:lnTo>
                      <a:pt x="199" y="711"/>
                    </a:lnTo>
                    <a:lnTo>
                      <a:pt x="196" y="706"/>
                    </a:lnTo>
                    <a:lnTo>
                      <a:pt x="196" y="704"/>
                    </a:lnTo>
                    <a:lnTo>
                      <a:pt x="196" y="704"/>
                    </a:lnTo>
                    <a:lnTo>
                      <a:pt x="199" y="699"/>
                    </a:lnTo>
                    <a:lnTo>
                      <a:pt x="199" y="694"/>
                    </a:lnTo>
                    <a:lnTo>
                      <a:pt x="199" y="692"/>
                    </a:lnTo>
                    <a:lnTo>
                      <a:pt x="199" y="692"/>
                    </a:lnTo>
                    <a:lnTo>
                      <a:pt x="199" y="689"/>
                    </a:lnTo>
                    <a:lnTo>
                      <a:pt x="201" y="687"/>
                    </a:lnTo>
                    <a:lnTo>
                      <a:pt x="201" y="687"/>
                    </a:lnTo>
                    <a:lnTo>
                      <a:pt x="203" y="687"/>
                    </a:lnTo>
                    <a:lnTo>
                      <a:pt x="203" y="685"/>
                    </a:lnTo>
                    <a:lnTo>
                      <a:pt x="203" y="682"/>
                    </a:lnTo>
                    <a:lnTo>
                      <a:pt x="203" y="682"/>
                    </a:lnTo>
                    <a:lnTo>
                      <a:pt x="206" y="680"/>
                    </a:lnTo>
                    <a:lnTo>
                      <a:pt x="208" y="678"/>
                    </a:lnTo>
                    <a:lnTo>
                      <a:pt x="211" y="678"/>
                    </a:lnTo>
                    <a:lnTo>
                      <a:pt x="213" y="675"/>
                    </a:lnTo>
                    <a:lnTo>
                      <a:pt x="215" y="673"/>
                    </a:lnTo>
                    <a:lnTo>
                      <a:pt x="215" y="673"/>
                    </a:lnTo>
                    <a:lnTo>
                      <a:pt x="215" y="673"/>
                    </a:lnTo>
                    <a:lnTo>
                      <a:pt x="218" y="673"/>
                    </a:lnTo>
                    <a:lnTo>
                      <a:pt x="218" y="670"/>
                    </a:lnTo>
                    <a:lnTo>
                      <a:pt x="218" y="670"/>
                    </a:lnTo>
                    <a:lnTo>
                      <a:pt x="220" y="670"/>
                    </a:lnTo>
                    <a:lnTo>
                      <a:pt x="220" y="670"/>
                    </a:lnTo>
                    <a:lnTo>
                      <a:pt x="220" y="670"/>
                    </a:lnTo>
                    <a:lnTo>
                      <a:pt x="222" y="670"/>
                    </a:lnTo>
                    <a:lnTo>
                      <a:pt x="222" y="670"/>
                    </a:lnTo>
                    <a:lnTo>
                      <a:pt x="225" y="673"/>
                    </a:lnTo>
                    <a:lnTo>
                      <a:pt x="227" y="670"/>
                    </a:lnTo>
                    <a:lnTo>
                      <a:pt x="227" y="670"/>
                    </a:lnTo>
                    <a:lnTo>
                      <a:pt x="227" y="668"/>
                    </a:lnTo>
                    <a:lnTo>
                      <a:pt x="227" y="663"/>
                    </a:lnTo>
                    <a:lnTo>
                      <a:pt x="229" y="663"/>
                    </a:lnTo>
                    <a:lnTo>
                      <a:pt x="229" y="661"/>
                    </a:lnTo>
                    <a:lnTo>
                      <a:pt x="229" y="659"/>
                    </a:lnTo>
                    <a:lnTo>
                      <a:pt x="229" y="659"/>
                    </a:lnTo>
                    <a:lnTo>
                      <a:pt x="229" y="659"/>
                    </a:lnTo>
                    <a:lnTo>
                      <a:pt x="232" y="656"/>
                    </a:lnTo>
                    <a:lnTo>
                      <a:pt x="232" y="656"/>
                    </a:lnTo>
                    <a:lnTo>
                      <a:pt x="234" y="654"/>
                    </a:lnTo>
                    <a:lnTo>
                      <a:pt x="237" y="654"/>
                    </a:lnTo>
                    <a:lnTo>
                      <a:pt x="222" y="640"/>
                    </a:lnTo>
                    <a:lnTo>
                      <a:pt x="220" y="640"/>
                    </a:lnTo>
                    <a:lnTo>
                      <a:pt x="220" y="640"/>
                    </a:lnTo>
                    <a:lnTo>
                      <a:pt x="220" y="640"/>
                    </a:lnTo>
                    <a:lnTo>
                      <a:pt x="220" y="637"/>
                    </a:lnTo>
                    <a:lnTo>
                      <a:pt x="220" y="637"/>
                    </a:lnTo>
                    <a:lnTo>
                      <a:pt x="220" y="635"/>
                    </a:lnTo>
                    <a:lnTo>
                      <a:pt x="220" y="633"/>
                    </a:lnTo>
                    <a:lnTo>
                      <a:pt x="220" y="630"/>
                    </a:lnTo>
                    <a:lnTo>
                      <a:pt x="220" y="630"/>
                    </a:lnTo>
                    <a:lnTo>
                      <a:pt x="220" y="628"/>
                    </a:lnTo>
                    <a:lnTo>
                      <a:pt x="220" y="623"/>
                    </a:lnTo>
                    <a:lnTo>
                      <a:pt x="218" y="621"/>
                    </a:lnTo>
                    <a:lnTo>
                      <a:pt x="218" y="621"/>
                    </a:lnTo>
                    <a:lnTo>
                      <a:pt x="218" y="618"/>
                    </a:lnTo>
                    <a:lnTo>
                      <a:pt x="215" y="616"/>
                    </a:lnTo>
                    <a:lnTo>
                      <a:pt x="213" y="616"/>
                    </a:lnTo>
                    <a:lnTo>
                      <a:pt x="213" y="616"/>
                    </a:lnTo>
                    <a:lnTo>
                      <a:pt x="213" y="616"/>
                    </a:lnTo>
                    <a:lnTo>
                      <a:pt x="213" y="616"/>
                    </a:lnTo>
                    <a:lnTo>
                      <a:pt x="211" y="614"/>
                    </a:lnTo>
                    <a:lnTo>
                      <a:pt x="211" y="611"/>
                    </a:lnTo>
                    <a:lnTo>
                      <a:pt x="211" y="611"/>
                    </a:lnTo>
                    <a:lnTo>
                      <a:pt x="211" y="611"/>
                    </a:lnTo>
                    <a:lnTo>
                      <a:pt x="211" y="609"/>
                    </a:lnTo>
                    <a:lnTo>
                      <a:pt x="211" y="609"/>
                    </a:lnTo>
                    <a:lnTo>
                      <a:pt x="211" y="607"/>
                    </a:lnTo>
                    <a:lnTo>
                      <a:pt x="211" y="607"/>
                    </a:lnTo>
                    <a:lnTo>
                      <a:pt x="211" y="607"/>
                    </a:lnTo>
                    <a:lnTo>
                      <a:pt x="211" y="607"/>
                    </a:lnTo>
                    <a:lnTo>
                      <a:pt x="211" y="607"/>
                    </a:lnTo>
                    <a:lnTo>
                      <a:pt x="211" y="604"/>
                    </a:lnTo>
                    <a:lnTo>
                      <a:pt x="208" y="602"/>
                    </a:lnTo>
                    <a:lnTo>
                      <a:pt x="211" y="602"/>
                    </a:lnTo>
                    <a:lnTo>
                      <a:pt x="211" y="602"/>
                    </a:lnTo>
                    <a:lnTo>
                      <a:pt x="211" y="602"/>
                    </a:lnTo>
                    <a:lnTo>
                      <a:pt x="208" y="600"/>
                    </a:lnTo>
                    <a:lnTo>
                      <a:pt x="211" y="597"/>
                    </a:lnTo>
                    <a:lnTo>
                      <a:pt x="208" y="597"/>
                    </a:lnTo>
                    <a:lnTo>
                      <a:pt x="208" y="597"/>
                    </a:lnTo>
                    <a:lnTo>
                      <a:pt x="206" y="595"/>
                    </a:lnTo>
                    <a:lnTo>
                      <a:pt x="203" y="595"/>
                    </a:lnTo>
                    <a:lnTo>
                      <a:pt x="203" y="595"/>
                    </a:lnTo>
                    <a:lnTo>
                      <a:pt x="203" y="595"/>
                    </a:lnTo>
                    <a:lnTo>
                      <a:pt x="201" y="595"/>
                    </a:lnTo>
                    <a:lnTo>
                      <a:pt x="201" y="595"/>
                    </a:lnTo>
                    <a:lnTo>
                      <a:pt x="199" y="595"/>
                    </a:lnTo>
                    <a:lnTo>
                      <a:pt x="199" y="592"/>
                    </a:lnTo>
                    <a:lnTo>
                      <a:pt x="199" y="592"/>
                    </a:lnTo>
                    <a:lnTo>
                      <a:pt x="199" y="592"/>
                    </a:lnTo>
                    <a:lnTo>
                      <a:pt x="196" y="590"/>
                    </a:lnTo>
                    <a:lnTo>
                      <a:pt x="196" y="590"/>
                    </a:lnTo>
                    <a:lnTo>
                      <a:pt x="196" y="590"/>
                    </a:lnTo>
                    <a:lnTo>
                      <a:pt x="196" y="590"/>
                    </a:lnTo>
                    <a:lnTo>
                      <a:pt x="194" y="590"/>
                    </a:lnTo>
                    <a:lnTo>
                      <a:pt x="194" y="590"/>
                    </a:lnTo>
                    <a:lnTo>
                      <a:pt x="194" y="588"/>
                    </a:lnTo>
                    <a:lnTo>
                      <a:pt x="194" y="588"/>
                    </a:lnTo>
                    <a:lnTo>
                      <a:pt x="194" y="585"/>
                    </a:lnTo>
                    <a:lnTo>
                      <a:pt x="194" y="588"/>
                    </a:lnTo>
                    <a:lnTo>
                      <a:pt x="194" y="585"/>
                    </a:lnTo>
                    <a:lnTo>
                      <a:pt x="194" y="585"/>
                    </a:lnTo>
                    <a:lnTo>
                      <a:pt x="194" y="585"/>
                    </a:lnTo>
                    <a:lnTo>
                      <a:pt x="194" y="583"/>
                    </a:lnTo>
                    <a:lnTo>
                      <a:pt x="194" y="583"/>
                    </a:lnTo>
                    <a:lnTo>
                      <a:pt x="194" y="583"/>
                    </a:lnTo>
                    <a:lnTo>
                      <a:pt x="194" y="583"/>
                    </a:lnTo>
                    <a:lnTo>
                      <a:pt x="194" y="581"/>
                    </a:lnTo>
                    <a:lnTo>
                      <a:pt x="194" y="581"/>
                    </a:lnTo>
                    <a:lnTo>
                      <a:pt x="194" y="581"/>
                    </a:lnTo>
                    <a:lnTo>
                      <a:pt x="194" y="581"/>
                    </a:lnTo>
                    <a:lnTo>
                      <a:pt x="194" y="581"/>
                    </a:lnTo>
                    <a:lnTo>
                      <a:pt x="194" y="578"/>
                    </a:lnTo>
                    <a:lnTo>
                      <a:pt x="194" y="578"/>
                    </a:lnTo>
                    <a:lnTo>
                      <a:pt x="194" y="578"/>
                    </a:lnTo>
                    <a:lnTo>
                      <a:pt x="194" y="576"/>
                    </a:lnTo>
                    <a:lnTo>
                      <a:pt x="194" y="576"/>
                    </a:lnTo>
                    <a:lnTo>
                      <a:pt x="194" y="576"/>
                    </a:lnTo>
                    <a:lnTo>
                      <a:pt x="192" y="574"/>
                    </a:lnTo>
                    <a:lnTo>
                      <a:pt x="194" y="571"/>
                    </a:lnTo>
                    <a:lnTo>
                      <a:pt x="192" y="571"/>
                    </a:lnTo>
                    <a:lnTo>
                      <a:pt x="192" y="571"/>
                    </a:lnTo>
                    <a:lnTo>
                      <a:pt x="192" y="569"/>
                    </a:lnTo>
                    <a:lnTo>
                      <a:pt x="192" y="567"/>
                    </a:lnTo>
                    <a:lnTo>
                      <a:pt x="192" y="567"/>
                    </a:lnTo>
                    <a:lnTo>
                      <a:pt x="192" y="567"/>
                    </a:lnTo>
                    <a:lnTo>
                      <a:pt x="192" y="564"/>
                    </a:lnTo>
                    <a:lnTo>
                      <a:pt x="192" y="564"/>
                    </a:lnTo>
                    <a:lnTo>
                      <a:pt x="192" y="562"/>
                    </a:lnTo>
                    <a:lnTo>
                      <a:pt x="194" y="562"/>
                    </a:lnTo>
                    <a:lnTo>
                      <a:pt x="192" y="562"/>
                    </a:lnTo>
                    <a:lnTo>
                      <a:pt x="194" y="559"/>
                    </a:lnTo>
                    <a:lnTo>
                      <a:pt x="192" y="559"/>
                    </a:lnTo>
                    <a:lnTo>
                      <a:pt x="194" y="557"/>
                    </a:lnTo>
                    <a:lnTo>
                      <a:pt x="192" y="557"/>
                    </a:lnTo>
                    <a:lnTo>
                      <a:pt x="194" y="555"/>
                    </a:lnTo>
                    <a:lnTo>
                      <a:pt x="192" y="555"/>
                    </a:lnTo>
                    <a:lnTo>
                      <a:pt x="194" y="555"/>
                    </a:lnTo>
                    <a:lnTo>
                      <a:pt x="194" y="555"/>
                    </a:lnTo>
                    <a:lnTo>
                      <a:pt x="194" y="555"/>
                    </a:lnTo>
                    <a:lnTo>
                      <a:pt x="194" y="552"/>
                    </a:lnTo>
                    <a:lnTo>
                      <a:pt x="196" y="552"/>
                    </a:lnTo>
                    <a:lnTo>
                      <a:pt x="194" y="552"/>
                    </a:lnTo>
                    <a:lnTo>
                      <a:pt x="196" y="552"/>
                    </a:lnTo>
                    <a:lnTo>
                      <a:pt x="194" y="552"/>
                    </a:lnTo>
                    <a:lnTo>
                      <a:pt x="196" y="550"/>
                    </a:lnTo>
                    <a:lnTo>
                      <a:pt x="196" y="552"/>
                    </a:lnTo>
                    <a:lnTo>
                      <a:pt x="196" y="550"/>
                    </a:lnTo>
                    <a:lnTo>
                      <a:pt x="199" y="550"/>
                    </a:lnTo>
                    <a:lnTo>
                      <a:pt x="199" y="550"/>
                    </a:lnTo>
                    <a:lnTo>
                      <a:pt x="201" y="548"/>
                    </a:lnTo>
                    <a:lnTo>
                      <a:pt x="201" y="548"/>
                    </a:lnTo>
                    <a:lnTo>
                      <a:pt x="201" y="545"/>
                    </a:lnTo>
                    <a:lnTo>
                      <a:pt x="203" y="543"/>
                    </a:lnTo>
                    <a:lnTo>
                      <a:pt x="203" y="543"/>
                    </a:lnTo>
                    <a:lnTo>
                      <a:pt x="203" y="543"/>
                    </a:lnTo>
                    <a:lnTo>
                      <a:pt x="203" y="543"/>
                    </a:lnTo>
                    <a:lnTo>
                      <a:pt x="206" y="543"/>
                    </a:lnTo>
                    <a:lnTo>
                      <a:pt x="206" y="541"/>
                    </a:lnTo>
                    <a:lnTo>
                      <a:pt x="208" y="541"/>
                    </a:lnTo>
                    <a:lnTo>
                      <a:pt x="208" y="538"/>
                    </a:lnTo>
                    <a:lnTo>
                      <a:pt x="211" y="536"/>
                    </a:lnTo>
                    <a:lnTo>
                      <a:pt x="213" y="536"/>
                    </a:lnTo>
                    <a:lnTo>
                      <a:pt x="215" y="533"/>
                    </a:lnTo>
                    <a:lnTo>
                      <a:pt x="215" y="533"/>
                    </a:lnTo>
                    <a:lnTo>
                      <a:pt x="215" y="533"/>
                    </a:lnTo>
                    <a:lnTo>
                      <a:pt x="218" y="533"/>
                    </a:lnTo>
                    <a:lnTo>
                      <a:pt x="218" y="531"/>
                    </a:lnTo>
                    <a:lnTo>
                      <a:pt x="218" y="529"/>
                    </a:lnTo>
                    <a:lnTo>
                      <a:pt x="218" y="529"/>
                    </a:lnTo>
                    <a:lnTo>
                      <a:pt x="218" y="526"/>
                    </a:lnTo>
                    <a:lnTo>
                      <a:pt x="218" y="524"/>
                    </a:lnTo>
                    <a:lnTo>
                      <a:pt x="218" y="524"/>
                    </a:lnTo>
                    <a:lnTo>
                      <a:pt x="218" y="524"/>
                    </a:lnTo>
                    <a:lnTo>
                      <a:pt x="218" y="524"/>
                    </a:lnTo>
                    <a:lnTo>
                      <a:pt x="218" y="522"/>
                    </a:lnTo>
                    <a:lnTo>
                      <a:pt x="218" y="519"/>
                    </a:lnTo>
                    <a:lnTo>
                      <a:pt x="215" y="517"/>
                    </a:lnTo>
                    <a:lnTo>
                      <a:pt x="213" y="517"/>
                    </a:lnTo>
                    <a:lnTo>
                      <a:pt x="213" y="515"/>
                    </a:lnTo>
                    <a:lnTo>
                      <a:pt x="211" y="512"/>
                    </a:lnTo>
                    <a:lnTo>
                      <a:pt x="211" y="510"/>
                    </a:lnTo>
                    <a:lnTo>
                      <a:pt x="211" y="507"/>
                    </a:lnTo>
                    <a:lnTo>
                      <a:pt x="211" y="505"/>
                    </a:lnTo>
                    <a:lnTo>
                      <a:pt x="211" y="503"/>
                    </a:lnTo>
                    <a:lnTo>
                      <a:pt x="211" y="503"/>
                    </a:lnTo>
                    <a:lnTo>
                      <a:pt x="211" y="503"/>
                    </a:lnTo>
                    <a:lnTo>
                      <a:pt x="213" y="503"/>
                    </a:lnTo>
                    <a:lnTo>
                      <a:pt x="211" y="503"/>
                    </a:lnTo>
                    <a:lnTo>
                      <a:pt x="211" y="500"/>
                    </a:lnTo>
                    <a:lnTo>
                      <a:pt x="211" y="500"/>
                    </a:lnTo>
                    <a:lnTo>
                      <a:pt x="208" y="500"/>
                    </a:lnTo>
                    <a:lnTo>
                      <a:pt x="208" y="498"/>
                    </a:lnTo>
                    <a:lnTo>
                      <a:pt x="208" y="498"/>
                    </a:lnTo>
                    <a:lnTo>
                      <a:pt x="208" y="498"/>
                    </a:lnTo>
                    <a:lnTo>
                      <a:pt x="211" y="498"/>
                    </a:lnTo>
                    <a:lnTo>
                      <a:pt x="208" y="496"/>
                    </a:lnTo>
                    <a:lnTo>
                      <a:pt x="211" y="496"/>
                    </a:lnTo>
                    <a:lnTo>
                      <a:pt x="211" y="493"/>
                    </a:lnTo>
                    <a:lnTo>
                      <a:pt x="208" y="493"/>
                    </a:lnTo>
                    <a:lnTo>
                      <a:pt x="208" y="493"/>
                    </a:lnTo>
                    <a:lnTo>
                      <a:pt x="208" y="493"/>
                    </a:lnTo>
                    <a:lnTo>
                      <a:pt x="206" y="493"/>
                    </a:lnTo>
                    <a:lnTo>
                      <a:pt x="206" y="493"/>
                    </a:lnTo>
                    <a:lnTo>
                      <a:pt x="203" y="493"/>
                    </a:lnTo>
                    <a:lnTo>
                      <a:pt x="203" y="493"/>
                    </a:lnTo>
                    <a:lnTo>
                      <a:pt x="203" y="493"/>
                    </a:lnTo>
                    <a:lnTo>
                      <a:pt x="201" y="493"/>
                    </a:lnTo>
                    <a:lnTo>
                      <a:pt x="199" y="493"/>
                    </a:lnTo>
                    <a:lnTo>
                      <a:pt x="199" y="491"/>
                    </a:lnTo>
                    <a:lnTo>
                      <a:pt x="196" y="491"/>
                    </a:lnTo>
                    <a:lnTo>
                      <a:pt x="196" y="491"/>
                    </a:lnTo>
                    <a:lnTo>
                      <a:pt x="196" y="491"/>
                    </a:lnTo>
                    <a:lnTo>
                      <a:pt x="194" y="491"/>
                    </a:lnTo>
                    <a:lnTo>
                      <a:pt x="194" y="491"/>
                    </a:lnTo>
                    <a:lnTo>
                      <a:pt x="194" y="491"/>
                    </a:lnTo>
                    <a:lnTo>
                      <a:pt x="192" y="491"/>
                    </a:lnTo>
                    <a:lnTo>
                      <a:pt x="192" y="491"/>
                    </a:lnTo>
                    <a:lnTo>
                      <a:pt x="189" y="491"/>
                    </a:lnTo>
                    <a:lnTo>
                      <a:pt x="189" y="491"/>
                    </a:lnTo>
                    <a:lnTo>
                      <a:pt x="187" y="491"/>
                    </a:lnTo>
                    <a:lnTo>
                      <a:pt x="185" y="491"/>
                    </a:lnTo>
                    <a:lnTo>
                      <a:pt x="185" y="491"/>
                    </a:lnTo>
                    <a:lnTo>
                      <a:pt x="182" y="493"/>
                    </a:lnTo>
                    <a:lnTo>
                      <a:pt x="182" y="491"/>
                    </a:lnTo>
                    <a:lnTo>
                      <a:pt x="180" y="491"/>
                    </a:lnTo>
                    <a:lnTo>
                      <a:pt x="180" y="491"/>
                    </a:lnTo>
                    <a:lnTo>
                      <a:pt x="177" y="491"/>
                    </a:lnTo>
                    <a:lnTo>
                      <a:pt x="175" y="491"/>
                    </a:lnTo>
                    <a:lnTo>
                      <a:pt x="173" y="491"/>
                    </a:lnTo>
                    <a:lnTo>
                      <a:pt x="173" y="491"/>
                    </a:lnTo>
                    <a:lnTo>
                      <a:pt x="173" y="489"/>
                    </a:lnTo>
                    <a:lnTo>
                      <a:pt x="173" y="489"/>
                    </a:lnTo>
                    <a:lnTo>
                      <a:pt x="173" y="486"/>
                    </a:lnTo>
                    <a:lnTo>
                      <a:pt x="173" y="486"/>
                    </a:lnTo>
                    <a:lnTo>
                      <a:pt x="170" y="486"/>
                    </a:lnTo>
                    <a:lnTo>
                      <a:pt x="170" y="486"/>
                    </a:lnTo>
                    <a:lnTo>
                      <a:pt x="170" y="484"/>
                    </a:lnTo>
                    <a:lnTo>
                      <a:pt x="168" y="486"/>
                    </a:lnTo>
                    <a:lnTo>
                      <a:pt x="168" y="486"/>
                    </a:lnTo>
                    <a:lnTo>
                      <a:pt x="166" y="489"/>
                    </a:lnTo>
                    <a:lnTo>
                      <a:pt x="163" y="489"/>
                    </a:lnTo>
                    <a:lnTo>
                      <a:pt x="163" y="489"/>
                    </a:lnTo>
                    <a:lnTo>
                      <a:pt x="163" y="491"/>
                    </a:lnTo>
                    <a:lnTo>
                      <a:pt x="163" y="491"/>
                    </a:lnTo>
                    <a:lnTo>
                      <a:pt x="163" y="491"/>
                    </a:lnTo>
                    <a:lnTo>
                      <a:pt x="161" y="491"/>
                    </a:lnTo>
                    <a:lnTo>
                      <a:pt x="161" y="491"/>
                    </a:lnTo>
                    <a:lnTo>
                      <a:pt x="159" y="491"/>
                    </a:lnTo>
                    <a:lnTo>
                      <a:pt x="159" y="491"/>
                    </a:lnTo>
                    <a:lnTo>
                      <a:pt x="156" y="489"/>
                    </a:lnTo>
                    <a:lnTo>
                      <a:pt x="156" y="489"/>
                    </a:lnTo>
                    <a:lnTo>
                      <a:pt x="156" y="489"/>
                    </a:lnTo>
                    <a:lnTo>
                      <a:pt x="156" y="486"/>
                    </a:lnTo>
                    <a:lnTo>
                      <a:pt x="156" y="486"/>
                    </a:lnTo>
                    <a:lnTo>
                      <a:pt x="154" y="486"/>
                    </a:lnTo>
                    <a:lnTo>
                      <a:pt x="156" y="484"/>
                    </a:lnTo>
                    <a:lnTo>
                      <a:pt x="154" y="484"/>
                    </a:lnTo>
                    <a:lnTo>
                      <a:pt x="154" y="481"/>
                    </a:lnTo>
                    <a:lnTo>
                      <a:pt x="151" y="484"/>
                    </a:lnTo>
                    <a:lnTo>
                      <a:pt x="151" y="484"/>
                    </a:lnTo>
                    <a:lnTo>
                      <a:pt x="151" y="479"/>
                    </a:lnTo>
                    <a:lnTo>
                      <a:pt x="151" y="479"/>
                    </a:lnTo>
                    <a:lnTo>
                      <a:pt x="151" y="479"/>
                    </a:lnTo>
                    <a:lnTo>
                      <a:pt x="151" y="477"/>
                    </a:lnTo>
                    <a:lnTo>
                      <a:pt x="149" y="477"/>
                    </a:lnTo>
                    <a:lnTo>
                      <a:pt x="81" y="477"/>
                    </a:lnTo>
                    <a:lnTo>
                      <a:pt x="26" y="477"/>
                    </a:lnTo>
                    <a:lnTo>
                      <a:pt x="10" y="474"/>
                    </a:lnTo>
                    <a:lnTo>
                      <a:pt x="10" y="474"/>
                    </a:lnTo>
                    <a:lnTo>
                      <a:pt x="12" y="474"/>
                    </a:lnTo>
                    <a:lnTo>
                      <a:pt x="14" y="474"/>
                    </a:lnTo>
                    <a:lnTo>
                      <a:pt x="14" y="472"/>
                    </a:lnTo>
                    <a:lnTo>
                      <a:pt x="14" y="472"/>
                    </a:lnTo>
                    <a:lnTo>
                      <a:pt x="14" y="470"/>
                    </a:lnTo>
                    <a:lnTo>
                      <a:pt x="14" y="467"/>
                    </a:lnTo>
                    <a:lnTo>
                      <a:pt x="14" y="465"/>
                    </a:lnTo>
                    <a:lnTo>
                      <a:pt x="14" y="465"/>
                    </a:lnTo>
                    <a:lnTo>
                      <a:pt x="14" y="463"/>
                    </a:lnTo>
                    <a:lnTo>
                      <a:pt x="14" y="463"/>
                    </a:lnTo>
                    <a:lnTo>
                      <a:pt x="14" y="463"/>
                    </a:lnTo>
                    <a:lnTo>
                      <a:pt x="14" y="460"/>
                    </a:lnTo>
                    <a:lnTo>
                      <a:pt x="14" y="458"/>
                    </a:lnTo>
                    <a:lnTo>
                      <a:pt x="17" y="455"/>
                    </a:lnTo>
                    <a:lnTo>
                      <a:pt x="17" y="453"/>
                    </a:lnTo>
                    <a:lnTo>
                      <a:pt x="17" y="453"/>
                    </a:lnTo>
                    <a:lnTo>
                      <a:pt x="17" y="451"/>
                    </a:lnTo>
                    <a:lnTo>
                      <a:pt x="17" y="451"/>
                    </a:lnTo>
                    <a:lnTo>
                      <a:pt x="17" y="448"/>
                    </a:lnTo>
                    <a:lnTo>
                      <a:pt x="17" y="451"/>
                    </a:lnTo>
                    <a:lnTo>
                      <a:pt x="19" y="451"/>
                    </a:lnTo>
                    <a:lnTo>
                      <a:pt x="19" y="451"/>
                    </a:lnTo>
                    <a:lnTo>
                      <a:pt x="19" y="451"/>
                    </a:lnTo>
                    <a:lnTo>
                      <a:pt x="19" y="451"/>
                    </a:lnTo>
                    <a:lnTo>
                      <a:pt x="19" y="446"/>
                    </a:lnTo>
                    <a:lnTo>
                      <a:pt x="19" y="446"/>
                    </a:lnTo>
                    <a:lnTo>
                      <a:pt x="19" y="444"/>
                    </a:lnTo>
                    <a:lnTo>
                      <a:pt x="19" y="444"/>
                    </a:lnTo>
                    <a:lnTo>
                      <a:pt x="19" y="441"/>
                    </a:lnTo>
                    <a:lnTo>
                      <a:pt x="19" y="441"/>
                    </a:lnTo>
                    <a:lnTo>
                      <a:pt x="19" y="441"/>
                    </a:lnTo>
                    <a:lnTo>
                      <a:pt x="19" y="441"/>
                    </a:lnTo>
                    <a:lnTo>
                      <a:pt x="17" y="439"/>
                    </a:lnTo>
                    <a:lnTo>
                      <a:pt x="17" y="437"/>
                    </a:lnTo>
                    <a:lnTo>
                      <a:pt x="19" y="434"/>
                    </a:lnTo>
                    <a:lnTo>
                      <a:pt x="19" y="434"/>
                    </a:lnTo>
                    <a:lnTo>
                      <a:pt x="19" y="434"/>
                    </a:lnTo>
                    <a:lnTo>
                      <a:pt x="19" y="432"/>
                    </a:lnTo>
                    <a:lnTo>
                      <a:pt x="19" y="429"/>
                    </a:lnTo>
                    <a:lnTo>
                      <a:pt x="19" y="429"/>
                    </a:lnTo>
                    <a:lnTo>
                      <a:pt x="19" y="429"/>
                    </a:lnTo>
                    <a:lnTo>
                      <a:pt x="19" y="427"/>
                    </a:lnTo>
                    <a:lnTo>
                      <a:pt x="19" y="425"/>
                    </a:lnTo>
                    <a:lnTo>
                      <a:pt x="19" y="425"/>
                    </a:lnTo>
                    <a:lnTo>
                      <a:pt x="19" y="420"/>
                    </a:lnTo>
                    <a:lnTo>
                      <a:pt x="22" y="420"/>
                    </a:lnTo>
                    <a:lnTo>
                      <a:pt x="22" y="418"/>
                    </a:lnTo>
                    <a:lnTo>
                      <a:pt x="19" y="415"/>
                    </a:lnTo>
                    <a:lnTo>
                      <a:pt x="19" y="411"/>
                    </a:lnTo>
                    <a:lnTo>
                      <a:pt x="22" y="408"/>
                    </a:lnTo>
                    <a:lnTo>
                      <a:pt x="19" y="406"/>
                    </a:lnTo>
                    <a:lnTo>
                      <a:pt x="22" y="406"/>
                    </a:lnTo>
                    <a:lnTo>
                      <a:pt x="22" y="401"/>
                    </a:lnTo>
                    <a:lnTo>
                      <a:pt x="22" y="401"/>
                    </a:lnTo>
                    <a:lnTo>
                      <a:pt x="19" y="401"/>
                    </a:lnTo>
                    <a:lnTo>
                      <a:pt x="19" y="401"/>
                    </a:lnTo>
                    <a:lnTo>
                      <a:pt x="22" y="399"/>
                    </a:lnTo>
                    <a:lnTo>
                      <a:pt x="19" y="399"/>
                    </a:lnTo>
                    <a:lnTo>
                      <a:pt x="19" y="399"/>
                    </a:lnTo>
                    <a:lnTo>
                      <a:pt x="17" y="399"/>
                    </a:lnTo>
                    <a:lnTo>
                      <a:pt x="17" y="396"/>
                    </a:lnTo>
                    <a:lnTo>
                      <a:pt x="17" y="392"/>
                    </a:lnTo>
                    <a:lnTo>
                      <a:pt x="17" y="392"/>
                    </a:lnTo>
                    <a:lnTo>
                      <a:pt x="14" y="389"/>
                    </a:lnTo>
                    <a:lnTo>
                      <a:pt x="14" y="389"/>
                    </a:lnTo>
                    <a:lnTo>
                      <a:pt x="12" y="389"/>
                    </a:lnTo>
                    <a:lnTo>
                      <a:pt x="12" y="389"/>
                    </a:lnTo>
                    <a:lnTo>
                      <a:pt x="10" y="389"/>
                    </a:lnTo>
                    <a:lnTo>
                      <a:pt x="10" y="387"/>
                    </a:lnTo>
                    <a:lnTo>
                      <a:pt x="12" y="387"/>
                    </a:lnTo>
                    <a:lnTo>
                      <a:pt x="10" y="382"/>
                    </a:lnTo>
                    <a:lnTo>
                      <a:pt x="7" y="380"/>
                    </a:lnTo>
                    <a:lnTo>
                      <a:pt x="7" y="380"/>
                    </a:lnTo>
                    <a:lnTo>
                      <a:pt x="7" y="378"/>
                    </a:lnTo>
                    <a:lnTo>
                      <a:pt x="7" y="375"/>
                    </a:lnTo>
                    <a:lnTo>
                      <a:pt x="7" y="373"/>
                    </a:lnTo>
                    <a:lnTo>
                      <a:pt x="10" y="373"/>
                    </a:lnTo>
                    <a:lnTo>
                      <a:pt x="10" y="373"/>
                    </a:lnTo>
                    <a:lnTo>
                      <a:pt x="10" y="370"/>
                    </a:lnTo>
                    <a:lnTo>
                      <a:pt x="10" y="370"/>
                    </a:lnTo>
                    <a:lnTo>
                      <a:pt x="7" y="368"/>
                    </a:lnTo>
                    <a:lnTo>
                      <a:pt x="7" y="368"/>
                    </a:lnTo>
                    <a:lnTo>
                      <a:pt x="5" y="368"/>
                    </a:lnTo>
                    <a:lnTo>
                      <a:pt x="5" y="368"/>
                    </a:lnTo>
                    <a:lnTo>
                      <a:pt x="5" y="363"/>
                    </a:lnTo>
                    <a:lnTo>
                      <a:pt x="5" y="361"/>
                    </a:lnTo>
                    <a:lnTo>
                      <a:pt x="7" y="359"/>
                    </a:lnTo>
                    <a:lnTo>
                      <a:pt x="7" y="359"/>
                    </a:lnTo>
                    <a:lnTo>
                      <a:pt x="7" y="359"/>
                    </a:lnTo>
                    <a:lnTo>
                      <a:pt x="7" y="354"/>
                    </a:lnTo>
                    <a:lnTo>
                      <a:pt x="7" y="354"/>
                    </a:lnTo>
                    <a:lnTo>
                      <a:pt x="7" y="354"/>
                    </a:lnTo>
                    <a:lnTo>
                      <a:pt x="10" y="352"/>
                    </a:lnTo>
                    <a:lnTo>
                      <a:pt x="12" y="347"/>
                    </a:lnTo>
                    <a:lnTo>
                      <a:pt x="12" y="347"/>
                    </a:lnTo>
                    <a:lnTo>
                      <a:pt x="14" y="344"/>
                    </a:lnTo>
                    <a:lnTo>
                      <a:pt x="14" y="342"/>
                    </a:lnTo>
                    <a:lnTo>
                      <a:pt x="12" y="342"/>
                    </a:lnTo>
                    <a:lnTo>
                      <a:pt x="14" y="340"/>
                    </a:lnTo>
                    <a:lnTo>
                      <a:pt x="14" y="340"/>
                    </a:lnTo>
                    <a:lnTo>
                      <a:pt x="14" y="340"/>
                    </a:lnTo>
                    <a:lnTo>
                      <a:pt x="14" y="337"/>
                    </a:lnTo>
                    <a:lnTo>
                      <a:pt x="14" y="337"/>
                    </a:lnTo>
                    <a:lnTo>
                      <a:pt x="14" y="335"/>
                    </a:lnTo>
                    <a:lnTo>
                      <a:pt x="17" y="333"/>
                    </a:lnTo>
                    <a:lnTo>
                      <a:pt x="17" y="330"/>
                    </a:lnTo>
                    <a:lnTo>
                      <a:pt x="17" y="328"/>
                    </a:lnTo>
                    <a:lnTo>
                      <a:pt x="14" y="326"/>
                    </a:lnTo>
                    <a:lnTo>
                      <a:pt x="14" y="323"/>
                    </a:lnTo>
                    <a:lnTo>
                      <a:pt x="14" y="323"/>
                    </a:lnTo>
                    <a:lnTo>
                      <a:pt x="14" y="321"/>
                    </a:lnTo>
                    <a:lnTo>
                      <a:pt x="14" y="321"/>
                    </a:lnTo>
                    <a:lnTo>
                      <a:pt x="12" y="318"/>
                    </a:lnTo>
                    <a:lnTo>
                      <a:pt x="10" y="318"/>
                    </a:lnTo>
                    <a:lnTo>
                      <a:pt x="14" y="316"/>
                    </a:lnTo>
                    <a:lnTo>
                      <a:pt x="14" y="314"/>
                    </a:lnTo>
                    <a:lnTo>
                      <a:pt x="10" y="311"/>
                    </a:lnTo>
                    <a:lnTo>
                      <a:pt x="7" y="311"/>
                    </a:lnTo>
                    <a:lnTo>
                      <a:pt x="7" y="309"/>
                    </a:lnTo>
                    <a:lnTo>
                      <a:pt x="10" y="309"/>
                    </a:lnTo>
                    <a:lnTo>
                      <a:pt x="12" y="309"/>
                    </a:lnTo>
                    <a:lnTo>
                      <a:pt x="14" y="309"/>
                    </a:lnTo>
                    <a:lnTo>
                      <a:pt x="14" y="307"/>
                    </a:lnTo>
                    <a:lnTo>
                      <a:pt x="17" y="307"/>
                    </a:lnTo>
                    <a:lnTo>
                      <a:pt x="17" y="304"/>
                    </a:lnTo>
                    <a:lnTo>
                      <a:pt x="17" y="302"/>
                    </a:lnTo>
                    <a:lnTo>
                      <a:pt x="17" y="302"/>
                    </a:lnTo>
                    <a:lnTo>
                      <a:pt x="19" y="300"/>
                    </a:lnTo>
                    <a:lnTo>
                      <a:pt x="19" y="297"/>
                    </a:lnTo>
                    <a:lnTo>
                      <a:pt x="19" y="297"/>
                    </a:lnTo>
                    <a:lnTo>
                      <a:pt x="19" y="297"/>
                    </a:lnTo>
                    <a:lnTo>
                      <a:pt x="19" y="297"/>
                    </a:lnTo>
                    <a:lnTo>
                      <a:pt x="17" y="297"/>
                    </a:lnTo>
                    <a:lnTo>
                      <a:pt x="17" y="297"/>
                    </a:lnTo>
                    <a:lnTo>
                      <a:pt x="17" y="292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88"/>
                    </a:lnTo>
                    <a:lnTo>
                      <a:pt x="14" y="288"/>
                    </a:lnTo>
                    <a:lnTo>
                      <a:pt x="14" y="285"/>
                    </a:lnTo>
                    <a:lnTo>
                      <a:pt x="14" y="285"/>
                    </a:lnTo>
                    <a:lnTo>
                      <a:pt x="10" y="283"/>
                    </a:lnTo>
                    <a:lnTo>
                      <a:pt x="10" y="283"/>
                    </a:lnTo>
                    <a:lnTo>
                      <a:pt x="14" y="281"/>
                    </a:lnTo>
                    <a:lnTo>
                      <a:pt x="10" y="278"/>
                    </a:lnTo>
                    <a:lnTo>
                      <a:pt x="7" y="278"/>
                    </a:lnTo>
                    <a:lnTo>
                      <a:pt x="7" y="278"/>
                    </a:lnTo>
                    <a:lnTo>
                      <a:pt x="7" y="276"/>
                    </a:lnTo>
                    <a:lnTo>
                      <a:pt x="7" y="276"/>
                    </a:lnTo>
                    <a:lnTo>
                      <a:pt x="10" y="274"/>
                    </a:lnTo>
                    <a:lnTo>
                      <a:pt x="10" y="274"/>
                    </a:lnTo>
                    <a:lnTo>
                      <a:pt x="10" y="271"/>
                    </a:lnTo>
                    <a:lnTo>
                      <a:pt x="10" y="271"/>
                    </a:lnTo>
                    <a:lnTo>
                      <a:pt x="10" y="269"/>
                    </a:lnTo>
                    <a:lnTo>
                      <a:pt x="10" y="267"/>
                    </a:lnTo>
                    <a:lnTo>
                      <a:pt x="10" y="267"/>
                    </a:lnTo>
                    <a:lnTo>
                      <a:pt x="7" y="264"/>
                    </a:lnTo>
                    <a:lnTo>
                      <a:pt x="5" y="264"/>
                    </a:lnTo>
                    <a:lnTo>
                      <a:pt x="3" y="264"/>
                    </a:lnTo>
                    <a:lnTo>
                      <a:pt x="3" y="262"/>
                    </a:lnTo>
                    <a:lnTo>
                      <a:pt x="0" y="264"/>
                    </a:lnTo>
                    <a:lnTo>
                      <a:pt x="0" y="262"/>
                    </a:lnTo>
                    <a:lnTo>
                      <a:pt x="0" y="259"/>
                    </a:lnTo>
                    <a:lnTo>
                      <a:pt x="3" y="259"/>
                    </a:lnTo>
                    <a:lnTo>
                      <a:pt x="3" y="257"/>
                    </a:lnTo>
                    <a:lnTo>
                      <a:pt x="3" y="255"/>
                    </a:lnTo>
                    <a:lnTo>
                      <a:pt x="3" y="252"/>
                    </a:lnTo>
                    <a:lnTo>
                      <a:pt x="3" y="252"/>
                    </a:lnTo>
                    <a:lnTo>
                      <a:pt x="0" y="252"/>
                    </a:lnTo>
                    <a:lnTo>
                      <a:pt x="0" y="252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2" name="Freeform 22"/>
              <p:cNvSpPr>
                <a:spLocks/>
              </p:cNvSpPr>
              <p:nvPr/>
            </p:nvSpPr>
            <p:spPr bwMode="auto">
              <a:xfrm>
                <a:off x="3857193" y="4221474"/>
                <a:ext cx="976514" cy="958450"/>
              </a:xfrm>
              <a:custGeom>
                <a:avLst/>
                <a:gdLst/>
                <a:ahLst/>
                <a:cxnLst>
                  <a:cxn ang="0">
                    <a:pos x="54" y="68"/>
                  </a:cxn>
                  <a:cxn ang="0">
                    <a:pos x="61" y="63"/>
                  </a:cxn>
                  <a:cxn ang="0">
                    <a:pos x="87" y="89"/>
                  </a:cxn>
                  <a:cxn ang="0">
                    <a:pos x="118" y="82"/>
                  </a:cxn>
                  <a:cxn ang="0">
                    <a:pos x="151" y="54"/>
                  </a:cxn>
                  <a:cxn ang="0">
                    <a:pos x="174" y="26"/>
                  </a:cxn>
                  <a:cxn ang="0">
                    <a:pos x="200" y="18"/>
                  </a:cxn>
                  <a:cxn ang="0">
                    <a:pos x="231" y="14"/>
                  </a:cxn>
                  <a:cxn ang="0">
                    <a:pos x="252" y="2"/>
                  </a:cxn>
                  <a:cxn ang="0">
                    <a:pos x="278" y="11"/>
                  </a:cxn>
                  <a:cxn ang="0">
                    <a:pos x="302" y="18"/>
                  </a:cxn>
                  <a:cxn ang="0">
                    <a:pos x="328" y="30"/>
                  </a:cxn>
                  <a:cxn ang="0">
                    <a:pos x="349" y="44"/>
                  </a:cxn>
                  <a:cxn ang="0">
                    <a:pos x="371" y="54"/>
                  </a:cxn>
                  <a:cxn ang="0">
                    <a:pos x="392" y="59"/>
                  </a:cxn>
                  <a:cxn ang="0">
                    <a:pos x="423" y="59"/>
                  </a:cxn>
                  <a:cxn ang="0">
                    <a:pos x="458" y="42"/>
                  </a:cxn>
                  <a:cxn ang="0">
                    <a:pos x="484" y="61"/>
                  </a:cxn>
                  <a:cxn ang="0">
                    <a:pos x="517" y="56"/>
                  </a:cxn>
                  <a:cxn ang="0">
                    <a:pos x="550" y="18"/>
                  </a:cxn>
                  <a:cxn ang="0">
                    <a:pos x="541" y="80"/>
                  </a:cxn>
                  <a:cxn ang="0">
                    <a:pos x="550" y="101"/>
                  </a:cxn>
                  <a:cxn ang="0">
                    <a:pos x="578" y="106"/>
                  </a:cxn>
                  <a:cxn ang="0">
                    <a:pos x="604" y="108"/>
                  </a:cxn>
                  <a:cxn ang="0">
                    <a:pos x="654" y="151"/>
                  </a:cxn>
                  <a:cxn ang="0">
                    <a:pos x="666" y="191"/>
                  </a:cxn>
                  <a:cxn ang="0">
                    <a:pos x="732" y="207"/>
                  </a:cxn>
                  <a:cxn ang="0">
                    <a:pos x="763" y="224"/>
                  </a:cxn>
                  <a:cxn ang="0">
                    <a:pos x="786" y="236"/>
                  </a:cxn>
                  <a:cxn ang="0">
                    <a:pos x="812" y="250"/>
                  </a:cxn>
                  <a:cxn ang="0">
                    <a:pos x="848" y="259"/>
                  </a:cxn>
                  <a:cxn ang="0">
                    <a:pos x="881" y="274"/>
                  </a:cxn>
                  <a:cxn ang="0">
                    <a:pos x="916" y="300"/>
                  </a:cxn>
                  <a:cxn ang="0">
                    <a:pos x="909" y="370"/>
                  </a:cxn>
                  <a:cxn ang="0">
                    <a:pos x="836" y="451"/>
                  </a:cxn>
                  <a:cxn ang="0">
                    <a:pos x="798" y="526"/>
                  </a:cxn>
                  <a:cxn ang="0">
                    <a:pos x="765" y="600"/>
                  </a:cxn>
                  <a:cxn ang="0">
                    <a:pos x="680" y="682"/>
                  </a:cxn>
                  <a:cxn ang="0">
                    <a:pos x="604" y="737"/>
                  </a:cxn>
                  <a:cxn ang="0">
                    <a:pos x="526" y="829"/>
                  </a:cxn>
                  <a:cxn ang="0">
                    <a:pos x="474" y="883"/>
                  </a:cxn>
                  <a:cxn ang="0">
                    <a:pos x="432" y="876"/>
                  </a:cxn>
                  <a:cxn ang="0">
                    <a:pos x="394" y="890"/>
                  </a:cxn>
                  <a:cxn ang="0">
                    <a:pos x="354" y="888"/>
                  </a:cxn>
                  <a:cxn ang="0">
                    <a:pos x="340" y="845"/>
                  </a:cxn>
                  <a:cxn ang="0">
                    <a:pos x="333" y="798"/>
                  </a:cxn>
                  <a:cxn ang="0">
                    <a:pos x="321" y="753"/>
                  </a:cxn>
                  <a:cxn ang="0">
                    <a:pos x="314" y="706"/>
                  </a:cxn>
                  <a:cxn ang="0">
                    <a:pos x="276" y="668"/>
                  </a:cxn>
                  <a:cxn ang="0">
                    <a:pos x="241" y="661"/>
                  </a:cxn>
                  <a:cxn ang="0">
                    <a:pos x="219" y="642"/>
                  </a:cxn>
                  <a:cxn ang="0">
                    <a:pos x="198" y="659"/>
                  </a:cxn>
                  <a:cxn ang="0">
                    <a:pos x="174" y="666"/>
                  </a:cxn>
                  <a:cxn ang="0">
                    <a:pos x="149" y="661"/>
                  </a:cxn>
                  <a:cxn ang="0">
                    <a:pos x="120" y="659"/>
                  </a:cxn>
                  <a:cxn ang="0">
                    <a:pos x="99" y="659"/>
                  </a:cxn>
                  <a:cxn ang="0">
                    <a:pos x="71" y="642"/>
                  </a:cxn>
                  <a:cxn ang="0">
                    <a:pos x="30" y="647"/>
                  </a:cxn>
                  <a:cxn ang="0">
                    <a:pos x="28" y="597"/>
                  </a:cxn>
                  <a:cxn ang="0">
                    <a:pos x="37" y="519"/>
                  </a:cxn>
                  <a:cxn ang="0">
                    <a:pos x="37" y="467"/>
                  </a:cxn>
                  <a:cxn ang="0">
                    <a:pos x="7" y="401"/>
                  </a:cxn>
                  <a:cxn ang="0">
                    <a:pos x="37" y="368"/>
                  </a:cxn>
                </a:cxnLst>
                <a:rect l="0" t="0" r="r" b="b"/>
                <a:pathLst>
                  <a:path w="919" h="902">
                    <a:moveTo>
                      <a:pt x="16" y="311"/>
                    </a:moveTo>
                    <a:lnTo>
                      <a:pt x="35" y="271"/>
                    </a:lnTo>
                    <a:lnTo>
                      <a:pt x="49" y="243"/>
                    </a:lnTo>
                    <a:lnTo>
                      <a:pt x="59" y="243"/>
                    </a:lnTo>
                    <a:lnTo>
                      <a:pt x="61" y="241"/>
                    </a:lnTo>
                    <a:lnTo>
                      <a:pt x="59" y="241"/>
                    </a:lnTo>
                    <a:lnTo>
                      <a:pt x="61" y="238"/>
                    </a:lnTo>
                    <a:lnTo>
                      <a:pt x="59" y="236"/>
                    </a:lnTo>
                    <a:lnTo>
                      <a:pt x="56" y="236"/>
                    </a:lnTo>
                    <a:lnTo>
                      <a:pt x="56" y="236"/>
                    </a:lnTo>
                    <a:lnTo>
                      <a:pt x="56" y="226"/>
                    </a:lnTo>
                    <a:lnTo>
                      <a:pt x="52" y="226"/>
                    </a:lnTo>
                    <a:lnTo>
                      <a:pt x="78" y="139"/>
                    </a:lnTo>
                    <a:lnTo>
                      <a:pt x="89" y="139"/>
                    </a:lnTo>
                    <a:lnTo>
                      <a:pt x="89" y="137"/>
                    </a:lnTo>
                    <a:lnTo>
                      <a:pt x="89" y="137"/>
                    </a:lnTo>
                    <a:lnTo>
                      <a:pt x="87" y="137"/>
                    </a:lnTo>
                    <a:lnTo>
                      <a:pt x="87" y="134"/>
                    </a:lnTo>
                    <a:lnTo>
                      <a:pt x="87" y="134"/>
                    </a:lnTo>
                    <a:lnTo>
                      <a:pt x="87" y="134"/>
                    </a:lnTo>
                    <a:lnTo>
                      <a:pt x="85" y="134"/>
                    </a:lnTo>
                    <a:lnTo>
                      <a:pt x="85" y="134"/>
                    </a:lnTo>
                    <a:lnTo>
                      <a:pt x="85" y="134"/>
                    </a:lnTo>
                    <a:lnTo>
                      <a:pt x="75" y="125"/>
                    </a:lnTo>
                    <a:lnTo>
                      <a:pt x="73" y="122"/>
                    </a:lnTo>
                    <a:lnTo>
                      <a:pt x="73" y="115"/>
                    </a:lnTo>
                    <a:lnTo>
                      <a:pt x="56" y="85"/>
                    </a:lnTo>
                    <a:lnTo>
                      <a:pt x="61" y="85"/>
                    </a:lnTo>
                    <a:lnTo>
                      <a:pt x="61" y="82"/>
                    </a:lnTo>
                    <a:lnTo>
                      <a:pt x="56" y="78"/>
                    </a:lnTo>
                    <a:lnTo>
                      <a:pt x="59" y="73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3"/>
                    </a:lnTo>
                    <a:lnTo>
                      <a:pt x="49" y="63"/>
                    </a:lnTo>
                    <a:lnTo>
                      <a:pt x="49" y="61"/>
                    </a:lnTo>
                    <a:lnTo>
                      <a:pt x="49" y="59"/>
                    </a:lnTo>
                    <a:lnTo>
                      <a:pt x="49" y="59"/>
                    </a:lnTo>
                    <a:lnTo>
                      <a:pt x="49" y="56"/>
                    </a:lnTo>
                    <a:lnTo>
                      <a:pt x="49" y="59"/>
                    </a:lnTo>
                    <a:lnTo>
                      <a:pt x="49" y="56"/>
                    </a:lnTo>
                    <a:lnTo>
                      <a:pt x="49" y="54"/>
                    </a:lnTo>
                    <a:lnTo>
                      <a:pt x="47" y="54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7" y="54"/>
                    </a:lnTo>
                    <a:lnTo>
                      <a:pt x="47" y="54"/>
                    </a:lnTo>
                    <a:lnTo>
                      <a:pt x="49" y="52"/>
                    </a:lnTo>
                    <a:lnTo>
                      <a:pt x="49" y="52"/>
                    </a:lnTo>
                    <a:lnTo>
                      <a:pt x="47" y="52"/>
                    </a:lnTo>
                    <a:lnTo>
                      <a:pt x="47" y="49"/>
                    </a:lnTo>
                    <a:lnTo>
                      <a:pt x="47" y="49"/>
                    </a:lnTo>
                    <a:lnTo>
                      <a:pt x="52" y="52"/>
                    </a:lnTo>
                    <a:lnTo>
                      <a:pt x="54" y="47"/>
                    </a:lnTo>
                    <a:lnTo>
                      <a:pt x="56" y="47"/>
                    </a:lnTo>
                    <a:lnTo>
                      <a:pt x="56" y="49"/>
                    </a:lnTo>
                    <a:lnTo>
                      <a:pt x="56" y="52"/>
                    </a:lnTo>
                    <a:lnTo>
                      <a:pt x="59" y="52"/>
                    </a:lnTo>
                    <a:lnTo>
                      <a:pt x="59" y="54"/>
                    </a:lnTo>
                    <a:lnTo>
                      <a:pt x="59" y="56"/>
                    </a:lnTo>
                    <a:lnTo>
                      <a:pt x="61" y="59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1" y="61"/>
                    </a:lnTo>
                    <a:lnTo>
                      <a:pt x="61" y="61"/>
                    </a:lnTo>
                    <a:lnTo>
                      <a:pt x="61" y="63"/>
                    </a:lnTo>
                    <a:lnTo>
                      <a:pt x="61" y="63"/>
                    </a:lnTo>
                    <a:lnTo>
                      <a:pt x="63" y="63"/>
                    </a:lnTo>
                    <a:lnTo>
                      <a:pt x="63" y="66"/>
                    </a:lnTo>
                    <a:lnTo>
                      <a:pt x="63" y="66"/>
                    </a:lnTo>
                    <a:lnTo>
                      <a:pt x="63" y="66"/>
                    </a:lnTo>
                    <a:lnTo>
                      <a:pt x="61" y="68"/>
                    </a:lnTo>
                    <a:lnTo>
                      <a:pt x="61" y="68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3" y="70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66" y="73"/>
                    </a:lnTo>
                    <a:lnTo>
                      <a:pt x="66" y="70"/>
                    </a:lnTo>
                    <a:lnTo>
                      <a:pt x="66" y="70"/>
                    </a:lnTo>
                    <a:lnTo>
                      <a:pt x="68" y="73"/>
                    </a:lnTo>
                    <a:lnTo>
                      <a:pt x="71" y="75"/>
                    </a:lnTo>
                    <a:lnTo>
                      <a:pt x="71" y="75"/>
                    </a:lnTo>
                    <a:lnTo>
                      <a:pt x="71" y="75"/>
                    </a:lnTo>
                    <a:lnTo>
                      <a:pt x="71" y="78"/>
                    </a:lnTo>
                    <a:lnTo>
                      <a:pt x="73" y="78"/>
                    </a:lnTo>
                    <a:lnTo>
                      <a:pt x="71" y="80"/>
                    </a:lnTo>
                    <a:lnTo>
                      <a:pt x="71" y="80"/>
                    </a:lnTo>
                    <a:lnTo>
                      <a:pt x="71" y="82"/>
                    </a:lnTo>
                    <a:lnTo>
                      <a:pt x="71" y="82"/>
                    </a:lnTo>
                    <a:lnTo>
                      <a:pt x="75" y="82"/>
                    </a:lnTo>
                    <a:lnTo>
                      <a:pt x="75" y="85"/>
                    </a:lnTo>
                    <a:lnTo>
                      <a:pt x="78" y="85"/>
                    </a:lnTo>
                    <a:lnTo>
                      <a:pt x="78" y="85"/>
                    </a:lnTo>
                    <a:lnTo>
                      <a:pt x="80" y="87"/>
                    </a:lnTo>
                    <a:lnTo>
                      <a:pt x="80" y="89"/>
                    </a:lnTo>
                    <a:lnTo>
                      <a:pt x="82" y="89"/>
                    </a:lnTo>
                    <a:lnTo>
                      <a:pt x="87" y="89"/>
                    </a:lnTo>
                    <a:lnTo>
                      <a:pt x="87" y="92"/>
                    </a:lnTo>
                    <a:lnTo>
                      <a:pt x="89" y="94"/>
                    </a:lnTo>
                    <a:lnTo>
                      <a:pt x="92" y="96"/>
                    </a:lnTo>
                    <a:lnTo>
                      <a:pt x="92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4" y="89"/>
                    </a:lnTo>
                    <a:lnTo>
                      <a:pt x="97" y="89"/>
                    </a:lnTo>
                    <a:lnTo>
                      <a:pt x="97" y="89"/>
                    </a:lnTo>
                    <a:lnTo>
                      <a:pt x="97" y="87"/>
                    </a:lnTo>
                    <a:lnTo>
                      <a:pt x="97" y="87"/>
                    </a:lnTo>
                    <a:lnTo>
                      <a:pt x="99" y="87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87"/>
                    </a:lnTo>
                    <a:lnTo>
                      <a:pt x="104" y="87"/>
                    </a:lnTo>
                    <a:lnTo>
                      <a:pt x="104" y="87"/>
                    </a:lnTo>
                    <a:lnTo>
                      <a:pt x="104" y="87"/>
                    </a:lnTo>
                    <a:lnTo>
                      <a:pt x="104" y="87"/>
                    </a:lnTo>
                    <a:lnTo>
                      <a:pt x="106" y="87"/>
                    </a:lnTo>
                    <a:lnTo>
                      <a:pt x="106" y="85"/>
                    </a:lnTo>
                    <a:lnTo>
                      <a:pt x="108" y="85"/>
                    </a:lnTo>
                    <a:lnTo>
                      <a:pt x="108" y="82"/>
                    </a:lnTo>
                    <a:lnTo>
                      <a:pt x="111" y="85"/>
                    </a:lnTo>
                    <a:lnTo>
                      <a:pt x="111" y="82"/>
                    </a:lnTo>
                    <a:lnTo>
                      <a:pt x="111" y="82"/>
                    </a:lnTo>
                    <a:lnTo>
                      <a:pt x="111" y="85"/>
                    </a:lnTo>
                    <a:lnTo>
                      <a:pt x="111" y="85"/>
                    </a:lnTo>
                    <a:lnTo>
                      <a:pt x="111" y="82"/>
                    </a:lnTo>
                    <a:lnTo>
                      <a:pt x="115" y="85"/>
                    </a:lnTo>
                    <a:lnTo>
                      <a:pt x="115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5" y="80"/>
                    </a:lnTo>
                    <a:lnTo>
                      <a:pt x="118" y="82"/>
                    </a:lnTo>
                    <a:lnTo>
                      <a:pt x="118" y="80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23" y="80"/>
                    </a:lnTo>
                    <a:lnTo>
                      <a:pt x="125" y="80"/>
                    </a:lnTo>
                    <a:lnTo>
                      <a:pt x="127" y="80"/>
                    </a:lnTo>
                    <a:lnTo>
                      <a:pt x="130" y="78"/>
                    </a:lnTo>
                    <a:lnTo>
                      <a:pt x="134" y="80"/>
                    </a:lnTo>
                    <a:lnTo>
                      <a:pt x="134" y="78"/>
                    </a:lnTo>
                    <a:lnTo>
                      <a:pt x="137" y="78"/>
                    </a:lnTo>
                    <a:lnTo>
                      <a:pt x="137" y="75"/>
                    </a:lnTo>
                    <a:lnTo>
                      <a:pt x="137" y="75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41" y="73"/>
                    </a:lnTo>
                    <a:lnTo>
                      <a:pt x="141" y="73"/>
                    </a:lnTo>
                    <a:lnTo>
                      <a:pt x="144" y="73"/>
                    </a:lnTo>
                    <a:lnTo>
                      <a:pt x="144" y="68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6" y="66"/>
                    </a:lnTo>
                    <a:lnTo>
                      <a:pt x="146" y="66"/>
                    </a:lnTo>
                    <a:lnTo>
                      <a:pt x="149" y="66"/>
                    </a:lnTo>
                    <a:lnTo>
                      <a:pt x="149" y="63"/>
                    </a:lnTo>
                    <a:lnTo>
                      <a:pt x="151" y="61"/>
                    </a:lnTo>
                    <a:lnTo>
                      <a:pt x="153" y="59"/>
                    </a:lnTo>
                    <a:lnTo>
                      <a:pt x="153" y="56"/>
                    </a:lnTo>
                    <a:lnTo>
                      <a:pt x="151" y="59"/>
                    </a:lnTo>
                    <a:lnTo>
                      <a:pt x="151" y="56"/>
                    </a:lnTo>
                    <a:lnTo>
                      <a:pt x="151" y="56"/>
                    </a:lnTo>
                    <a:lnTo>
                      <a:pt x="151" y="54"/>
                    </a:lnTo>
                    <a:lnTo>
                      <a:pt x="151" y="54"/>
                    </a:lnTo>
                    <a:lnTo>
                      <a:pt x="151" y="54"/>
                    </a:lnTo>
                    <a:lnTo>
                      <a:pt x="153" y="52"/>
                    </a:lnTo>
                    <a:lnTo>
                      <a:pt x="153" y="52"/>
                    </a:lnTo>
                    <a:lnTo>
                      <a:pt x="156" y="49"/>
                    </a:lnTo>
                    <a:lnTo>
                      <a:pt x="158" y="49"/>
                    </a:lnTo>
                    <a:lnTo>
                      <a:pt x="160" y="47"/>
                    </a:lnTo>
                    <a:lnTo>
                      <a:pt x="163" y="49"/>
                    </a:lnTo>
                    <a:lnTo>
                      <a:pt x="163" y="47"/>
                    </a:lnTo>
                    <a:lnTo>
                      <a:pt x="165" y="44"/>
                    </a:lnTo>
                    <a:lnTo>
                      <a:pt x="165" y="44"/>
                    </a:lnTo>
                    <a:lnTo>
                      <a:pt x="165" y="42"/>
                    </a:lnTo>
                    <a:lnTo>
                      <a:pt x="165" y="42"/>
                    </a:lnTo>
                    <a:lnTo>
                      <a:pt x="165" y="40"/>
                    </a:lnTo>
                    <a:lnTo>
                      <a:pt x="167" y="42"/>
                    </a:lnTo>
                    <a:lnTo>
                      <a:pt x="167" y="40"/>
                    </a:lnTo>
                    <a:lnTo>
                      <a:pt x="167" y="40"/>
                    </a:lnTo>
                    <a:lnTo>
                      <a:pt x="167" y="37"/>
                    </a:lnTo>
                    <a:lnTo>
                      <a:pt x="170" y="37"/>
                    </a:lnTo>
                    <a:lnTo>
                      <a:pt x="170" y="37"/>
                    </a:lnTo>
                    <a:lnTo>
                      <a:pt x="170" y="35"/>
                    </a:lnTo>
                    <a:lnTo>
                      <a:pt x="167" y="35"/>
                    </a:lnTo>
                    <a:lnTo>
                      <a:pt x="170" y="35"/>
                    </a:lnTo>
                    <a:lnTo>
                      <a:pt x="170" y="35"/>
                    </a:lnTo>
                    <a:lnTo>
                      <a:pt x="172" y="33"/>
                    </a:lnTo>
                    <a:lnTo>
                      <a:pt x="170" y="33"/>
                    </a:lnTo>
                    <a:lnTo>
                      <a:pt x="170" y="33"/>
                    </a:lnTo>
                    <a:lnTo>
                      <a:pt x="167" y="33"/>
                    </a:lnTo>
                    <a:lnTo>
                      <a:pt x="170" y="30"/>
                    </a:lnTo>
                    <a:lnTo>
                      <a:pt x="170" y="28"/>
                    </a:lnTo>
                    <a:lnTo>
                      <a:pt x="172" y="28"/>
                    </a:lnTo>
                    <a:lnTo>
                      <a:pt x="174" y="28"/>
                    </a:lnTo>
                    <a:lnTo>
                      <a:pt x="174" y="28"/>
                    </a:lnTo>
                    <a:lnTo>
                      <a:pt x="174" y="26"/>
                    </a:lnTo>
                    <a:lnTo>
                      <a:pt x="174" y="26"/>
                    </a:lnTo>
                    <a:lnTo>
                      <a:pt x="177" y="23"/>
                    </a:lnTo>
                    <a:lnTo>
                      <a:pt x="177" y="23"/>
                    </a:lnTo>
                    <a:lnTo>
                      <a:pt x="177" y="23"/>
                    </a:lnTo>
                    <a:lnTo>
                      <a:pt x="179" y="21"/>
                    </a:lnTo>
                    <a:lnTo>
                      <a:pt x="179" y="21"/>
                    </a:lnTo>
                    <a:lnTo>
                      <a:pt x="182" y="21"/>
                    </a:lnTo>
                    <a:lnTo>
                      <a:pt x="182" y="21"/>
                    </a:lnTo>
                    <a:lnTo>
                      <a:pt x="182" y="18"/>
                    </a:lnTo>
                    <a:lnTo>
                      <a:pt x="184" y="18"/>
                    </a:lnTo>
                    <a:lnTo>
                      <a:pt x="184" y="18"/>
                    </a:lnTo>
                    <a:lnTo>
                      <a:pt x="186" y="18"/>
                    </a:lnTo>
                    <a:lnTo>
                      <a:pt x="186" y="21"/>
                    </a:lnTo>
                    <a:lnTo>
                      <a:pt x="189" y="18"/>
                    </a:lnTo>
                    <a:lnTo>
                      <a:pt x="189" y="21"/>
                    </a:lnTo>
                    <a:lnTo>
                      <a:pt x="189" y="21"/>
                    </a:lnTo>
                    <a:lnTo>
                      <a:pt x="191" y="21"/>
                    </a:lnTo>
                    <a:lnTo>
                      <a:pt x="191" y="21"/>
                    </a:lnTo>
                    <a:lnTo>
                      <a:pt x="191" y="21"/>
                    </a:lnTo>
                    <a:lnTo>
                      <a:pt x="191" y="21"/>
                    </a:lnTo>
                    <a:lnTo>
                      <a:pt x="193" y="21"/>
                    </a:lnTo>
                    <a:lnTo>
                      <a:pt x="193" y="21"/>
                    </a:lnTo>
                    <a:lnTo>
                      <a:pt x="193" y="21"/>
                    </a:lnTo>
                    <a:lnTo>
                      <a:pt x="193" y="18"/>
                    </a:lnTo>
                    <a:lnTo>
                      <a:pt x="193" y="21"/>
                    </a:lnTo>
                    <a:lnTo>
                      <a:pt x="196" y="21"/>
                    </a:lnTo>
                    <a:lnTo>
                      <a:pt x="196" y="21"/>
                    </a:lnTo>
                    <a:lnTo>
                      <a:pt x="198" y="21"/>
                    </a:lnTo>
                    <a:lnTo>
                      <a:pt x="198" y="21"/>
                    </a:lnTo>
                    <a:lnTo>
                      <a:pt x="198" y="21"/>
                    </a:lnTo>
                    <a:lnTo>
                      <a:pt x="200" y="21"/>
                    </a:lnTo>
                    <a:lnTo>
                      <a:pt x="200" y="21"/>
                    </a:lnTo>
                    <a:lnTo>
                      <a:pt x="203" y="21"/>
                    </a:lnTo>
                    <a:lnTo>
                      <a:pt x="200" y="18"/>
                    </a:lnTo>
                    <a:lnTo>
                      <a:pt x="203" y="18"/>
                    </a:lnTo>
                    <a:lnTo>
                      <a:pt x="205" y="21"/>
                    </a:lnTo>
                    <a:lnTo>
                      <a:pt x="208" y="18"/>
                    </a:lnTo>
                    <a:lnTo>
                      <a:pt x="208" y="18"/>
                    </a:lnTo>
                    <a:lnTo>
                      <a:pt x="210" y="18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6"/>
                    </a:lnTo>
                    <a:lnTo>
                      <a:pt x="210" y="16"/>
                    </a:lnTo>
                    <a:lnTo>
                      <a:pt x="210" y="16"/>
                    </a:lnTo>
                    <a:lnTo>
                      <a:pt x="212" y="14"/>
                    </a:lnTo>
                    <a:lnTo>
                      <a:pt x="212" y="16"/>
                    </a:lnTo>
                    <a:lnTo>
                      <a:pt x="212" y="16"/>
                    </a:lnTo>
                    <a:lnTo>
                      <a:pt x="215" y="18"/>
                    </a:lnTo>
                    <a:lnTo>
                      <a:pt x="215" y="16"/>
                    </a:lnTo>
                    <a:lnTo>
                      <a:pt x="217" y="16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21"/>
                    </a:lnTo>
                    <a:lnTo>
                      <a:pt x="219" y="21"/>
                    </a:lnTo>
                    <a:lnTo>
                      <a:pt x="219" y="18"/>
                    </a:lnTo>
                    <a:lnTo>
                      <a:pt x="222" y="18"/>
                    </a:lnTo>
                    <a:lnTo>
                      <a:pt x="222" y="18"/>
                    </a:lnTo>
                    <a:lnTo>
                      <a:pt x="224" y="16"/>
                    </a:lnTo>
                    <a:lnTo>
                      <a:pt x="226" y="16"/>
                    </a:lnTo>
                    <a:lnTo>
                      <a:pt x="226" y="16"/>
                    </a:lnTo>
                    <a:lnTo>
                      <a:pt x="226" y="14"/>
                    </a:lnTo>
                    <a:lnTo>
                      <a:pt x="229" y="14"/>
                    </a:lnTo>
                    <a:lnTo>
                      <a:pt x="229" y="14"/>
                    </a:lnTo>
                    <a:lnTo>
                      <a:pt x="229" y="14"/>
                    </a:lnTo>
                    <a:lnTo>
                      <a:pt x="229" y="11"/>
                    </a:lnTo>
                    <a:lnTo>
                      <a:pt x="231" y="14"/>
                    </a:lnTo>
                    <a:lnTo>
                      <a:pt x="231" y="14"/>
                    </a:lnTo>
                    <a:lnTo>
                      <a:pt x="231" y="14"/>
                    </a:lnTo>
                    <a:lnTo>
                      <a:pt x="231" y="14"/>
                    </a:lnTo>
                    <a:lnTo>
                      <a:pt x="231" y="16"/>
                    </a:lnTo>
                    <a:lnTo>
                      <a:pt x="231" y="14"/>
                    </a:lnTo>
                    <a:lnTo>
                      <a:pt x="234" y="14"/>
                    </a:lnTo>
                    <a:lnTo>
                      <a:pt x="234" y="14"/>
                    </a:lnTo>
                    <a:lnTo>
                      <a:pt x="236" y="14"/>
                    </a:lnTo>
                    <a:lnTo>
                      <a:pt x="236" y="14"/>
                    </a:lnTo>
                    <a:lnTo>
                      <a:pt x="236" y="1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8" y="11"/>
                    </a:lnTo>
                    <a:lnTo>
                      <a:pt x="238" y="11"/>
                    </a:lnTo>
                    <a:lnTo>
                      <a:pt x="238" y="9"/>
                    </a:lnTo>
                    <a:lnTo>
                      <a:pt x="238" y="9"/>
                    </a:lnTo>
                    <a:lnTo>
                      <a:pt x="241" y="9"/>
                    </a:lnTo>
                    <a:lnTo>
                      <a:pt x="241" y="9"/>
                    </a:lnTo>
                    <a:lnTo>
                      <a:pt x="241" y="9"/>
                    </a:lnTo>
                    <a:lnTo>
                      <a:pt x="243" y="9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3" y="7"/>
                    </a:lnTo>
                    <a:lnTo>
                      <a:pt x="243" y="7"/>
                    </a:lnTo>
                    <a:lnTo>
                      <a:pt x="245" y="7"/>
                    </a:lnTo>
                    <a:lnTo>
                      <a:pt x="245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50" y="4"/>
                    </a:lnTo>
                    <a:lnTo>
                      <a:pt x="250" y="4"/>
                    </a:lnTo>
                    <a:lnTo>
                      <a:pt x="250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5" y="2"/>
                    </a:lnTo>
                    <a:lnTo>
                      <a:pt x="255" y="2"/>
                    </a:lnTo>
                    <a:lnTo>
                      <a:pt x="257" y="2"/>
                    </a:lnTo>
                    <a:lnTo>
                      <a:pt x="257" y="2"/>
                    </a:lnTo>
                    <a:lnTo>
                      <a:pt x="257" y="2"/>
                    </a:lnTo>
                    <a:lnTo>
                      <a:pt x="257" y="0"/>
                    </a:lnTo>
                    <a:lnTo>
                      <a:pt x="257" y="0"/>
                    </a:lnTo>
                    <a:lnTo>
                      <a:pt x="260" y="0"/>
                    </a:lnTo>
                    <a:lnTo>
                      <a:pt x="260" y="0"/>
                    </a:lnTo>
                    <a:lnTo>
                      <a:pt x="260" y="0"/>
                    </a:lnTo>
                    <a:lnTo>
                      <a:pt x="262" y="0"/>
                    </a:lnTo>
                    <a:lnTo>
                      <a:pt x="264" y="0"/>
                    </a:lnTo>
                    <a:lnTo>
                      <a:pt x="267" y="0"/>
                    </a:lnTo>
                    <a:lnTo>
                      <a:pt x="267" y="0"/>
                    </a:lnTo>
                    <a:lnTo>
                      <a:pt x="267" y="0"/>
                    </a:lnTo>
                    <a:lnTo>
                      <a:pt x="269" y="2"/>
                    </a:lnTo>
                    <a:lnTo>
                      <a:pt x="269" y="2"/>
                    </a:lnTo>
                    <a:lnTo>
                      <a:pt x="269" y="0"/>
                    </a:lnTo>
                    <a:lnTo>
                      <a:pt x="269" y="0"/>
                    </a:lnTo>
                    <a:lnTo>
                      <a:pt x="271" y="2"/>
                    </a:lnTo>
                    <a:lnTo>
                      <a:pt x="274" y="2"/>
                    </a:lnTo>
                    <a:lnTo>
                      <a:pt x="274" y="4"/>
                    </a:lnTo>
                    <a:lnTo>
                      <a:pt x="274" y="4"/>
                    </a:lnTo>
                    <a:lnTo>
                      <a:pt x="274" y="7"/>
                    </a:lnTo>
                    <a:lnTo>
                      <a:pt x="274" y="4"/>
                    </a:lnTo>
                    <a:lnTo>
                      <a:pt x="274" y="7"/>
                    </a:lnTo>
                    <a:lnTo>
                      <a:pt x="274" y="9"/>
                    </a:lnTo>
                    <a:lnTo>
                      <a:pt x="274" y="7"/>
                    </a:lnTo>
                    <a:lnTo>
                      <a:pt x="274" y="9"/>
                    </a:lnTo>
                    <a:lnTo>
                      <a:pt x="276" y="9"/>
                    </a:lnTo>
                    <a:lnTo>
                      <a:pt x="276" y="9"/>
                    </a:lnTo>
                    <a:lnTo>
                      <a:pt x="276" y="11"/>
                    </a:lnTo>
                    <a:lnTo>
                      <a:pt x="276" y="9"/>
                    </a:lnTo>
                    <a:lnTo>
                      <a:pt x="278" y="11"/>
                    </a:lnTo>
                    <a:lnTo>
                      <a:pt x="278" y="11"/>
                    </a:lnTo>
                    <a:lnTo>
                      <a:pt x="281" y="11"/>
                    </a:lnTo>
                    <a:lnTo>
                      <a:pt x="281" y="11"/>
                    </a:lnTo>
                    <a:lnTo>
                      <a:pt x="281" y="11"/>
                    </a:lnTo>
                    <a:lnTo>
                      <a:pt x="283" y="14"/>
                    </a:lnTo>
                    <a:lnTo>
                      <a:pt x="283" y="14"/>
                    </a:lnTo>
                    <a:lnTo>
                      <a:pt x="283" y="11"/>
                    </a:lnTo>
                    <a:lnTo>
                      <a:pt x="283" y="11"/>
                    </a:lnTo>
                    <a:lnTo>
                      <a:pt x="286" y="11"/>
                    </a:lnTo>
                    <a:lnTo>
                      <a:pt x="290" y="11"/>
                    </a:lnTo>
                    <a:lnTo>
                      <a:pt x="288" y="14"/>
                    </a:lnTo>
                    <a:lnTo>
                      <a:pt x="288" y="14"/>
                    </a:lnTo>
                    <a:lnTo>
                      <a:pt x="288" y="14"/>
                    </a:lnTo>
                    <a:lnTo>
                      <a:pt x="290" y="14"/>
                    </a:lnTo>
                    <a:lnTo>
                      <a:pt x="288" y="14"/>
                    </a:lnTo>
                    <a:lnTo>
                      <a:pt x="290" y="14"/>
                    </a:lnTo>
                    <a:lnTo>
                      <a:pt x="290" y="14"/>
                    </a:lnTo>
                    <a:lnTo>
                      <a:pt x="290" y="14"/>
                    </a:lnTo>
                    <a:lnTo>
                      <a:pt x="290" y="11"/>
                    </a:lnTo>
                    <a:lnTo>
                      <a:pt x="293" y="14"/>
                    </a:lnTo>
                    <a:lnTo>
                      <a:pt x="293" y="14"/>
                    </a:lnTo>
                    <a:lnTo>
                      <a:pt x="295" y="16"/>
                    </a:lnTo>
                    <a:lnTo>
                      <a:pt x="295" y="16"/>
                    </a:lnTo>
                    <a:lnTo>
                      <a:pt x="295" y="16"/>
                    </a:lnTo>
                    <a:lnTo>
                      <a:pt x="297" y="16"/>
                    </a:lnTo>
                    <a:lnTo>
                      <a:pt x="295" y="16"/>
                    </a:lnTo>
                    <a:lnTo>
                      <a:pt x="297" y="16"/>
                    </a:lnTo>
                    <a:lnTo>
                      <a:pt x="297" y="16"/>
                    </a:lnTo>
                    <a:lnTo>
                      <a:pt x="300" y="16"/>
                    </a:lnTo>
                    <a:lnTo>
                      <a:pt x="300" y="16"/>
                    </a:lnTo>
                    <a:lnTo>
                      <a:pt x="300" y="18"/>
                    </a:lnTo>
                    <a:lnTo>
                      <a:pt x="302" y="21"/>
                    </a:lnTo>
                    <a:lnTo>
                      <a:pt x="302" y="21"/>
                    </a:lnTo>
                    <a:lnTo>
                      <a:pt x="302" y="18"/>
                    </a:lnTo>
                    <a:lnTo>
                      <a:pt x="304" y="21"/>
                    </a:lnTo>
                    <a:lnTo>
                      <a:pt x="304" y="21"/>
                    </a:lnTo>
                    <a:lnTo>
                      <a:pt x="304" y="21"/>
                    </a:lnTo>
                    <a:lnTo>
                      <a:pt x="307" y="21"/>
                    </a:lnTo>
                    <a:lnTo>
                      <a:pt x="307" y="21"/>
                    </a:lnTo>
                    <a:lnTo>
                      <a:pt x="309" y="21"/>
                    </a:lnTo>
                    <a:lnTo>
                      <a:pt x="309" y="21"/>
                    </a:lnTo>
                    <a:lnTo>
                      <a:pt x="309" y="23"/>
                    </a:lnTo>
                    <a:lnTo>
                      <a:pt x="311" y="21"/>
                    </a:lnTo>
                    <a:lnTo>
                      <a:pt x="311" y="23"/>
                    </a:lnTo>
                    <a:lnTo>
                      <a:pt x="314" y="21"/>
                    </a:lnTo>
                    <a:lnTo>
                      <a:pt x="314" y="23"/>
                    </a:lnTo>
                    <a:lnTo>
                      <a:pt x="316" y="21"/>
                    </a:lnTo>
                    <a:lnTo>
                      <a:pt x="316" y="23"/>
                    </a:lnTo>
                    <a:lnTo>
                      <a:pt x="319" y="21"/>
                    </a:lnTo>
                    <a:lnTo>
                      <a:pt x="319" y="23"/>
                    </a:lnTo>
                    <a:lnTo>
                      <a:pt x="319" y="23"/>
                    </a:lnTo>
                    <a:lnTo>
                      <a:pt x="321" y="23"/>
                    </a:lnTo>
                    <a:lnTo>
                      <a:pt x="321" y="23"/>
                    </a:lnTo>
                    <a:lnTo>
                      <a:pt x="321" y="23"/>
                    </a:lnTo>
                    <a:lnTo>
                      <a:pt x="321" y="21"/>
                    </a:lnTo>
                    <a:lnTo>
                      <a:pt x="321" y="23"/>
                    </a:lnTo>
                    <a:lnTo>
                      <a:pt x="323" y="26"/>
                    </a:lnTo>
                    <a:lnTo>
                      <a:pt x="323" y="26"/>
                    </a:lnTo>
                    <a:lnTo>
                      <a:pt x="323" y="23"/>
                    </a:lnTo>
                    <a:lnTo>
                      <a:pt x="326" y="26"/>
                    </a:lnTo>
                    <a:lnTo>
                      <a:pt x="326" y="26"/>
                    </a:lnTo>
                    <a:lnTo>
                      <a:pt x="328" y="26"/>
                    </a:lnTo>
                    <a:lnTo>
                      <a:pt x="328" y="26"/>
                    </a:lnTo>
                    <a:lnTo>
                      <a:pt x="328" y="26"/>
                    </a:lnTo>
                    <a:lnTo>
                      <a:pt x="328" y="28"/>
                    </a:lnTo>
                    <a:lnTo>
                      <a:pt x="328" y="30"/>
                    </a:lnTo>
                    <a:lnTo>
                      <a:pt x="328" y="30"/>
                    </a:lnTo>
                    <a:lnTo>
                      <a:pt x="328" y="30"/>
                    </a:lnTo>
                    <a:lnTo>
                      <a:pt x="328" y="30"/>
                    </a:lnTo>
                    <a:lnTo>
                      <a:pt x="328" y="33"/>
                    </a:lnTo>
                    <a:lnTo>
                      <a:pt x="328" y="33"/>
                    </a:lnTo>
                    <a:lnTo>
                      <a:pt x="328" y="33"/>
                    </a:lnTo>
                    <a:lnTo>
                      <a:pt x="328" y="33"/>
                    </a:lnTo>
                    <a:lnTo>
                      <a:pt x="328" y="33"/>
                    </a:lnTo>
                    <a:lnTo>
                      <a:pt x="328" y="35"/>
                    </a:lnTo>
                    <a:lnTo>
                      <a:pt x="330" y="35"/>
                    </a:lnTo>
                    <a:lnTo>
                      <a:pt x="330" y="35"/>
                    </a:lnTo>
                    <a:lnTo>
                      <a:pt x="330" y="35"/>
                    </a:lnTo>
                    <a:lnTo>
                      <a:pt x="333" y="35"/>
                    </a:lnTo>
                    <a:lnTo>
                      <a:pt x="330" y="35"/>
                    </a:lnTo>
                    <a:lnTo>
                      <a:pt x="333" y="37"/>
                    </a:lnTo>
                    <a:lnTo>
                      <a:pt x="333" y="37"/>
                    </a:lnTo>
                    <a:lnTo>
                      <a:pt x="333" y="40"/>
                    </a:lnTo>
                    <a:lnTo>
                      <a:pt x="335" y="40"/>
                    </a:lnTo>
                    <a:lnTo>
                      <a:pt x="335" y="40"/>
                    </a:lnTo>
                    <a:lnTo>
                      <a:pt x="337" y="40"/>
                    </a:lnTo>
                    <a:lnTo>
                      <a:pt x="337" y="40"/>
                    </a:lnTo>
                    <a:lnTo>
                      <a:pt x="337" y="42"/>
                    </a:lnTo>
                    <a:lnTo>
                      <a:pt x="337" y="40"/>
                    </a:lnTo>
                    <a:lnTo>
                      <a:pt x="337" y="42"/>
                    </a:lnTo>
                    <a:lnTo>
                      <a:pt x="340" y="40"/>
                    </a:lnTo>
                    <a:lnTo>
                      <a:pt x="340" y="40"/>
                    </a:lnTo>
                    <a:lnTo>
                      <a:pt x="340" y="40"/>
                    </a:lnTo>
                    <a:lnTo>
                      <a:pt x="342" y="40"/>
                    </a:lnTo>
                    <a:lnTo>
                      <a:pt x="342" y="42"/>
                    </a:lnTo>
                    <a:lnTo>
                      <a:pt x="342" y="42"/>
                    </a:lnTo>
                    <a:lnTo>
                      <a:pt x="345" y="42"/>
                    </a:lnTo>
                    <a:lnTo>
                      <a:pt x="345" y="44"/>
                    </a:lnTo>
                    <a:lnTo>
                      <a:pt x="345" y="44"/>
                    </a:lnTo>
                    <a:lnTo>
                      <a:pt x="347" y="44"/>
                    </a:lnTo>
                    <a:lnTo>
                      <a:pt x="347" y="44"/>
                    </a:lnTo>
                    <a:lnTo>
                      <a:pt x="349" y="44"/>
                    </a:lnTo>
                    <a:lnTo>
                      <a:pt x="349" y="44"/>
                    </a:lnTo>
                    <a:lnTo>
                      <a:pt x="352" y="44"/>
                    </a:lnTo>
                    <a:lnTo>
                      <a:pt x="352" y="44"/>
                    </a:lnTo>
                    <a:lnTo>
                      <a:pt x="352" y="44"/>
                    </a:lnTo>
                    <a:lnTo>
                      <a:pt x="354" y="44"/>
                    </a:lnTo>
                    <a:lnTo>
                      <a:pt x="354" y="44"/>
                    </a:lnTo>
                    <a:lnTo>
                      <a:pt x="356" y="47"/>
                    </a:lnTo>
                    <a:lnTo>
                      <a:pt x="356" y="47"/>
                    </a:lnTo>
                    <a:lnTo>
                      <a:pt x="356" y="49"/>
                    </a:lnTo>
                    <a:lnTo>
                      <a:pt x="359" y="49"/>
                    </a:lnTo>
                    <a:lnTo>
                      <a:pt x="359" y="49"/>
                    </a:lnTo>
                    <a:lnTo>
                      <a:pt x="359" y="49"/>
                    </a:lnTo>
                    <a:lnTo>
                      <a:pt x="361" y="49"/>
                    </a:lnTo>
                    <a:lnTo>
                      <a:pt x="361" y="49"/>
                    </a:lnTo>
                    <a:lnTo>
                      <a:pt x="359" y="49"/>
                    </a:lnTo>
                    <a:lnTo>
                      <a:pt x="361" y="49"/>
                    </a:lnTo>
                    <a:lnTo>
                      <a:pt x="361" y="49"/>
                    </a:lnTo>
                    <a:lnTo>
                      <a:pt x="363" y="49"/>
                    </a:lnTo>
                    <a:lnTo>
                      <a:pt x="366" y="49"/>
                    </a:lnTo>
                    <a:lnTo>
                      <a:pt x="363" y="49"/>
                    </a:lnTo>
                    <a:lnTo>
                      <a:pt x="366" y="49"/>
                    </a:lnTo>
                    <a:lnTo>
                      <a:pt x="366" y="52"/>
                    </a:lnTo>
                    <a:lnTo>
                      <a:pt x="366" y="49"/>
                    </a:lnTo>
                    <a:lnTo>
                      <a:pt x="366" y="52"/>
                    </a:lnTo>
                    <a:lnTo>
                      <a:pt x="366" y="52"/>
                    </a:lnTo>
                    <a:lnTo>
                      <a:pt x="368" y="52"/>
                    </a:lnTo>
                    <a:lnTo>
                      <a:pt x="368" y="49"/>
                    </a:lnTo>
                    <a:lnTo>
                      <a:pt x="368" y="52"/>
                    </a:lnTo>
                    <a:lnTo>
                      <a:pt x="368" y="52"/>
                    </a:lnTo>
                    <a:lnTo>
                      <a:pt x="368" y="52"/>
                    </a:lnTo>
                    <a:lnTo>
                      <a:pt x="368" y="52"/>
                    </a:lnTo>
                    <a:lnTo>
                      <a:pt x="368" y="54"/>
                    </a:lnTo>
                    <a:lnTo>
                      <a:pt x="371" y="54"/>
                    </a:lnTo>
                    <a:lnTo>
                      <a:pt x="371" y="54"/>
                    </a:lnTo>
                    <a:lnTo>
                      <a:pt x="371" y="54"/>
                    </a:lnTo>
                    <a:lnTo>
                      <a:pt x="371" y="54"/>
                    </a:lnTo>
                    <a:lnTo>
                      <a:pt x="371" y="56"/>
                    </a:lnTo>
                    <a:lnTo>
                      <a:pt x="371" y="54"/>
                    </a:lnTo>
                    <a:lnTo>
                      <a:pt x="373" y="56"/>
                    </a:lnTo>
                    <a:lnTo>
                      <a:pt x="373" y="54"/>
                    </a:lnTo>
                    <a:lnTo>
                      <a:pt x="373" y="54"/>
                    </a:lnTo>
                    <a:lnTo>
                      <a:pt x="373" y="56"/>
                    </a:lnTo>
                    <a:lnTo>
                      <a:pt x="375" y="56"/>
                    </a:lnTo>
                    <a:lnTo>
                      <a:pt x="375" y="59"/>
                    </a:lnTo>
                    <a:lnTo>
                      <a:pt x="373" y="56"/>
                    </a:lnTo>
                    <a:lnTo>
                      <a:pt x="373" y="59"/>
                    </a:lnTo>
                    <a:lnTo>
                      <a:pt x="375" y="59"/>
                    </a:lnTo>
                    <a:lnTo>
                      <a:pt x="375" y="59"/>
                    </a:lnTo>
                    <a:lnTo>
                      <a:pt x="378" y="59"/>
                    </a:lnTo>
                    <a:lnTo>
                      <a:pt x="378" y="59"/>
                    </a:lnTo>
                    <a:lnTo>
                      <a:pt x="378" y="59"/>
                    </a:lnTo>
                    <a:lnTo>
                      <a:pt x="380" y="59"/>
                    </a:lnTo>
                    <a:lnTo>
                      <a:pt x="380" y="61"/>
                    </a:lnTo>
                    <a:lnTo>
                      <a:pt x="380" y="61"/>
                    </a:lnTo>
                    <a:lnTo>
                      <a:pt x="380" y="61"/>
                    </a:lnTo>
                    <a:lnTo>
                      <a:pt x="380" y="61"/>
                    </a:lnTo>
                    <a:lnTo>
                      <a:pt x="380" y="61"/>
                    </a:lnTo>
                    <a:lnTo>
                      <a:pt x="382" y="61"/>
                    </a:lnTo>
                    <a:lnTo>
                      <a:pt x="382" y="61"/>
                    </a:lnTo>
                    <a:lnTo>
                      <a:pt x="385" y="61"/>
                    </a:lnTo>
                    <a:lnTo>
                      <a:pt x="385" y="61"/>
                    </a:lnTo>
                    <a:lnTo>
                      <a:pt x="385" y="63"/>
                    </a:lnTo>
                    <a:lnTo>
                      <a:pt x="387" y="61"/>
                    </a:lnTo>
                    <a:lnTo>
                      <a:pt x="387" y="59"/>
                    </a:lnTo>
                    <a:lnTo>
                      <a:pt x="389" y="61"/>
                    </a:lnTo>
                    <a:lnTo>
                      <a:pt x="389" y="59"/>
                    </a:lnTo>
                    <a:lnTo>
                      <a:pt x="389" y="61"/>
                    </a:lnTo>
                    <a:lnTo>
                      <a:pt x="392" y="59"/>
                    </a:lnTo>
                    <a:lnTo>
                      <a:pt x="392" y="61"/>
                    </a:lnTo>
                    <a:lnTo>
                      <a:pt x="392" y="59"/>
                    </a:lnTo>
                    <a:lnTo>
                      <a:pt x="392" y="61"/>
                    </a:lnTo>
                    <a:lnTo>
                      <a:pt x="394" y="61"/>
                    </a:lnTo>
                    <a:lnTo>
                      <a:pt x="394" y="61"/>
                    </a:lnTo>
                    <a:lnTo>
                      <a:pt x="394" y="61"/>
                    </a:lnTo>
                    <a:lnTo>
                      <a:pt x="397" y="61"/>
                    </a:lnTo>
                    <a:lnTo>
                      <a:pt x="397" y="61"/>
                    </a:lnTo>
                    <a:lnTo>
                      <a:pt x="397" y="61"/>
                    </a:lnTo>
                    <a:lnTo>
                      <a:pt x="397" y="61"/>
                    </a:lnTo>
                    <a:lnTo>
                      <a:pt x="399" y="61"/>
                    </a:lnTo>
                    <a:lnTo>
                      <a:pt x="399" y="61"/>
                    </a:lnTo>
                    <a:lnTo>
                      <a:pt x="399" y="61"/>
                    </a:lnTo>
                    <a:lnTo>
                      <a:pt x="399" y="61"/>
                    </a:lnTo>
                    <a:lnTo>
                      <a:pt x="399" y="59"/>
                    </a:lnTo>
                    <a:lnTo>
                      <a:pt x="401" y="61"/>
                    </a:lnTo>
                    <a:lnTo>
                      <a:pt x="401" y="59"/>
                    </a:lnTo>
                    <a:lnTo>
                      <a:pt x="401" y="61"/>
                    </a:lnTo>
                    <a:lnTo>
                      <a:pt x="404" y="61"/>
                    </a:lnTo>
                    <a:lnTo>
                      <a:pt x="404" y="61"/>
                    </a:lnTo>
                    <a:lnTo>
                      <a:pt x="404" y="59"/>
                    </a:lnTo>
                    <a:lnTo>
                      <a:pt x="404" y="59"/>
                    </a:lnTo>
                    <a:lnTo>
                      <a:pt x="406" y="59"/>
                    </a:lnTo>
                    <a:lnTo>
                      <a:pt x="406" y="59"/>
                    </a:lnTo>
                    <a:lnTo>
                      <a:pt x="406" y="59"/>
                    </a:lnTo>
                    <a:lnTo>
                      <a:pt x="408" y="59"/>
                    </a:lnTo>
                    <a:lnTo>
                      <a:pt x="408" y="56"/>
                    </a:lnTo>
                    <a:lnTo>
                      <a:pt x="413" y="56"/>
                    </a:lnTo>
                    <a:lnTo>
                      <a:pt x="413" y="56"/>
                    </a:lnTo>
                    <a:lnTo>
                      <a:pt x="415" y="59"/>
                    </a:lnTo>
                    <a:lnTo>
                      <a:pt x="415" y="59"/>
                    </a:lnTo>
                    <a:lnTo>
                      <a:pt x="420" y="59"/>
                    </a:lnTo>
                    <a:lnTo>
                      <a:pt x="420" y="59"/>
                    </a:lnTo>
                    <a:lnTo>
                      <a:pt x="423" y="59"/>
                    </a:lnTo>
                    <a:lnTo>
                      <a:pt x="425" y="56"/>
                    </a:lnTo>
                    <a:lnTo>
                      <a:pt x="425" y="56"/>
                    </a:lnTo>
                    <a:lnTo>
                      <a:pt x="425" y="54"/>
                    </a:lnTo>
                    <a:lnTo>
                      <a:pt x="425" y="54"/>
                    </a:lnTo>
                    <a:lnTo>
                      <a:pt x="427" y="54"/>
                    </a:lnTo>
                    <a:lnTo>
                      <a:pt x="427" y="54"/>
                    </a:lnTo>
                    <a:lnTo>
                      <a:pt x="430" y="52"/>
                    </a:lnTo>
                    <a:lnTo>
                      <a:pt x="432" y="52"/>
                    </a:lnTo>
                    <a:lnTo>
                      <a:pt x="432" y="52"/>
                    </a:lnTo>
                    <a:lnTo>
                      <a:pt x="432" y="52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7"/>
                    </a:lnTo>
                    <a:lnTo>
                      <a:pt x="434" y="44"/>
                    </a:lnTo>
                    <a:lnTo>
                      <a:pt x="437" y="44"/>
                    </a:lnTo>
                    <a:lnTo>
                      <a:pt x="437" y="44"/>
                    </a:lnTo>
                    <a:lnTo>
                      <a:pt x="439" y="44"/>
                    </a:lnTo>
                    <a:lnTo>
                      <a:pt x="439" y="44"/>
                    </a:lnTo>
                    <a:lnTo>
                      <a:pt x="439" y="42"/>
                    </a:lnTo>
                    <a:lnTo>
                      <a:pt x="441" y="42"/>
                    </a:lnTo>
                    <a:lnTo>
                      <a:pt x="441" y="44"/>
                    </a:lnTo>
                    <a:lnTo>
                      <a:pt x="441" y="42"/>
                    </a:lnTo>
                    <a:lnTo>
                      <a:pt x="444" y="42"/>
                    </a:lnTo>
                    <a:lnTo>
                      <a:pt x="446" y="42"/>
                    </a:lnTo>
                    <a:lnTo>
                      <a:pt x="446" y="42"/>
                    </a:lnTo>
                    <a:lnTo>
                      <a:pt x="449" y="42"/>
                    </a:lnTo>
                    <a:lnTo>
                      <a:pt x="451" y="42"/>
                    </a:lnTo>
                    <a:lnTo>
                      <a:pt x="453" y="40"/>
                    </a:lnTo>
                    <a:lnTo>
                      <a:pt x="456" y="40"/>
                    </a:lnTo>
                    <a:lnTo>
                      <a:pt x="456" y="40"/>
                    </a:lnTo>
                    <a:lnTo>
                      <a:pt x="456" y="40"/>
                    </a:lnTo>
                    <a:lnTo>
                      <a:pt x="458" y="40"/>
                    </a:lnTo>
                    <a:lnTo>
                      <a:pt x="458" y="42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3" y="40"/>
                    </a:lnTo>
                    <a:lnTo>
                      <a:pt x="465" y="40"/>
                    </a:lnTo>
                    <a:lnTo>
                      <a:pt x="467" y="42"/>
                    </a:lnTo>
                    <a:lnTo>
                      <a:pt x="467" y="42"/>
                    </a:lnTo>
                    <a:lnTo>
                      <a:pt x="467" y="42"/>
                    </a:lnTo>
                    <a:lnTo>
                      <a:pt x="467" y="42"/>
                    </a:lnTo>
                    <a:lnTo>
                      <a:pt x="467" y="44"/>
                    </a:lnTo>
                    <a:lnTo>
                      <a:pt x="467" y="44"/>
                    </a:lnTo>
                    <a:lnTo>
                      <a:pt x="467" y="44"/>
                    </a:lnTo>
                    <a:lnTo>
                      <a:pt x="470" y="47"/>
                    </a:lnTo>
                    <a:lnTo>
                      <a:pt x="474" y="47"/>
                    </a:lnTo>
                    <a:lnTo>
                      <a:pt x="474" y="49"/>
                    </a:lnTo>
                    <a:lnTo>
                      <a:pt x="474" y="47"/>
                    </a:lnTo>
                    <a:lnTo>
                      <a:pt x="477" y="49"/>
                    </a:lnTo>
                    <a:lnTo>
                      <a:pt x="477" y="49"/>
                    </a:lnTo>
                    <a:lnTo>
                      <a:pt x="477" y="49"/>
                    </a:lnTo>
                    <a:lnTo>
                      <a:pt x="477" y="52"/>
                    </a:lnTo>
                    <a:lnTo>
                      <a:pt x="479" y="52"/>
                    </a:lnTo>
                    <a:lnTo>
                      <a:pt x="479" y="52"/>
                    </a:lnTo>
                    <a:lnTo>
                      <a:pt x="479" y="54"/>
                    </a:lnTo>
                    <a:lnTo>
                      <a:pt x="479" y="52"/>
                    </a:lnTo>
                    <a:lnTo>
                      <a:pt x="479" y="54"/>
                    </a:lnTo>
                    <a:lnTo>
                      <a:pt x="479" y="54"/>
                    </a:lnTo>
                    <a:lnTo>
                      <a:pt x="479" y="56"/>
                    </a:lnTo>
                    <a:lnTo>
                      <a:pt x="479" y="56"/>
                    </a:lnTo>
                    <a:lnTo>
                      <a:pt x="479" y="56"/>
                    </a:lnTo>
                    <a:lnTo>
                      <a:pt x="482" y="56"/>
                    </a:lnTo>
                    <a:lnTo>
                      <a:pt x="479" y="59"/>
                    </a:lnTo>
                    <a:lnTo>
                      <a:pt x="479" y="61"/>
                    </a:lnTo>
                    <a:lnTo>
                      <a:pt x="482" y="61"/>
                    </a:lnTo>
                    <a:lnTo>
                      <a:pt x="484" y="63"/>
                    </a:lnTo>
                    <a:lnTo>
                      <a:pt x="484" y="61"/>
                    </a:lnTo>
                    <a:lnTo>
                      <a:pt x="484" y="63"/>
                    </a:lnTo>
                    <a:lnTo>
                      <a:pt x="484" y="63"/>
                    </a:lnTo>
                    <a:lnTo>
                      <a:pt x="486" y="63"/>
                    </a:lnTo>
                    <a:lnTo>
                      <a:pt x="486" y="63"/>
                    </a:lnTo>
                    <a:lnTo>
                      <a:pt x="489" y="63"/>
                    </a:lnTo>
                    <a:lnTo>
                      <a:pt x="489" y="63"/>
                    </a:lnTo>
                    <a:lnTo>
                      <a:pt x="491" y="63"/>
                    </a:lnTo>
                    <a:lnTo>
                      <a:pt x="491" y="63"/>
                    </a:lnTo>
                    <a:lnTo>
                      <a:pt x="493" y="63"/>
                    </a:lnTo>
                    <a:lnTo>
                      <a:pt x="493" y="63"/>
                    </a:lnTo>
                    <a:lnTo>
                      <a:pt x="496" y="61"/>
                    </a:lnTo>
                    <a:lnTo>
                      <a:pt x="496" y="61"/>
                    </a:lnTo>
                    <a:lnTo>
                      <a:pt x="498" y="59"/>
                    </a:lnTo>
                    <a:lnTo>
                      <a:pt x="498" y="59"/>
                    </a:lnTo>
                    <a:lnTo>
                      <a:pt x="500" y="59"/>
                    </a:lnTo>
                    <a:lnTo>
                      <a:pt x="503" y="59"/>
                    </a:lnTo>
                    <a:lnTo>
                      <a:pt x="503" y="59"/>
                    </a:lnTo>
                    <a:lnTo>
                      <a:pt x="503" y="59"/>
                    </a:lnTo>
                    <a:lnTo>
                      <a:pt x="505" y="56"/>
                    </a:lnTo>
                    <a:lnTo>
                      <a:pt x="505" y="56"/>
                    </a:lnTo>
                    <a:lnTo>
                      <a:pt x="508" y="56"/>
                    </a:lnTo>
                    <a:lnTo>
                      <a:pt x="508" y="56"/>
                    </a:lnTo>
                    <a:lnTo>
                      <a:pt x="510" y="59"/>
                    </a:lnTo>
                    <a:lnTo>
                      <a:pt x="510" y="56"/>
                    </a:lnTo>
                    <a:lnTo>
                      <a:pt x="512" y="59"/>
                    </a:lnTo>
                    <a:lnTo>
                      <a:pt x="512" y="59"/>
                    </a:lnTo>
                    <a:lnTo>
                      <a:pt x="515" y="59"/>
                    </a:lnTo>
                    <a:lnTo>
                      <a:pt x="515" y="59"/>
                    </a:lnTo>
                    <a:lnTo>
                      <a:pt x="515" y="59"/>
                    </a:lnTo>
                    <a:lnTo>
                      <a:pt x="515" y="59"/>
                    </a:lnTo>
                    <a:lnTo>
                      <a:pt x="517" y="59"/>
                    </a:lnTo>
                    <a:lnTo>
                      <a:pt x="517" y="59"/>
                    </a:lnTo>
                    <a:lnTo>
                      <a:pt x="519" y="59"/>
                    </a:lnTo>
                    <a:lnTo>
                      <a:pt x="517" y="56"/>
                    </a:lnTo>
                    <a:lnTo>
                      <a:pt x="519" y="54"/>
                    </a:lnTo>
                    <a:lnTo>
                      <a:pt x="519" y="54"/>
                    </a:lnTo>
                    <a:lnTo>
                      <a:pt x="522" y="52"/>
                    </a:lnTo>
                    <a:lnTo>
                      <a:pt x="522" y="52"/>
                    </a:lnTo>
                    <a:lnTo>
                      <a:pt x="522" y="49"/>
                    </a:lnTo>
                    <a:lnTo>
                      <a:pt x="522" y="47"/>
                    </a:lnTo>
                    <a:lnTo>
                      <a:pt x="522" y="47"/>
                    </a:lnTo>
                    <a:lnTo>
                      <a:pt x="522" y="47"/>
                    </a:lnTo>
                    <a:lnTo>
                      <a:pt x="522" y="44"/>
                    </a:lnTo>
                    <a:lnTo>
                      <a:pt x="522" y="44"/>
                    </a:lnTo>
                    <a:lnTo>
                      <a:pt x="522" y="42"/>
                    </a:lnTo>
                    <a:lnTo>
                      <a:pt x="522" y="44"/>
                    </a:lnTo>
                    <a:lnTo>
                      <a:pt x="522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24" y="40"/>
                    </a:lnTo>
                    <a:lnTo>
                      <a:pt x="529" y="40"/>
                    </a:lnTo>
                    <a:lnTo>
                      <a:pt x="529" y="40"/>
                    </a:lnTo>
                    <a:lnTo>
                      <a:pt x="531" y="40"/>
                    </a:lnTo>
                    <a:lnTo>
                      <a:pt x="531" y="40"/>
                    </a:lnTo>
                    <a:lnTo>
                      <a:pt x="531" y="40"/>
                    </a:lnTo>
                    <a:lnTo>
                      <a:pt x="531" y="37"/>
                    </a:lnTo>
                    <a:lnTo>
                      <a:pt x="534" y="37"/>
                    </a:lnTo>
                    <a:lnTo>
                      <a:pt x="536" y="35"/>
                    </a:lnTo>
                    <a:lnTo>
                      <a:pt x="538" y="35"/>
                    </a:lnTo>
                    <a:lnTo>
                      <a:pt x="538" y="33"/>
                    </a:lnTo>
                    <a:lnTo>
                      <a:pt x="538" y="33"/>
                    </a:lnTo>
                    <a:lnTo>
                      <a:pt x="541" y="33"/>
                    </a:lnTo>
                    <a:lnTo>
                      <a:pt x="543" y="28"/>
                    </a:lnTo>
                    <a:lnTo>
                      <a:pt x="543" y="26"/>
                    </a:lnTo>
                    <a:lnTo>
                      <a:pt x="545" y="26"/>
                    </a:lnTo>
                    <a:lnTo>
                      <a:pt x="550" y="23"/>
                    </a:lnTo>
                    <a:lnTo>
                      <a:pt x="550" y="21"/>
                    </a:lnTo>
                    <a:lnTo>
                      <a:pt x="550" y="18"/>
                    </a:lnTo>
                    <a:lnTo>
                      <a:pt x="550" y="18"/>
                    </a:lnTo>
                    <a:lnTo>
                      <a:pt x="552" y="16"/>
                    </a:lnTo>
                    <a:lnTo>
                      <a:pt x="552" y="14"/>
                    </a:lnTo>
                    <a:lnTo>
                      <a:pt x="557" y="14"/>
                    </a:lnTo>
                    <a:lnTo>
                      <a:pt x="557" y="11"/>
                    </a:lnTo>
                    <a:lnTo>
                      <a:pt x="560" y="11"/>
                    </a:lnTo>
                    <a:lnTo>
                      <a:pt x="560" y="9"/>
                    </a:lnTo>
                    <a:lnTo>
                      <a:pt x="560" y="9"/>
                    </a:lnTo>
                    <a:lnTo>
                      <a:pt x="560" y="9"/>
                    </a:lnTo>
                    <a:lnTo>
                      <a:pt x="562" y="7"/>
                    </a:lnTo>
                    <a:lnTo>
                      <a:pt x="567" y="7"/>
                    </a:lnTo>
                    <a:lnTo>
                      <a:pt x="567" y="7"/>
                    </a:lnTo>
                    <a:lnTo>
                      <a:pt x="567" y="9"/>
                    </a:lnTo>
                    <a:lnTo>
                      <a:pt x="569" y="11"/>
                    </a:lnTo>
                    <a:lnTo>
                      <a:pt x="567" y="63"/>
                    </a:lnTo>
                    <a:lnTo>
                      <a:pt x="567" y="63"/>
                    </a:lnTo>
                    <a:lnTo>
                      <a:pt x="564" y="63"/>
                    </a:lnTo>
                    <a:lnTo>
                      <a:pt x="562" y="63"/>
                    </a:lnTo>
                    <a:lnTo>
                      <a:pt x="560" y="66"/>
                    </a:lnTo>
                    <a:lnTo>
                      <a:pt x="560" y="66"/>
                    </a:lnTo>
                    <a:lnTo>
                      <a:pt x="557" y="66"/>
                    </a:lnTo>
                    <a:lnTo>
                      <a:pt x="557" y="66"/>
                    </a:lnTo>
                    <a:lnTo>
                      <a:pt x="555" y="66"/>
                    </a:lnTo>
                    <a:lnTo>
                      <a:pt x="552" y="66"/>
                    </a:lnTo>
                    <a:lnTo>
                      <a:pt x="552" y="66"/>
                    </a:lnTo>
                    <a:lnTo>
                      <a:pt x="548" y="68"/>
                    </a:lnTo>
                    <a:lnTo>
                      <a:pt x="548" y="68"/>
                    </a:lnTo>
                    <a:lnTo>
                      <a:pt x="548" y="70"/>
                    </a:lnTo>
                    <a:lnTo>
                      <a:pt x="545" y="73"/>
                    </a:lnTo>
                    <a:lnTo>
                      <a:pt x="543" y="73"/>
                    </a:lnTo>
                    <a:lnTo>
                      <a:pt x="543" y="73"/>
                    </a:lnTo>
                    <a:lnTo>
                      <a:pt x="543" y="75"/>
                    </a:lnTo>
                    <a:lnTo>
                      <a:pt x="541" y="78"/>
                    </a:lnTo>
                    <a:lnTo>
                      <a:pt x="541" y="80"/>
                    </a:lnTo>
                    <a:lnTo>
                      <a:pt x="541" y="80"/>
                    </a:lnTo>
                    <a:lnTo>
                      <a:pt x="541" y="82"/>
                    </a:lnTo>
                    <a:lnTo>
                      <a:pt x="536" y="87"/>
                    </a:lnTo>
                    <a:lnTo>
                      <a:pt x="536" y="89"/>
                    </a:lnTo>
                    <a:lnTo>
                      <a:pt x="536" y="89"/>
                    </a:lnTo>
                    <a:lnTo>
                      <a:pt x="534" y="92"/>
                    </a:lnTo>
                    <a:lnTo>
                      <a:pt x="534" y="92"/>
                    </a:lnTo>
                    <a:lnTo>
                      <a:pt x="534" y="94"/>
                    </a:lnTo>
                    <a:lnTo>
                      <a:pt x="536" y="94"/>
                    </a:lnTo>
                    <a:lnTo>
                      <a:pt x="534" y="96"/>
                    </a:lnTo>
                    <a:lnTo>
                      <a:pt x="536" y="96"/>
                    </a:lnTo>
                    <a:lnTo>
                      <a:pt x="534" y="96"/>
                    </a:lnTo>
                    <a:lnTo>
                      <a:pt x="536" y="99"/>
                    </a:lnTo>
                    <a:lnTo>
                      <a:pt x="536" y="96"/>
                    </a:lnTo>
                    <a:lnTo>
                      <a:pt x="536" y="96"/>
                    </a:lnTo>
                    <a:lnTo>
                      <a:pt x="538" y="96"/>
                    </a:lnTo>
                    <a:lnTo>
                      <a:pt x="538" y="96"/>
                    </a:lnTo>
                    <a:lnTo>
                      <a:pt x="541" y="96"/>
                    </a:lnTo>
                    <a:lnTo>
                      <a:pt x="541" y="96"/>
                    </a:lnTo>
                    <a:lnTo>
                      <a:pt x="541" y="96"/>
                    </a:lnTo>
                    <a:lnTo>
                      <a:pt x="541" y="96"/>
                    </a:lnTo>
                    <a:lnTo>
                      <a:pt x="543" y="96"/>
                    </a:lnTo>
                    <a:lnTo>
                      <a:pt x="543" y="99"/>
                    </a:lnTo>
                    <a:lnTo>
                      <a:pt x="545" y="99"/>
                    </a:lnTo>
                    <a:lnTo>
                      <a:pt x="543" y="96"/>
                    </a:lnTo>
                    <a:lnTo>
                      <a:pt x="545" y="96"/>
                    </a:lnTo>
                    <a:lnTo>
                      <a:pt x="545" y="99"/>
                    </a:lnTo>
                    <a:lnTo>
                      <a:pt x="548" y="99"/>
                    </a:lnTo>
                    <a:lnTo>
                      <a:pt x="548" y="99"/>
                    </a:lnTo>
                    <a:lnTo>
                      <a:pt x="548" y="99"/>
                    </a:lnTo>
                    <a:lnTo>
                      <a:pt x="548" y="99"/>
                    </a:lnTo>
                    <a:lnTo>
                      <a:pt x="548" y="99"/>
                    </a:lnTo>
                    <a:lnTo>
                      <a:pt x="550" y="99"/>
                    </a:lnTo>
                    <a:lnTo>
                      <a:pt x="550" y="101"/>
                    </a:lnTo>
                    <a:lnTo>
                      <a:pt x="550" y="101"/>
                    </a:lnTo>
                    <a:lnTo>
                      <a:pt x="550" y="101"/>
                    </a:lnTo>
                    <a:lnTo>
                      <a:pt x="550" y="104"/>
                    </a:lnTo>
                    <a:lnTo>
                      <a:pt x="550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2" y="106"/>
                    </a:lnTo>
                    <a:lnTo>
                      <a:pt x="555" y="106"/>
                    </a:lnTo>
                    <a:lnTo>
                      <a:pt x="555" y="106"/>
                    </a:lnTo>
                    <a:lnTo>
                      <a:pt x="555" y="106"/>
                    </a:lnTo>
                    <a:lnTo>
                      <a:pt x="555" y="106"/>
                    </a:lnTo>
                    <a:lnTo>
                      <a:pt x="555" y="106"/>
                    </a:lnTo>
                    <a:lnTo>
                      <a:pt x="557" y="108"/>
                    </a:lnTo>
                    <a:lnTo>
                      <a:pt x="557" y="108"/>
                    </a:lnTo>
                    <a:lnTo>
                      <a:pt x="562" y="108"/>
                    </a:lnTo>
                    <a:lnTo>
                      <a:pt x="562" y="108"/>
                    </a:lnTo>
                    <a:lnTo>
                      <a:pt x="562" y="108"/>
                    </a:lnTo>
                    <a:lnTo>
                      <a:pt x="564" y="108"/>
                    </a:lnTo>
                    <a:lnTo>
                      <a:pt x="564" y="108"/>
                    </a:lnTo>
                    <a:lnTo>
                      <a:pt x="564" y="108"/>
                    </a:lnTo>
                    <a:lnTo>
                      <a:pt x="567" y="108"/>
                    </a:lnTo>
                    <a:lnTo>
                      <a:pt x="567" y="111"/>
                    </a:lnTo>
                    <a:lnTo>
                      <a:pt x="569" y="108"/>
                    </a:lnTo>
                    <a:lnTo>
                      <a:pt x="569" y="108"/>
                    </a:lnTo>
                    <a:lnTo>
                      <a:pt x="569" y="106"/>
                    </a:lnTo>
                    <a:lnTo>
                      <a:pt x="571" y="106"/>
                    </a:lnTo>
                    <a:lnTo>
                      <a:pt x="571" y="106"/>
                    </a:lnTo>
                    <a:lnTo>
                      <a:pt x="576" y="106"/>
                    </a:lnTo>
                    <a:lnTo>
                      <a:pt x="576" y="106"/>
                    </a:lnTo>
                    <a:lnTo>
                      <a:pt x="576" y="106"/>
                    </a:lnTo>
                    <a:lnTo>
                      <a:pt x="578" y="106"/>
                    </a:lnTo>
                    <a:lnTo>
                      <a:pt x="578" y="106"/>
                    </a:lnTo>
                    <a:lnTo>
                      <a:pt x="578" y="108"/>
                    </a:lnTo>
                    <a:lnTo>
                      <a:pt x="581" y="108"/>
                    </a:lnTo>
                    <a:lnTo>
                      <a:pt x="581" y="108"/>
                    </a:lnTo>
                    <a:lnTo>
                      <a:pt x="583" y="108"/>
                    </a:lnTo>
                    <a:lnTo>
                      <a:pt x="583" y="108"/>
                    </a:lnTo>
                    <a:lnTo>
                      <a:pt x="586" y="108"/>
                    </a:lnTo>
                    <a:lnTo>
                      <a:pt x="586" y="111"/>
                    </a:lnTo>
                    <a:lnTo>
                      <a:pt x="586" y="111"/>
                    </a:lnTo>
                    <a:lnTo>
                      <a:pt x="588" y="111"/>
                    </a:lnTo>
                    <a:lnTo>
                      <a:pt x="590" y="111"/>
                    </a:lnTo>
                    <a:lnTo>
                      <a:pt x="590" y="113"/>
                    </a:lnTo>
                    <a:lnTo>
                      <a:pt x="590" y="113"/>
                    </a:lnTo>
                    <a:lnTo>
                      <a:pt x="593" y="113"/>
                    </a:lnTo>
                    <a:lnTo>
                      <a:pt x="595" y="113"/>
                    </a:lnTo>
                    <a:lnTo>
                      <a:pt x="595" y="113"/>
                    </a:lnTo>
                    <a:lnTo>
                      <a:pt x="595" y="113"/>
                    </a:lnTo>
                    <a:lnTo>
                      <a:pt x="597" y="111"/>
                    </a:lnTo>
                    <a:lnTo>
                      <a:pt x="597" y="111"/>
                    </a:lnTo>
                    <a:lnTo>
                      <a:pt x="597" y="108"/>
                    </a:lnTo>
                    <a:lnTo>
                      <a:pt x="597" y="108"/>
                    </a:lnTo>
                    <a:lnTo>
                      <a:pt x="597" y="106"/>
                    </a:lnTo>
                    <a:lnTo>
                      <a:pt x="600" y="108"/>
                    </a:lnTo>
                    <a:lnTo>
                      <a:pt x="600" y="106"/>
                    </a:lnTo>
                    <a:lnTo>
                      <a:pt x="600" y="106"/>
                    </a:lnTo>
                    <a:lnTo>
                      <a:pt x="600" y="106"/>
                    </a:lnTo>
                    <a:lnTo>
                      <a:pt x="600" y="106"/>
                    </a:lnTo>
                    <a:lnTo>
                      <a:pt x="600" y="106"/>
                    </a:lnTo>
                    <a:lnTo>
                      <a:pt x="602" y="106"/>
                    </a:lnTo>
                    <a:lnTo>
                      <a:pt x="602" y="106"/>
                    </a:lnTo>
                    <a:lnTo>
                      <a:pt x="602" y="108"/>
                    </a:lnTo>
                    <a:lnTo>
                      <a:pt x="604" y="106"/>
                    </a:lnTo>
                    <a:lnTo>
                      <a:pt x="604" y="108"/>
                    </a:lnTo>
                    <a:lnTo>
                      <a:pt x="604" y="108"/>
                    </a:lnTo>
                    <a:lnTo>
                      <a:pt x="607" y="108"/>
                    </a:lnTo>
                    <a:lnTo>
                      <a:pt x="609" y="108"/>
                    </a:lnTo>
                    <a:lnTo>
                      <a:pt x="612" y="108"/>
                    </a:lnTo>
                    <a:lnTo>
                      <a:pt x="614" y="108"/>
                    </a:lnTo>
                    <a:lnTo>
                      <a:pt x="614" y="108"/>
                    </a:lnTo>
                    <a:lnTo>
                      <a:pt x="616" y="108"/>
                    </a:lnTo>
                    <a:lnTo>
                      <a:pt x="623" y="108"/>
                    </a:lnTo>
                    <a:lnTo>
                      <a:pt x="626" y="108"/>
                    </a:lnTo>
                    <a:lnTo>
                      <a:pt x="626" y="108"/>
                    </a:lnTo>
                    <a:lnTo>
                      <a:pt x="628" y="111"/>
                    </a:lnTo>
                    <a:lnTo>
                      <a:pt x="630" y="111"/>
                    </a:lnTo>
                    <a:lnTo>
                      <a:pt x="630" y="111"/>
                    </a:lnTo>
                    <a:lnTo>
                      <a:pt x="630" y="113"/>
                    </a:lnTo>
                    <a:lnTo>
                      <a:pt x="633" y="113"/>
                    </a:lnTo>
                    <a:lnTo>
                      <a:pt x="647" y="113"/>
                    </a:lnTo>
                    <a:lnTo>
                      <a:pt x="645" y="115"/>
                    </a:lnTo>
                    <a:lnTo>
                      <a:pt x="645" y="115"/>
                    </a:lnTo>
                    <a:lnTo>
                      <a:pt x="645" y="115"/>
                    </a:lnTo>
                    <a:lnTo>
                      <a:pt x="640" y="115"/>
                    </a:lnTo>
                    <a:lnTo>
                      <a:pt x="640" y="115"/>
                    </a:lnTo>
                    <a:lnTo>
                      <a:pt x="637" y="118"/>
                    </a:lnTo>
                    <a:lnTo>
                      <a:pt x="637" y="118"/>
                    </a:lnTo>
                    <a:lnTo>
                      <a:pt x="637" y="122"/>
                    </a:lnTo>
                    <a:lnTo>
                      <a:pt x="640" y="127"/>
                    </a:lnTo>
                    <a:lnTo>
                      <a:pt x="640" y="130"/>
                    </a:lnTo>
                    <a:lnTo>
                      <a:pt x="642" y="137"/>
                    </a:lnTo>
                    <a:lnTo>
                      <a:pt x="642" y="141"/>
                    </a:lnTo>
                    <a:lnTo>
                      <a:pt x="642" y="144"/>
                    </a:lnTo>
                    <a:lnTo>
                      <a:pt x="642" y="148"/>
                    </a:lnTo>
                    <a:lnTo>
                      <a:pt x="647" y="153"/>
                    </a:lnTo>
                    <a:lnTo>
                      <a:pt x="649" y="153"/>
                    </a:lnTo>
                    <a:lnTo>
                      <a:pt x="652" y="153"/>
                    </a:lnTo>
                    <a:lnTo>
                      <a:pt x="652" y="153"/>
                    </a:lnTo>
                    <a:lnTo>
                      <a:pt x="654" y="151"/>
                    </a:lnTo>
                    <a:lnTo>
                      <a:pt x="659" y="148"/>
                    </a:lnTo>
                    <a:lnTo>
                      <a:pt x="661" y="146"/>
                    </a:lnTo>
                    <a:lnTo>
                      <a:pt x="666" y="146"/>
                    </a:lnTo>
                    <a:lnTo>
                      <a:pt x="671" y="148"/>
                    </a:lnTo>
                    <a:lnTo>
                      <a:pt x="678" y="148"/>
                    </a:lnTo>
                    <a:lnTo>
                      <a:pt x="678" y="148"/>
                    </a:lnTo>
                    <a:lnTo>
                      <a:pt x="680" y="151"/>
                    </a:lnTo>
                    <a:lnTo>
                      <a:pt x="682" y="151"/>
                    </a:lnTo>
                    <a:lnTo>
                      <a:pt x="685" y="153"/>
                    </a:lnTo>
                    <a:lnTo>
                      <a:pt x="685" y="153"/>
                    </a:lnTo>
                    <a:lnTo>
                      <a:pt x="687" y="153"/>
                    </a:lnTo>
                    <a:lnTo>
                      <a:pt x="685" y="156"/>
                    </a:lnTo>
                    <a:lnTo>
                      <a:pt x="682" y="160"/>
                    </a:lnTo>
                    <a:lnTo>
                      <a:pt x="680" y="163"/>
                    </a:lnTo>
                    <a:lnTo>
                      <a:pt x="675" y="163"/>
                    </a:lnTo>
                    <a:lnTo>
                      <a:pt x="673" y="163"/>
                    </a:lnTo>
                    <a:lnTo>
                      <a:pt x="673" y="163"/>
                    </a:lnTo>
                    <a:lnTo>
                      <a:pt x="671" y="165"/>
                    </a:lnTo>
                    <a:lnTo>
                      <a:pt x="671" y="165"/>
                    </a:lnTo>
                    <a:lnTo>
                      <a:pt x="671" y="170"/>
                    </a:lnTo>
                    <a:lnTo>
                      <a:pt x="668" y="170"/>
                    </a:lnTo>
                    <a:lnTo>
                      <a:pt x="668" y="172"/>
                    </a:lnTo>
                    <a:lnTo>
                      <a:pt x="666" y="174"/>
                    </a:lnTo>
                    <a:lnTo>
                      <a:pt x="663" y="177"/>
                    </a:lnTo>
                    <a:lnTo>
                      <a:pt x="661" y="179"/>
                    </a:lnTo>
                    <a:lnTo>
                      <a:pt x="661" y="179"/>
                    </a:lnTo>
                    <a:lnTo>
                      <a:pt x="661" y="181"/>
                    </a:lnTo>
                    <a:lnTo>
                      <a:pt x="661" y="184"/>
                    </a:lnTo>
                    <a:lnTo>
                      <a:pt x="663" y="186"/>
                    </a:lnTo>
                    <a:lnTo>
                      <a:pt x="663" y="186"/>
                    </a:lnTo>
                    <a:lnTo>
                      <a:pt x="663" y="189"/>
                    </a:lnTo>
                    <a:lnTo>
                      <a:pt x="666" y="189"/>
                    </a:lnTo>
                    <a:lnTo>
                      <a:pt x="666" y="189"/>
                    </a:lnTo>
                    <a:lnTo>
                      <a:pt x="666" y="191"/>
                    </a:lnTo>
                    <a:lnTo>
                      <a:pt x="671" y="193"/>
                    </a:lnTo>
                    <a:lnTo>
                      <a:pt x="675" y="196"/>
                    </a:lnTo>
                    <a:lnTo>
                      <a:pt x="675" y="196"/>
                    </a:lnTo>
                    <a:lnTo>
                      <a:pt x="675" y="196"/>
                    </a:lnTo>
                    <a:lnTo>
                      <a:pt x="678" y="196"/>
                    </a:lnTo>
                    <a:lnTo>
                      <a:pt x="680" y="196"/>
                    </a:lnTo>
                    <a:lnTo>
                      <a:pt x="682" y="198"/>
                    </a:lnTo>
                    <a:lnTo>
                      <a:pt x="685" y="198"/>
                    </a:lnTo>
                    <a:lnTo>
                      <a:pt x="687" y="198"/>
                    </a:lnTo>
                    <a:lnTo>
                      <a:pt x="689" y="198"/>
                    </a:lnTo>
                    <a:lnTo>
                      <a:pt x="692" y="198"/>
                    </a:lnTo>
                    <a:lnTo>
                      <a:pt x="697" y="198"/>
                    </a:lnTo>
                    <a:lnTo>
                      <a:pt x="697" y="198"/>
                    </a:lnTo>
                    <a:lnTo>
                      <a:pt x="701" y="198"/>
                    </a:lnTo>
                    <a:lnTo>
                      <a:pt x="701" y="198"/>
                    </a:lnTo>
                    <a:lnTo>
                      <a:pt x="704" y="198"/>
                    </a:lnTo>
                    <a:lnTo>
                      <a:pt x="706" y="198"/>
                    </a:lnTo>
                    <a:lnTo>
                      <a:pt x="708" y="198"/>
                    </a:lnTo>
                    <a:lnTo>
                      <a:pt x="711" y="196"/>
                    </a:lnTo>
                    <a:lnTo>
                      <a:pt x="713" y="196"/>
                    </a:lnTo>
                    <a:lnTo>
                      <a:pt x="713" y="193"/>
                    </a:lnTo>
                    <a:lnTo>
                      <a:pt x="715" y="193"/>
                    </a:lnTo>
                    <a:lnTo>
                      <a:pt x="715" y="196"/>
                    </a:lnTo>
                    <a:lnTo>
                      <a:pt x="715" y="196"/>
                    </a:lnTo>
                    <a:lnTo>
                      <a:pt x="718" y="196"/>
                    </a:lnTo>
                    <a:lnTo>
                      <a:pt x="723" y="198"/>
                    </a:lnTo>
                    <a:lnTo>
                      <a:pt x="725" y="198"/>
                    </a:lnTo>
                    <a:lnTo>
                      <a:pt x="727" y="203"/>
                    </a:lnTo>
                    <a:lnTo>
                      <a:pt x="727" y="205"/>
                    </a:lnTo>
                    <a:lnTo>
                      <a:pt x="730" y="205"/>
                    </a:lnTo>
                    <a:lnTo>
                      <a:pt x="730" y="205"/>
                    </a:lnTo>
                    <a:lnTo>
                      <a:pt x="730" y="207"/>
                    </a:lnTo>
                    <a:lnTo>
                      <a:pt x="732" y="207"/>
                    </a:lnTo>
                    <a:lnTo>
                      <a:pt x="732" y="207"/>
                    </a:lnTo>
                    <a:lnTo>
                      <a:pt x="734" y="210"/>
                    </a:lnTo>
                    <a:lnTo>
                      <a:pt x="734" y="212"/>
                    </a:lnTo>
                    <a:lnTo>
                      <a:pt x="737" y="212"/>
                    </a:lnTo>
                    <a:lnTo>
                      <a:pt x="734" y="212"/>
                    </a:lnTo>
                    <a:lnTo>
                      <a:pt x="737" y="212"/>
                    </a:lnTo>
                    <a:lnTo>
                      <a:pt x="737" y="215"/>
                    </a:lnTo>
                    <a:lnTo>
                      <a:pt x="737" y="215"/>
                    </a:lnTo>
                    <a:lnTo>
                      <a:pt x="739" y="215"/>
                    </a:lnTo>
                    <a:lnTo>
                      <a:pt x="739" y="215"/>
                    </a:lnTo>
                    <a:lnTo>
                      <a:pt x="739" y="215"/>
                    </a:lnTo>
                    <a:lnTo>
                      <a:pt x="739" y="217"/>
                    </a:lnTo>
                    <a:lnTo>
                      <a:pt x="741" y="217"/>
                    </a:lnTo>
                    <a:lnTo>
                      <a:pt x="744" y="217"/>
                    </a:lnTo>
                    <a:lnTo>
                      <a:pt x="744" y="217"/>
                    </a:lnTo>
                    <a:lnTo>
                      <a:pt x="744" y="217"/>
                    </a:lnTo>
                    <a:lnTo>
                      <a:pt x="746" y="217"/>
                    </a:lnTo>
                    <a:lnTo>
                      <a:pt x="749" y="217"/>
                    </a:lnTo>
                    <a:lnTo>
                      <a:pt x="749" y="217"/>
                    </a:lnTo>
                    <a:lnTo>
                      <a:pt x="751" y="217"/>
                    </a:lnTo>
                    <a:lnTo>
                      <a:pt x="753" y="217"/>
                    </a:lnTo>
                    <a:lnTo>
                      <a:pt x="756" y="219"/>
                    </a:lnTo>
                    <a:lnTo>
                      <a:pt x="756" y="219"/>
                    </a:lnTo>
                    <a:lnTo>
                      <a:pt x="756" y="219"/>
                    </a:lnTo>
                    <a:lnTo>
                      <a:pt x="756" y="219"/>
                    </a:lnTo>
                    <a:lnTo>
                      <a:pt x="758" y="219"/>
                    </a:lnTo>
                    <a:lnTo>
                      <a:pt x="760" y="219"/>
                    </a:lnTo>
                    <a:lnTo>
                      <a:pt x="760" y="219"/>
                    </a:lnTo>
                    <a:lnTo>
                      <a:pt x="760" y="219"/>
                    </a:lnTo>
                    <a:lnTo>
                      <a:pt x="760" y="219"/>
                    </a:lnTo>
                    <a:lnTo>
                      <a:pt x="760" y="222"/>
                    </a:lnTo>
                    <a:lnTo>
                      <a:pt x="760" y="224"/>
                    </a:lnTo>
                    <a:lnTo>
                      <a:pt x="763" y="224"/>
                    </a:lnTo>
                    <a:lnTo>
                      <a:pt x="763" y="224"/>
                    </a:lnTo>
                    <a:lnTo>
                      <a:pt x="763" y="224"/>
                    </a:lnTo>
                    <a:lnTo>
                      <a:pt x="765" y="224"/>
                    </a:lnTo>
                    <a:lnTo>
                      <a:pt x="765" y="226"/>
                    </a:lnTo>
                    <a:lnTo>
                      <a:pt x="765" y="226"/>
                    </a:lnTo>
                    <a:lnTo>
                      <a:pt x="767" y="226"/>
                    </a:lnTo>
                    <a:lnTo>
                      <a:pt x="767" y="226"/>
                    </a:lnTo>
                    <a:lnTo>
                      <a:pt x="770" y="226"/>
                    </a:lnTo>
                    <a:lnTo>
                      <a:pt x="770" y="229"/>
                    </a:lnTo>
                    <a:lnTo>
                      <a:pt x="770" y="229"/>
                    </a:lnTo>
                    <a:lnTo>
                      <a:pt x="770" y="229"/>
                    </a:lnTo>
                    <a:lnTo>
                      <a:pt x="770" y="231"/>
                    </a:lnTo>
                    <a:lnTo>
                      <a:pt x="772" y="231"/>
                    </a:lnTo>
                    <a:lnTo>
                      <a:pt x="770" y="231"/>
                    </a:lnTo>
                    <a:lnTo>
                      <a:pt x="770" y="231"/>
                    </a:lnTo>
                    <a:lnTo>
                      <a:pt x="772" y="231"/>
                    </a:lnTo>
                    <a:lnTo>
                      <a:pt x="772" y="233"/>
                    </a:lnTo>
                    <a:lnTo>
                      <a:pt x="775" y="233"/>
                    </a:lnTo>
                    <a:lnTo>
                      <a:pt x="775" y="231"/>
                    </a:lnTo>
                    <a:lnTo>
                      <a:pt x="775" y="233"/>
                    </a:lnTo>
                    <a:lnTo>
                      <a:pt x="777" y="233"/>
                    </a:lnTo>
                    <a:lnTo>
                      <a:pt x="777" y="233"/>
                    </a:lnTo>
                    <a:lnTo>
                      <a:pt x="777" y="233"/>
                    </a:lnTo>
                    <a:lnTo>
                      <a:pt x="777" y="233"/>
                    </a:lnTo>
                    <a:lnTo>
                      <a:pt x="779" y="233"/>
                    </a:lnTo>
                    <a:lnTo>
                      <a:pt x="779" y="233"/>
                    </a:lnTo>
                    <a:lnTo>
                      <a:pt x="782" y="236"/>
                    </a:lnTo>
                    <a:lnTo>
                      <a:pt x="779" y="236"/>
                    </a:lnTo>
                    <a:lnTo>
                      <a:pt x="779" y="236"/>
                    </a:lnTo>
                    <a:lnTo>
                      <a:pt x="782" y="236"/>
                    </a:lnTo>
                    <a:lnTo>
                      <a:pt x="782" y="236"/>
                    </a:lnTo>
                    <a:lnTo>
                      <a:pt x="782" y="233"/>
                    </a:lnTo>
                    <a:lnTo>
                      <a:pt x="782" y="236"/>
                    </a:lnTo>
                    <a:lnTo>
                      <a:pt x="784" y="236"/>
                    </a:lnTo>
                    <a:lnTo>
                      <a:pt x="784" y="236"/>
                    </a:lnTo>
                    <a:lnTo>
                      <a:pt x="786" y="236"/>
                    </a:lnTo>
                    <a:lnTo>
                      <a:pt x="786" y="236"/>
                    </a:lnTo>
                    <a:lnTo>
                      <a:pt x="786" y="233"/>
                    </a:lnTo>
                    <a:lnTo>
                      <a:pt x="786" y="236"/>
                    </a:lnTo>
                    <a:lnTo>
                      <a:pt x="789" y="236"/>
                    </a:lnTo>
                    <a:lnTo>
                      <a:pt x="789" y="236"/>
                    </a:lnTo>
                    <a:lnTo>
                      <a:pt x="789" y="236"/>
                    </a:lnTo>
                    <a:lnTo>
                      <a:pt x="789" y="236"/>
                    </a:lnTo>
                    <a:lnTo>
                      <a:pt x="791" y="236"/>
                    </a:lnTo>
                    <a:lnTo>
                      <a:pt x="791" y="236"/>
                    </a:lnTo>
                    <a:lnTo>
                      <a:pt x="791" y="236"/>
                    </a:lnTo>
                    <a:lnTo>
                      <a:pt x="793" y="236"/>
                    </a:lnTo>
                    <a:lnTo>
                      <a:pt x="793" y="238"/>
                    </a:lnTo>
                    <a:lnTo>
                      <a:pt x="796" y="238"/>
                    </a:lnTo>
                    <a:lnTo>
                      <a:pt x="796" y="241"/>
                    </a:lnTo>
                    <a:lnTo>
                      <a:pt x="796" y="241"/>
                    </a:lnTo>
                    <a:lnTo>
                      <a:pt x="798" y="241"/>
                    </a:lnTo>
                    <a:lnTo>
                      <a:pt x="798" y="243"/>
                    </a:lnTo>
                    <a:lnTo>
                      <a:pt x="798" y="243"/>
                    </a:lnTo>
                    <a:lnTo>
                      <a:pt x="798" y="243"/>
                    </a:lnTo>
                    <a:lnTo>
                      <a:pt x="800" y="245"/>
                    </a:lnTo>
                    <a:lnTo>
                      <a:pt x="800" y="245"/>
                    </a:lnTo>
                    <a:lnTo>
                      <a:pt x="800" y="245"/>
                    </a:lnTo>
                    <a:lnTo>
                      <a:pt x="803" y="245"/>
                    </a:lnTo>
                    <a:lnTo>
                      <a:pt x="803" y="245"/>
                    </a:lnTo>
                    <a:lnTo>
                      <a:pt x="803" y="245"/>
                    </a:lnTo>
                    <a:lnTo>
                      <a:pt x="803" y="245"/>
                    </a:lnTo>
                    <a:lnTo>
                      <a:pt x="805" y="245"/>
                    </a:lnTo>
                    <a:lnTo>
                      <a:pt x="808" y="248"/>
                    </a:lnTo>
                    <a:lnTo>
                      <a:pt x="808" y="248"/>
                    </a:lnTo>
                    <a:lnTo>
                      <a:pt x="810" y="248"/>
                    </a:lnTo>
                    <a:lnTo>
                      <a:pt x="808" y="248"/>
                    </a:lnTo>
                    <a:lnTo>
                      <a:pt x="810" y="250"/>
                    </a:lnTo>
                    <a:lnTo>
                      <a:pt x="810" y="248"/>
                    </a:lnTo>
                    <a:lnTo>
                      <a:pt x="812" y="250"/>
                    </a:lnTo>
                    <a:lnTo>
                      <a:pt x="815" y="250"/>
                    </a:lnTo>
                    <a:lnTo>
                      <a:pt x="815" y="250"/>
                    </a:lnTo>
                    <a:lnTo>
                      <a:pt x="815" y="250"/>
                    </a:lnTo>
                    <a:lnTo>
                      <a:pt x="815" y="252"/>
                    </a:lnTo>
                    <a:lnTo>
                      <a:pt x="815" y="252"/>
                    </a:lnTo>
                    <a:lnTo>
                      <a:pt x="815" y="252"/>
                    </a:lnTo>
                    <a:lnTo>
                      <a:pt x="817" y="252"/>
                    </a:lnTo>
                    <a:lnTo>
                      <a:pt x="817" y="252"/>
                    </a:lnTo>
                    <a:lnTo>
                      <a:pt x="817" y="252"/>
                    </a:lnTo>
                    <a:lnTo>
                      <a:pt x="819" y="252"/>
                    </a:lnTo>
                    <a:lnTo>
                      <a:pt x="819" y="252"/>
                    </a:lnTo>
                    <a:lnTo>
                      <a:pt x="819" y="252"/>
                    </a:lnTo>
                    <a:lnTo>
                      <a:pt x="819" y="255"/>
                    </a:lnTo>
                    <a:lnTo>
                      <a:pt x="822" y="255"/>
                    </a:lnTo>
                    <a:lnTo>
                      <a:pt x="826" y="257"/>
                    </a:lnTo>
                    <a:lnTo>
                      <a:pt x="826" y="255"/>
                    </a:lnTo>
                    <a:lnTo>
                      <a:pt x="829" y="255"/>
                    </a:lnTo>
                    <a:lnTo>
                      <a:pt x="829" y="257"/>
                    </a:lnTo>
                    <a:lnTo>
                      <a:pt x="831" y="257"/>
                    </a:lnTo>
                    <a:lnTo>
                      <a:pt x="831" y="257"/>
                    </a:lnTo>
                    <a:lnTo>
                      <a:pt x="834" y="257"/>
                    </a:lnTo>
                    <a:lnTo>
                      <a:pt x="834" y="255"/>
                    </a:lnTo>
                    <a:lnTo>
                      <a:pt x="836" y="255"/>
                    </a:lnTo>
                    <a:lnTo>
                      <a:pt x="836" y="257"/>
                    </a:lnTo>
                    <a:lnTo>
                      <a:pt x="838" y="257"/>
                    </a:lnTo>
                    <a:lnTo>
                      <a:pt x="838" y="257"/>
                    </a:lnTo>
                    <a:lnTo>
                      <a:pt x="841" y="257"/>
                    </a:lnTo>
                    <a:lnTo>
                      <a:pt x="843" y="257"/>
                    </a:lnTo>
                    <a:lnTo>
                      <a:pt x="845" y="259"/>
                    </a:lnTo>
                    <a:lnTo>
                      <a:pt x="845" y="259"/>
                    </a:lnTo>
                    <a:lnTo>
                      <a:pt x="845" y="259"/>
                    </a:lnTo>
                    <a:lnTo>
                      <a:pt x="845" y="259"/>
                    </a:lnTo>
                    <a:lnTo>
                      <a:pt x="848" y="259"/>
                    </a:lnTo>
                    <a:lnTo>
                      <a:pt x="848" y="259"/>
                    </a:lnTo>
                    <a:lnTo>
                      <a:pt x="850" y="262"/>
                    </a:lnTo>
                    <a:lnTo>
                      <a:pt x="852" y="259"/>
                    </a:lnTo>
                    <a:lnTo>
                      <a:pt x="852" y="259"/>
                    </a:lnTo>
                    <a:lnTo>
                      <a:pt x="852" y="262"/>
                    </a:lnTo>
                    <a:lnTo>
                      <a:pt x="855" y="262"/>
                    </a:lnTo>
                    <a:lnTo>
                      <a:pt x="855" y="262"/>
                    </a:lnTo>
                    <a:lnTo>
                      <a:pt x="857" y="262"/>
                    </a:lnTo>
                    <a:lnTo>
                      <a:pt x="857" y="262"/>
                    </a:lnTo>
                    <a:lnTo>
                      <a:pt x="857" y="262"/>
                    </a:lnTo>
                    <a:lnTo>
                      <a:pt x="857" y="262"/>
                    </a:lnTo>
                    <a:lnTo>
                      <a:pt x="857" y="264"/>
                    </a:lnTo>
                    <a:lnTo>
                      <a:pt x="857" y="264"/>
                    </a:lnTo>
                    <a:lnTo>
                      <a:pt x="860" y="264"/>
                    </a:lnTo>
                    <a:lnTo>
                      <a:pt x="862" y="264"/>
                    </a:lnTo>
                    <a:lnTo>
                      <a:pt x="862" y="264"/>
                    </a:lnTo>
                    <a:lnTo>
                      <a:pt x="862" y="267"/>
                    </a:lnTo>
                    <a:lnTo>
                      <a:pt x="862" y="267"/>
                    </a:lnTo>
                    <a:lnTo>
                      <a:pt x="862" y="269"/>
                    </a:lnTo>
                    <a:lnTo>
                      <a:pt x="864" y="267"/>
                    </a:lnTo>
                    <a:lnTo>
                      <a:pt x="867" y="269"/>
                    </a:lnTo>
                    <a:lnTo>
                      <a:pt x="871" y="269"/>
                    </a:lnTo>
                    <a:lnTo>
                      <a:pt x="871" y="271"/>
                    </a:lnTo>
                    <a:lnTo>
                      <a:pt x="871" y="271"/>
                    </a:lnTo>
                    <a:lnTo>
                      <a:pt x="871" y="271"/>
                    </a:lnTo>
                    <a:lnTo>
                      <a:pt x="874" y="271"/>
                    </a:lnTo>
                    <a:lnTo>
                      <a:pt x="874" y="271"/>
                    </a:lnTo>
                    <a:lnTo>
                      <a:pt x="874" y="274"/>
                    </a:lnTo>
                    <a:lnTo>
                      <a:pt x="876" y="274"/>
                    </a:lnTo>
                    <a:lnTo>
                      <a:pt x="878" y="274"/>
                    </a:lnTo>
                    <a:lnTo>
                      <a:pt x="878" y="274"/>
                    </a:lnTo>
                    <a:lnTo>
                      <a:pt x="881" y="274"/>
                    </a:lnTo>
                    <a:lnTo>
                      <a:pt x="881" y="274"/>
                    </a:lnTo>
                    <a:lnTo>
                      <a:pt x="881" y="274"/>
                    </a:lnTo>
                    <a:lnTo>
                      <a:pt x="881" y="274"/>
                    </a:lnTo>
                    <a:lnTo>
                      <a:pt x="883" y="274"/>
                    </a:lnTo>
                    <a:lnTo>
                      <a:pt x="883" y="274"/>
                    </a:lnTo>
                    <a:lnTo>
                      <a:pt x="883" y="274"/>
                    </a:lnTo>
                    <a:lnTo>
                      <a:pt x="886" y="274"/>
                    </a:lnTo>
                    <a:lnTo>
                      <a:pt x="886" y="276"/>
                    </a:lnTo>
                    <a:lnTo>
                      <a:pt x="888" y="276"/>
                    </a:lnTo>
                    <a:lnTo>
                      <a:pt x="890" y="276"/>
                    </a:lnTo>
                    <a:lnTo>
                      <a:pt x="893" y="278"/>
                    </a:lnTo>
                    <a:lnTo>
                      <a:pt x="895" y="278"/>
                    </a:lnTo>
                    <a:lnTo>
                      <a:pt x="895" y="278"/>
                    </a:lnTo>
                    <a:lnTo>
                      <a:pt x="897" y="278"/>
                    </a:lnTo>
                    <a:lnTo>
                      <a:pt x="897" y="278"/>
                    </a:lnTo>
                    <a:lnTo>
                      <a:pt x="897" y="281"/>
                    </a:lnTo>
                    <a:lnTo>
                      <a:pt x="900" y="281"/>
                    </a:lnTo>
                    <a:lnTo>
                      <a:pt x="900" y="283"/>
                    </a:lnTo>
                    <a:lnTo>
                      <a:pt x="902" y="281"/>
                    </a:lnTo>
                    <a:lnTo>
                      <a:pt x="902" y="283"/>
                    </a:lnTo>
                    <a:lnTo>
                      <a:pt x="904" y="283"/>
                    </a:lnTo>
                    <a:lnTo>
                      <a:pt x="904" y="285"/>
                    </a:lnTo>
                    <a:lnTo>
                      <a:pt x="904" y="285"/>
                    </a:lnTo>
                    <a:lnTo>
                      <a:pt x="907" y="288"/>
                    </a:lnTo>
                    <a:lnTo>
                      <a:pt x="907" y="290"/>
                    </a:lnTo>
                    <a:lnTo>
                      <a:pt x="907" y="290"/>
                    </a:lnTo>
                    <a:lnTo>
                      <a:pt x="904" y="290"/>
                    </a:lnTo>
                    <a:lnTo>
                      <a:pt x="907" y="293"/>
                    </a:lnTo>
                    <a:lnTo>
                      <a:pt x="909" y="290"/>
                    </a:lnTo>
                    <a:lnTo>
                      <a:pt x="909" y="293"/>
                    </a:lnTo>
                    <a:lnTo>
                      <a:pt x="909" y="293"/>
                    </a:lnTo>
                    <a:lnTo>
                      <a:pt x="912" y="293"/>
                    </a:lnTo>
                    <a:lnTo>
                      <a:pt x="912" y="295"/>
                    </a:lnTo>
                    <a:lnTo>
                      <a:pt x="914" y="295"/>
                    </a:lnTo>
                    <a:lnTo>
                      <a:pt x="916" y="297"/>
                    </a:lnTo>
                    <a:lnTo>
                      <a:pt x="916" y="297"/>
                    </a:lnTo>
                    <a:lnTo>
                      <a:pt x="916" y="300"/>
                    </a:lnTo>
                    <a:lnTo>
                      <a:pt x="916" y="300"/>
                    </a:lnTo>
                    <a:lnTo>
                      <a:pt x="916" y="300"/>
                    </a:lnTo>
                    <a:lnTo>
                      <a:pt x="914" y="302"/>
                    </a:lnTo>
                    <a:lnTo>
                      <a:pt x="914" y="304"/>
                    </a:lnTo>
                    <a:lnTo>
                      <a:pt x="919" y="309"/>
                    </a:lnTo>
                    <a:lnTo>
                      <a:pt x="919" y="311"/>
                    </a:lnTo>
                    <a:lnTo>
                      <a:pt x="919" y="314"/>
                    </a:lnTo>
                    <a:lnTo>
                      <a:pt x="919" y="316"/>
                    </a:lnTo>
                    <a:lnTo>
                      <a:pt x="916" y="316"/>
                    </a:lnTo>
                    <a:lnTo>
                      <a:pt x="916" y="316"/>
                    </a:lnTo>
                    <a:lnTo>
                      <a:pt x="914" y="316"/>
                    </a:lnTo>
                    <a:lnTo>
                      <a:pt x="912" y="316"/>
                    </a:lnTo>
                    <a:lnTo>
                      <a:pt x="912" y="316"/>
                    </a:lnTo>
                    <a:lnTo>
                      <a:pt x="909" y="318"/>
                    </a:lnTo>
                    <a:lnTo>
                      <a:pt x="907" y="326"/>
                    </a:lnTo>
                    <a:lnTo>
                      <a:pt x="907" y="326"/>
                    </a:lnTo>
                    <a:lnTo>
                      <a:pt x="904" y="328"/>
                    </a:lnTo>
                    <a:lnTo>
                      <a:pt x="904" y="333"/>
                    </a:lnTo>
                    <a:lnTo>
                      <a:pt x="902" y="335"/>
                    </a:lnTo>
                    <a:lnTo>
                      <a:pt x="902" y="335"/>
                    </a:lnTo>
                    <a:lnTo>
                      <a:pt x="907" y="337"/>
                    </a:lnTo>
                    <a:lnTo>
                      <a:pt x="904" y="340"/>
                    </a:lnTo>
                    <a:lnTo>
                      <a:pt x="904" y="342"/>
                    </a:lnTo>
                    <a:lnTo>
                      <a:pt x="904" y="342"/>
                    </a:lnTo>
                    <a:lnTo>
                      <a:pt x="907" y="344"/>
                    </a:lnTo>
                    <a:lnTo>
                      <a:pt x="907" y="349"/>
                    </a:lnTo>
                    <a:lnTo>
                      <a:pt x="907" y="352"/>
                    </a:lnTo>
                    <a:lnTo>
                      <a:pt x="907" y="354"/>
                    </a:lnTo>
                    <a:lnTo>
                      <a:pt x="909" y="356"/>
                    </a:lnTo>
                    <a:lnTo>
                      <a:pt x="909" y="356"/>
                    </a:lnTo>
                    <a:lnTo>
                      <a:pt x="909" y="359"/>
                    </a:lnTo>
                    <a:lnTo>
                      <a:pt x="909" y="359"/>
                    </a:lnTo>
                    <a:lnTo>
                      <a:pt x="907" y="366"/>
                    </a:lnTo>
                    <a:lnTo>
                      <a:pt x="909" y="370"/>
                    </a:lnTo>
                    <a:lnTo>
                      <a:pt x="909" y="373"/>
                    </a:lnTo>
                    <a:lnTo>
                      <a:pt x="907" y="375"/>
                    </a:lnTo>
                    <a:lnTo>
                      <a:pt x="907" y="375"/>
                    </a:lnTo>
                    <a:lnTo>
                      <a:pt x="909" y="380"/>
                    </a:lnTo>
                    <a:lnTo>
                      <a:pt x="909" y="380"/>
                    </a:lnTo>
                    <a:lnTo>
                      <a:pt x="909" y="382"/>
                    </a:lnTo>
                    <a:lnTo>
                      <a:pt x="907" y="389"/>
                    </a:lnTo>
                    <a:lnTo>
                      <a:pt x="902" y="394"/>
                    </a:lnTo>
                    <a:lnTo>
                      <a:pt x="902" y="401"/>
                    </a:lnTo>
                    <a:lnTo>
                      <a:pt x="900" y="401"/>
                    </a:lnTo>
                    <a:lnTo>
                      <a:pt x="897" y="406"/>
                    </a:lnTo>
                    <a:lnTo>
                      <a:pt x="895" y="406"/>
                    </a:lnTo>
                    <a:lnTo>
                      <a:pt x="893" y="408"/>
                    </a:lnTo>
                    <a:lnTo>
                      <a:pt x="890" y="408"/>
                    </a:lnTo>
                    <a:lnTo>
                      <a:pt x="890" y="408"/>
                    </a:lnTo>
                    <a:lnTo>
                      <a:pt x="888" y="411"/>
                    </a:lnTo>
                    <a:lnTo>
                      <a:pt x="883" y="411"/>
                    </a:lnTo>
                    <a:lnTo>
                      <a:pt x="878" y="411"/>
                    </a:lnTo>
                    <a:lnTo>
                      <a:pt x="871" y="413"/>
                    </a:lnTo>
                    <a:lnTo>
                      <a:pt x="869" y="413"/>
                    </a:lnTo>
                    <a:lnTo>
                      <a:pt x="867" y="415"/>
                    </a:lnTo>
                    <a:lnTo>
                      <a:pt x="864" y="415"/>
                    </a:lnTo>
                    <a:lnTo>
                      <a:pt x="864" y="418"/>
                    </a:lnTo>
                    <a:lnTo>
                      <a:pt x="864" y="420"/>
                    </a:lnTo>
                    <a:lnTo>
                      <a:pt x="862" y="420"/>
                    </a:lnTo>
                    <a:lnTo>
                      <a:pt x="857" y="430"/>
                    </a:lnTo>
                    <a:lnTo>
                      <a:pt x="857" y="430"/>
                    </a:lnTo>
                    <a:lnTo>
                      <a:pt x="855" y="430"/>
                    </a:lnTo>
                    <a:lnTo>
                      <a:pt x="852" y="434"/>
                    </a:lnTo>
                    <a:lnTo>
                      <a:pt x="850" y="434"/>
                    </a:lnTo>
                    <a:lnTo>
                      <a:pt x="845" y="441"/>
                    </a:lnTo>
                    <a:lnTo>
                      <a:pt x="845" y="444"/>
                    </a:lnTo>
                    <a:lnTo>
                      <a:pt x="843" y="446"/>
                    </a:lnTo>
                    <a:lnTo>
                      <a:pt x="836" y="451"/>
                    </a:lnTo>
                    <a:lnTo>
                      <a:pt x="836" y="451"/>
                    </a:lnTo>
                    <a:lnTo>
                      <a:pt x="836" y="453"/>
                    </a:lnTo>
                    <a:lnTo>
                      <a:pt x="836" y="453"/>
                    </a:lnTo>
                    <a:lnTo>
                      <a:pt x="834" y="453"/>
                    </a:lnTo>
                    <a:lnTo>
                      <a:pt x="834" y="455"/>
                    </a:lnTo>
                    <a:lnTo>
                      <a:pt x="829" y="465"/>
                    </a:lnTo>
                    <a:lnTo>
                      <a:pt x="829" y="467"/>
                    </a:lnTo>
                    <a:lnTo>
                      <a:pt x="829" y="472"/>
                    </a:lnTo>
                    <a:lnTo>
                      <a:pt x="829" y="472"/>
                    </a:lnTo>
                    <a:lnTo>
                      <a:pt x="829" y="472"/>
                    </a:lnTo>
                    <a:lnTo>
                      <a:pt x="829" y="477"/>
                    </a:lnTo>
                    <a:lnTo>
                      <a:pt x="829" y="481"/>
                    </a:lnTo>
                    <a:lnTo>
                      <a:pt x="829" y="484"/>
                    </a:lnTo>
                    <a:lnTo>
                      <a:pt x="831" y="486"/>
                    </a:lnTo>
                    <a:lnTo>
                      <a:pt x="831" y="491"/>
                    </a:lnTo>
                    <a:lnTo>
                      <a:pt x="829" y="493"/>
                    </a:lnTo>
                    <a:lnTo>
                      <a:pt x="824" y="496"/>
                    </a:lnTo>
                    <a:lnTo>
                      <a:pt x="824" y="496"/>
                    </a:lnTo>
                    <a:lnTo>
                      <a:pt x="819" y="496"/>
                    </a:lnTo>
                    <a:lnTo>
                      <a:pt x="817" y="498"/>
                    </a:lnTo>
                    <a:lnTo>
                      <a:pt x="815" y="503"/>
                    </a:lnTo>
                    <a:lnTo>
                      <a:pt x="812" y="505"/>
                    </a:lnTo>
                    <a:lnTo>
                      <a:pt x="810" y="507"/>
                    </a:lnTo>
                    <a:lnTo>
                      <a:pt x="810" y="510"/>
                    </a:lnTo>
                    <a:lnTo>
                      <a:pt x="810" y="515"/>
                    </a:lnTo>
                    <a:lnTo>
                      <a:pt x="808" y="515"/>
                    </a:lnTo>
                    <a:lnTo>
                      <a:pt x="805" y="517"/>
                    </a:lnTo>
                    <a:lnTo>
                      <a:pt x="805" y="517"/>
                    </a:lnTo>
                    <a:lnTo>
                      <a:pt x="803" y="517"/>
                    </a:lnTo>
                    <a:lnTo>
                      <a:pt x="798" y="517"/>
                    </a:lnTo>
                    <a:lnTo>
                      <a:pt x="798" y="519"/>
                    </a:lnTo>
                    <a:lnTo>
                      <a:pt x="798" y="519"/>
                    </a:lnTo>
                    <a:lnTo>
                      <a:pt x="798" y="524"/>
                    </a:lnTo>
                    <a:lnTo>
                      <a:pt x="798" y="526"/>
                    </a:lnTo>
                    <a:lnTo>
                      <a:pt x="798" y="526"/>
                    </a:lnTo>
                    <a:lnTo>
                      <a:pt x="800" y="529"/>
                    </a:lnTo>
                    <a:lnTo>
                      <a:pt x="800" y="536"/>
                    </a:lnTo>
                    <a:lnTo>
                      <a:pt x="800" y="536"/>
                    </a:lnTo>
                    <a:lnTo>
                      <a:pt x="800" y="541"/>
                    </a:lnTo>
                    <a:lnTo>
                      <a:pt x="800" y="543"/>
                    </a:lnTo>
                    <a:lnTo>
                      <a:pt x="800" y="545"/>
                    </a:lnTo>
                    <a:lnTo>
                      <a:pt x="800" y="545"/>
                    </a:lnTo>
                    <a:lnTo>
                      <a:pt x="800" y="545"/>
                    </a:lnTo>
                    <a:lnTo>
                      <a:pt x="798" y="548"/>
                    </a:lnTo>
                    <a:lnTo>
                      <a:pt x="793" y="550"/>
                    </a:lnTo>
                    <a:lnTo>
                      <a:pt x="793" y="555"/>
                    </a:lnTo>
                    <a:lnTo>
                      <a:pt x="791" y="557"/>
                    </a:lnTo>
                    <a:lnTo>
                      <a:pt x="791" y="559"/>
                    </a:lnTo>
                    <a:lnTo>
                      <a:pt x="789" y="562"/>
                    </a:lnTo>
                    <a:lnTo>
                      <a:pt x="786" y="564"/>
                    </a:lnTo>
                    <a:lnTo>
                      <a:pt x="786" y="567"/>
                    </a:lnTo>
                    <a:lnTo>
                      <a:pt x="782" y="567"/>
                    </a:lnTo>
                    <a:lnTo>
                      <a:pt x="779" y="567"/>
                    </a:lnTo>
                    <a:lnTo>
                      <a:pt x="775" y="567"/>
                    </a:lnTo>
                    <a:lnTo>
                      <a:pt x="775" y="567"/>
                    </a:lnTo>
                    <a:lnTo>
                      <a:pt x="772" y="567"/>
                    </a:lnTo>
                    <a:lnTo>
                      <a:pt x="770" y="571"/>
                    </a:lnTo>
                    <a:lnTo>
                      <a:pt x="770" y="574"/>
                    </a:lnTo>
                    <a:lnTo>
                      <a:pt x="770" y="576"/>
                    </a:lnTo>
                    <a:lnTo>
                      <a:pt x="775" y="578"/>
                    </a:lnTo>
                    <a:lnTo>
                      <a:pt x="775" y="581"/>
                    </a:lnTo>
                    <a:lnTo>
                      <a:pt x="775" y="585"/>
                    </a:lnTo>
                    <a:lnTo>
                      <a:pt x="775" y="588"/>
                    </a:lnTo>
                    <a:lnTo>
                      <a:pt x="775" y="588"/>
                    </a:lnTo>
                    <a:lnTo>
                      <a:pt x="772" y="595"/>
                    </a:lnTo>
                    <a:lnTo>
                      <a:pt x="770" y="595"/>
                    </a:lnTo>
                    <a:lnTo>
                      <a:pt x="770" y="597"/>
                    </a:lnTo>
                    <a:lnTo>
                      <a:pt x="765" y="600"/>
                    </a:lnTo>
                    <a:lnTo>
                      <a:pt x="763" y="602"/>
                    </a:lnTo>
                    <a:lnTo>
                      <a:pt x="760" y="607"/>
                    </a:lnTo>
                    <a:lnTo>
                      <a:pt x="760" y="609"/>
                    </a:lnTo>
                    <a:lnTo>
                      <a:pt x="758" y="611"/>
                    </a:lnTo>
                    <a:lnTo>
                      <a:pt x="753" y="616"/>
                    </a:lnTo>
                    <a:lnTo>
                      <a:pt x="751" y="618"/>
                    </a:lnTo>
                    <a:lnTo>
                      <a:pt x="749" y="618"/>
                    </a:lnTo>
                    <a:lnTo>
                      <a:pt x="749" y="621"/>
                    </a:lnTo>
                    <a:lnTo>
                      <a:pt x="746" y="621"/>
                    </a:lnTo>
                    <a:lnTo>
                      <a:pt x="744" y="626"/>
                    </a:lnTo>
                    <a:lnTo>
                      <a:pt x="741" y="628"/>
                    </a:lnTo>
                    <a:lnTo>
                      <a:pt x="739" y="640"/>
                    </a:lnTo>
                    <a:lnTo>
                      <a:pt x="734" y="644"/>
                    </a:lnTo>
                    <a:lnTo>
                      <a:pt x="732" y="647"/>
                    </a:lnTo>
                    <a:lnTo>
                      <a:pt x="732" y="647"/>
                    </a:lnTo>
                    <a:lnTo>
                      <a:pt x="732" y="649"/>
                    </a:lnTo>
                    <a:lnTo>
                      <a:pt x="725" y="654"/>
                    </a:lnTo>
                    <a:lnTo>
                      <a:pt x="725" y="656"/>
                    </a:lnTo>
                    <a:lnTo>
                      <a:pt x="723" y="659"/>
                    </a:lnTo>
                    <a:lnTo>
                      <a:pt x="720" y="659"/>
                    </a:lnTo>
                    <a:lnTo>
                      <a:pt x="720" y="659"/>
                    </a:lnTo>
                    <a:lnTo>
                      <a:pt x="718" y="661"/>
                    </a:lnTo>
                    <a:lnTo>
                      <a:pt x="715" y="661"/>
                    </a:lnTo>
                    <a:lnTo>
                      <a:pt x="713" y="663"/>
                    </a:lnTo>
                    <a:lnTo>
                      <a:pt x="708" y="663"/>
                    </a:lnTo>
                    <a:lnTo>
                      <a:pt x="706" y="666"/>
                    </a:lnTo>
                    <a:lnTo>
                      <a:pt x="704" y="668"/>
                    </a:lnTo>
                    <a:lnTo>
                      <a:pt x="701" y="668"/>
                    </a:lnTo>
                    <a:lnTo>
                      <a:pt x="699" y="670"/>
                    </a:lnTo>
                    <a:lnTo>
                      <a:pt x="694" y="673"/>
                    </a:lnTo>
                    <a:lnTo>
                      <a:pt x="689" y="675"/>
                    </a:lnTo>
                    <a:lnTo>
                      <a:pt x="687" y="675"/>
                    </a:lnTo>
                    <a:lnTo>
                      <a:pt x="680" y="680"/>
                    </a:lnTo>
                    <a:lnTo>
                      <a:pt x="680" y="682"/>
                    </a:lnTo>
                    <a:lnTo>
                      <a:pt x="675" y="685"/>
                    </a:lnTo>
                    <a:lnTo>
                      <a:pt x="673" y="689"/>
                    </a:lnTo>
                    <a:lnTo>
                      <a:pt x="673" y="689"/>
                    </a:lnTo>
                    <a:lnTo>
                      <a:pt x="671" y="692"/>
                    </a:lnTo>
                    <a:lnTo>
                      <a:pt x="663" y="692"/>
                    </a:lnTo>
                    <a:lnTo>
                      <a:pt x="661" y="694"/>
                    </a:lnTo>
                    <a:lnTo>
                      <a:pt x="661" y="694"/>
                    </a:lnTo>
                    <a:lnTo>
                      <a:pt x="656" y="696"/>
                    </a:lnTo>
                    <a:lnTo>
                      <a:pt x="654" y="699"/>
                    </a:lnTo>
                    <a:lnTo>
                      <a:pt x="654" y="699"/>
                    </a:lnTo>
                    <a:lnTo>
                      <a:pt x="649" y="701"/>
                    </a:lnTo>
                    <a:lnTo>
                      <a:pt x="647" y="701"/>
                    </a:lnTo>
                    <a:lnTo>
                      <a:pt x="645" y="704"/>
                    </a:lnTo>
                    <a:lnTo>
                      <a:pt x="642" y="708"/>
                    </a:lnTo>
                    <a:lnTo>
                      <a:pt x="642" y="711"/>
                    </a:lnTo>
                    <a:lnTo>
                      <a:pt x="642" y="711"/>
                    </a:lnTo>
                    <a:lnTo>
                      <a:pt x="642" y="711"/>
                    </a:lnTo>
                    <a:lnTo>
                      <a:pt x="642" y="713"/>
                    </a:lnTo>
                    <a:lnTo>
                      <a:pt x="640" y="715"/>
                    </a:lnTo>
                    <a:lnTo>
                      <a:pt x="640" y="715"/>
                    </a:lnTo>
                    <a:lnTo>
                      <a:pt x="633" y="725"/>
                    </a:lnTo>
                    <a:lnTo>
                      <a:pt x="630" y="725"/>
                    </a:lnTo>
                    <a:lnTo>
                      <a:pt x="630" y="727"/>
                    </a:lnTo>
                    <a:lnTo>
                      <a:pt x="628" y="727"/>
                    </a:lnTo>
                    <a:lnTo>
                      <a:pt x="626" y="727"/>
                    </a:lnTo>
                    <a:lnTo>
                      <a:pt x="626" y="727"/>
                    </a:lnTo>
                    <a:lnTo>
                      <a:pt x="623" y="727"/>
                    </a:lnTo>
                    <a:lnTo>
                      <a:pt x="616" y="730"/>
                    </a:lnTo>
                    <a:lnTo>
                      <a:pt x="614" y="732"/>
                    </a:lnTo>
                    <a:lnTo>
                      <a:pt x="612" y="732"/>
                    </a:lnTo>
                    <a:lnTo>
                      <a:pt x="609" y="732"/>
                    </a:lnTo>
                    <a:lnTo>
                      <a:pt x="609" y="734"/>
                    </a:lnTo>
                    <a:lnTo>
                      <a:pt x="607" y="737"/>
                    </a:lnTo>
                    <a:lnTo>
                      <a:pt x="604" y="737"/>
                    </a:lnTo>
                    <a:lnTo>
                      <a:pt x="604" y="737"/>
                    </a:lnTo>
                    <a:lnTo>
                      <a:pt x="604" y="739"/>
                    </a:lnTo>
                    <a:lnTo>
                      <a:pt x="600" y="741"/>
                    </a:lnTo>
                    <a:lnTo>
                      <a:pt x="597" y="741"/>
                    </a:lnTo>
                    <a:lnTo>
                      <a:pt x="595" y="744"/>
                    </a:lnTo>
                    <a:lnTo>
                      <a:pt x="590" y="746"/>
                    </a:lnTo>
                    <a:lnTo>
                      <a:pt x="588" y="746"/>
                    </a:lnTo>
                    <a:lnTo>
                      <a:pt x="586" y="748"/>
                    </a:lnTo>
                    <a:lnTo>
                      <a:pt x="586" y="751"/>
                    </a:lnTo>
                    <a:lnTo>
                      <a:pt x="586" y="751"/>
                    </a:lnTo>
                    <a:lnTo>
                      <a:pt x="583" y="753"/>
                    </a:lnTo>
                    <a:lnTo>
                      <a:pt x="581" y="753"/>
                    </a:lnTo>
                    <a:lnTo>
                      <a:pt x="578" y="755"/>
                    </a:lnTo>
                    <a:lnTo>
                      <a:pt x="578" y="758"/>
                    </a:lnTo>
                    <a:lnTo>
                      <a:pt x="576" y="763"/>
                    </a:lnTo>
                    <a:lnTo>
                      <a:pt x="576" y="763"/>
                    </a:lnTo>
                    <a:lnTo>
                      <a:pt x="576" y="779"/>
                    </a:lnTo>
                    <a:lnTo>
                      <a:pt x="571" y="781"/>
                    </a:lnTo>
                    <a:lnTo>
                      <a:pt x="571" y="784"/>
                    </a:lnTo>
                    <a:lnTo>
                      <a:pt x="569" y="789"/>
                    </a:lnTo>
                    <a:lnTo>
                      <a:pt x="567" y="796"/>
                    </a:lnTo>
                    <a:lnTo>
                      <a:pt x="564" y="798"/>
                    </a:lnTo>
                    <a:lnTo>
                      <a:pt x="564" y="800"/>
                    </a:lnTo>
                    <a:lnTo>
                      <a:pt x="562" y="803"/>
                    </a:lnTo>
                    <a:lnTo>
                      <a:pt x="560" y="810"/>
                    </a:lnTo>
                    <a:lnTo>
                      <a:pt x="557" y="810"/>
                    </a:lnTo>
                    <a:lnTo>
                      <a:pt x="552" y="812"/>
                    </a:lnTo>
                    <a:lnTo>
                      <a:pt x="543" y="817"/>
                    </a:lnTo>
                    <a:lnTo>
                      <a:pt x="538" y="822"/>
                    </a:lnTo>
                    <a:lnTo>
                      <a:pt x="534" y="819"/>
                    </a:lnTo>
                    <a:lnTo>
                      <a:pt x="534" y="822"/>
                    </a:lnTo>
                    <a:lnTo>
                      <a:pt x="531" y="822"/>
                    </a:lnTo>
                    <a:lnTo>
                      <a:pt x="531" y="822"/>
                    </a:lnTo>
                    <a:lnTo>
                      <a:pt x="526" y="829"/>
                    </a:lnTo>
                    <a:lnTo>
                      <a:pt x="526" y="833"/>
                    </a:lnTo>
                    <a:lnTo>
                      <a:pt x="526" y="838"/>
                    </a:lnTo>
                    <a:lnTo>
                      <a:pt x="524" y="843"/>
                    </a:lnTo>
                    <a:lnTo>
                      <a:pt x="524" y="848"/>
                    </a:lnTo>
                    <a:lnTo>
                      <a:pt x="524" y="850"/>
                    </a:lnTo>
                    <a:lnTo>
                      <a:pt x="522" y="852"/>
                    </a:lnTo>
                    <a:lnTo>
                      <a:pt x="522" y="857"/>
                    </a:lnTo>
                    <a:lnTo>
                      <a:pt x="522" y="857"/>
                    </a:lnTo>
                    <a:lnTo>
                      <a:pt x="519" y="862"/>
                    </a:lnTo>
                    <a:lnTo>
                      <a:pt x="517" y="867"/>
                    </a:lnTo>
                    <a:lnTo>
                      <a:pt x="517" y="869"/>
                    </a:lnTo>
                    <a:lnTo>
                      <a:pt x="517" y="871"/>
                    </a:lnTo>
                    <a:lnTo>
                      <a:pt x="517" y="871"/>
                    </a:lnTo>
                    <a:lnTo>
                      <a:pt x="517" y="876"/>
                    </a:lnTo>
                    <a:lnTo>
                      <a:pt x="517" y="878"/>
                    </a:lnTo>
                    <a:lnTo>
                      <a:pt x="515" y="885"/>
                    </a:lnTo>
                    <a:lnTo>
                      <a:pt x="515" y="888"/>
                    </a:lnTo>
                    <a:lnTo>
                      <a:pt x="512" y="890"/>
                    </a:lnTo>
                    <a:lnTo>
                      <a:pt x="508" y="892"/>
                    </a:lnTo>
                    <a:lnTo>
                      <a:pt x="498" y="900"/>
                    </a:lnTo>
                    <a:lnTo>
                      <a:pt x="493" y="900"/>
                    </a:lnTo>
                    <a:lnTo>
                      <a:pt x="493" y="900"/>
                    </a:lnTo>
                    <a:lnTo>
                      <a:pt x="493" y="902"/>
                    </a:lnTo>
                    <a:lnTo>
                      <a:pt x="489" y="900"/>
                    </a:lnTo>
                    <a:lnTo>
                      <a:pt x="489" y="897"/>
                    </a:lnTo>
                    <a:lnTo>
                      <a:pt x="489" y="895"/>
                    </a:lnTo>
                    <a:lnTo>
                      <a:pt x="489" y="895"/>
                    </a:lnTo>
                    <a:lnTo>
                      <a:pt x="486" y="892"/>
                    </a:lnTo>
                    <a:lnTo>
                      <a:pt x="484" y="895"/>
                    </a:lnTo>
                    <a:lnTo>
                      <a:pt x="482" y="892"/>
                    </a:lnTo>
                    <a:lnTo>
                      <a:pt x="479" y="890"/>
                    </a:lnTo>
                    <a:lnTo>
                      <a:pt x="477" y="888"/>
                    </a:lnTo>
                    <a:lnTo>
                      <a:pt x="477" y="888"/>
                    </a:lnTo>
                    <a:lnTo>
                      <a:pt x="474" y="883"/>
                    </a:lnTo>
                    <a:lnTo>
                      <a:pt x="474" y="881"/>
                    </a:lnTo>
                    <a:lnTo>
                      <a:pt x="474" y="881"/>
                    </a:lnTo>
                    <a:lnTo>
                      <a:pt x="472" y="881"/>
                    </a:lnTo>
                    <a:lnTo>
                      <a:pt x="467" y="878"/>
                    </a:lnTo>
                    <a:lnTo>
                      <a:pt x="465" y="876"/>
                    </a:lnTo>
                    <a:lnTo>
                      <a:pt x="465" y="878"/>
                    </a:lnTo>
                    <a:lnTo>
                      <a:pt x="465" y="878"/>
                    </a:lnTo>
                    <a:lnTo>
                      <a:pt x="463" y="878"/>
                    </a:lnTo>
                    <a:lnTo>
                      <a:pt x="460" y="876"/>
                    </a:lnTo>
                    <a:lnTo>
                      <a:pt x="460" y="876"/>
                    </a:lnTo>
                    <a:lnTo>
                      <a:pt x="458" y="876"/>
                    </a:lnTo>
                    <a:lnTo>
                      <a:pt x="456" y="876"/>
                    </a:lnTo>
                    <a:lnTo>
                      <a:pt x="456" y="876"/>
                    </a:lnTo>
                    <a:lnTo>
                      <a:pt x="458" y="874"/>
                    </a:lnTo>
                    <a:lnTo>
                      <a:pt x="456" y="874"/>
                    </a:lnTo>
                    <a:lnTo>
                      <a:pt x="456" y="871"/>
                    </a:lnTo>
                    <a:lnTo>
                      <a:pt x="453" y="871"/>
                    </a:lnTo>
                    <a:lnTo>
                      <a:pt x="451" y="874"/>
                    </a:lnTo>
                    <a:lnTo>
                      <a:pt x="451" y="874"/>
                    </a:lnTo>
                    <a:lnTo>
                      <a:pt x="451" y="871"/>
                    </a:lnTo>
                    <a:lnTo>
                      <a:pt x="449" y="871"/>
                    </a:lnTo>
                    <a:lnTo>
                      <a:pt x="449" y="871"/>
                    </a:lnTo>
                    <a:lnTo>
                      <a:pt x="446" y="871"/>
                    </a:lnTo>
                    <a:lnTo>
                      <a:pt x="446" y="869"/>
                    </a:lnTo>
                    <a:lnTo>
                      <a:pt x="444" y="869"/>
                    </a:lnTo>
                    <a:lnTo>
                      <a:pt x="444" y="869"/>
                    </a:lnTo>
                    <a:lnTo>
                      <a:pt x="441" y="871"/>
                    </a:lnTo>
                    <a:lnTo>
                      <a:pt x="439" y="871"/>
                    </a:lnTo>
                    <a:lnTo>
                      <a:pt x="439" y="874"/>
                    </a:lnTo>
                    <a:lnTo>
                      <a:pt x="439" y="876"/>
                    </a:lnTo>
                    <a:lnTo>
                      <a:pt x="434" y="876"/>
                    </a:lnTo>
                    <a:lnTo>
                      <a:pt x="434" y="874"/>
                    </a:lnTo>
                    <a:lnTo>
                      <a:pt x="432" y="874"/>
                    </a:lnTo>
                    <a:lnTo>
                      <a:pt x="432" y="876"/>
                    </a:lnTo>
                    <a:lnTo>
                      <a:pt x="430" y="876"/>
                    </a:lnTo>
                    <a:lnTo>
                      <a:pt x="430" y="876"/>
                    </a:lnTo>
                    <a:lnTo>
                      <a:pt x="427" y="876"/>
                    </a:lnTo>
                    <a:lnTo>
                      <a:pt x="427" y="876"/>
                    </a:lnTo>
                    <a:lnTo>
                      <a:pt x="425" y="878"/>
                    </a:lnTo>
                    <a:lnTo>
                      <a:pt x="425" y="878"/>
                    </a:lnTo>
                    <a:lnTo>
                      <a:pt x="423" y="878"/>
                    </a:lnTo>
                    <a:lnTo>
                      <a:pt x="420" y="878"/>
                    </a:lnTo>
                    <a:lnTo>
                      <a:pt x="420" y="881"/>
                    </a:lnTo>
                    <a:lnTo>
                      <a:pt x="420" y="881"/>
                    </a:lnTo>
                    <a:lnTo>
                      <a:pt x="418" y="881"/>
                    </a:lnTo>
                    <a:lnTo>
                      <a:pt x="415" y="878"/>
                    </a:lnTo>
                    <a:lnTo>
                      <a:pt x="415" y="878"/>
                    </a:lnTo>
                    <a:lnTo>
                      <a:pt x="415" y="881"/>
                    </a:lnTo>
                    <a:lnTo>
                      <a:pt x="413" y="881"/>
                    </a:lnTo>
                    <a:lnTo>
                      <a:pt x="413" y="883"/>
                    </a:lnTo>
                    <a:lnTo>
                      <a:pt x="411" y="883"/>
                    </a:lnTo>
                    <a:lnTo>
                      <a:pt x="411" y="883"/>
                    </a:lnTo>
                    <a:lnTo>
                      <a:pt x="411" y="885"/>
                    </a:lnTo>
                    <a:lnTo>
                      <a:pt x="411" y="885"/>
                    </a:lnTo>
                    <a:lnTo>
                      <a:pt x="411" y="888"/>
                    </a:lnTo>
                    <a:lnTo>
                      <a:pt x="411" y="888"/>
                    </a:lnTo>
                    <a:lnTo>
                      <a:pt x="411" y="888"/>
                    </a:lnTo>
                    <a:lnTo>
                      <a:pt x="408" y="888"/>
                    </a:lnTo>
                    <a:lnTo>
                      <a:pt x="408" y="888"/>
                    </a:lnTo>
                    <a:lnTo>
                      <a:pt x="406" y="888"/>
                    </a:lnTo>
                    <a:lnTo>
                      <a:pt x="404" y="888"/>
                    </a:lnTo>
                    <a:lnTo>
                      <a:pt x="404" y="888"/>
                    </a:lnTo>
                    <a:lnTo>
                      <a:pt x="401" y="888"/>
                    </a:lnTo>
                    <a:lnTo>
                      <a:pt x="401" y="888"/>
                    </a:lnTo>
                    <a:lnTo>
                      <a:pt x="399" y="888"/>
                    </a:lnTo>
                    <a:lnTo>
                      <a:pt x="397" y="890"/>
                    </a:lnTo>
                    <a:lnTo>
                      <a:pt x="397" y="890"/>
                    </a:lnTo>
                    <a:lnTo>
                      <a:pt x="394" y="890"/>
                    </a:lnTo>
                    <a:lnTo>
                      <a:pt x="394" y="892"/>
                    </a:lnTo>
                    <a:lnTo>
                      <a:pt x="392" y="890"/>
                    </a:lnTo>
                    <a:lnTo>
                      <a:pt x="392" y="890"/>
                    </a:lnTo>
                    <a:lnTo>
                      <a:pt x="392" y="890"/>
                    </a:lnTo>
                    <a:lnTo>
                      <a:pt x="389" y="890"/>
                    </a:lnTo>
                    <a:lnTo>
                      <a:pt x="389" y="888"/>
                    </a:lnTo>
                    <a:lnTo>
                      <a:pt x="387" y="888"/>
                    </a:lnTo>
                    <a:lnTo>
                      <a:pt x="387" y="890"/>
                    </a:lnTo>
                    <a:lnTo>
                      <a:pt x="385" y="890"/>
                    </a:lnTo>
                    <a:lnTo>
                      <a:pt x="385" y="890"/>
                    </a:lnTo>
                    <a:lnTo>
                      <a:pt x="385" y="890"/>
                    </a:lnTo>
                    <a:lnTo>
                      <a:pt x="382" y="890"/>
                    </a:lnTo>
                    <a:lnTo>
                      <a:pt x="382" y="890"/>
                    </a:lnTo>
                    <a:lnTo>
                      <a:pt x="382" y="890"/>
                    </a:lnTo>
                    <a:lnTo>
                      <a:pt x="378" y="892"/>
                    </a:lnTo>
                    <a:lnTo>
                      <a:pt x="378" y="890"/>
                    </a:lnTo>
                    <a:lnTo>
                      <a:pt x="378" y="890"/>
                    </a:lnTo>
                    <a:lnTo>
                      <a:pt x="375" y="892"/>
                    </a:lnTo>
                    <a:lnTo>
                      <a:pt x="375" y="892"/>
                    </a:lnTo>
                    <a:lnTo>
                      <a:pt x="371" y="892"/>
                    </a:lnTo>
                    <a:lnTo>
                      <a:pt x="368" y="892"/>
                    </a:lnTo>
                    <a:lnTo>
                      <a:pt x="368" y="890"/>
                    </a:lnTo>
                    <a:lnTo>
                      <a:pt x="368" y="890"/>
                    </a:lnTo>
                    <a:lnTo>
                      <a:pt x="368" y="890"/>
                    </a:lnTo>
                    <a:lnTo>
                      <a:pt x="366" y="890"/>
                    </a:lnTo>
                    <a:lnTo>
                      <a:pt x="366" y="890"/>
                    </a:lnTo>
                    <a:lnTo>
                      <a:pt x="363" y="888"/>
                    </a:lnTo>
                    <a:lnTo>
                      <a:pt x="361" y="888"/>
                    </a:lnTo>
                    <a:lnTo>
                      <a:pt x="359" y="892"/>
                    </a:lnTo>
                    <a:lnTo>
                      <a:pt x="359" y="892"/>
                    </a:lnTo>
                    <a:lnTo>
                      <a:pt x="356" y="890"/>
                    </a:lnTo>
                    <a:lnTo>
                      <a:pt x="356" y="890"/>
                    </a:lnTo>
                    <a:lnTo>
                      <a:pt x="354" y="890"/>
                    </a:lnTo>
                    <a:lnTo>
                      <a:pt x="354" y="888"/>
                    </a:lnTo>
                    <a:lnTo>
                      <a:pt x="352" y="888"/>
                    </a:lnTo>
                    <a:lnTo>
                      <a:pt x="352" y="890"/>
                    </a:lnTo>
                    <a:lnTo>
                      <a:pt x="352" y="890"/>
                    </a:lnTo>
                    <a:lnTo>
                      <a:pt x="349" y="888"/>
                    </a:lnTo>
                    <a:lnTo>
                      <a:pt x="349" y="888"/>
                    </a:lnTo>
                    <a:lnTo>
                      <a:pt x="349" y="888"/>
                    </a:lnTo>
                    <a:lnTo>
                      <a:pt x="349" y="885"/>
                    </a:lnTo>
                    <a:lnTo>
                      <a:pt x="349" y="885"/>
                    </a:lnTo>
                    <a:lnTo>
                      <a:pt x="347" y="885"/>
                    </a:lnTo>
                    <a:lnTo>
                      <a:pt x="347" y="883"/>
                    </a:lnTo>
                    <a:lnTo>
                      <a:pt x="345" y="881"/>
                    </a:lnTo>
                    <a:lnTo>
                      <a:pt x="347" y="881"/>
                    </a:lnTo>
                    <a:lnTo>
                      <a:pt x="347" y="876"/>
                    </a:lnTo>
                    <a:lnTo>
                      <a:pt x="347" y="876"/>
                    </a:lnTo>
                    <a:lnTo>
                      <a:pt x="347" y="871"/>
                    </a:lnTo>
                    <a:lnTo>
                      <a:pt x="347" y="869"/>
                    </a:lnTo>
                    <a:lnTo>
                      <a:pt x="345" y="869"/>
                    </a:lnTo>
                    <a:lnTo>
                      <a:pt x="347" y="867"/>
                    </a:lnTo>
                    <a:lnTo>
                      <a:pt x="347" y="862"/>
                    </a:lnTo>
                    <a:lnTo>
                      <a:pt x="345" y="862"/>
                    </a:lnTo>
                    <a:lnTo>
                      <a:pt x="347" y="862"/>
                    </a:lnTo>
                    <a:lnTo>
                      <a:pt x="345" y="859"/>
                    </a:lnTo>
                    <a:lnTo>
                      <a:pt x="347" y="857"/>
                    </a:lnTo>
                    <a:lnTo>
                      <a:pt x="347" y="855"/>
                    </a:lnTo>
                    <a:lnTo>
                      <a:pt x="347" y="855"/>
                    </a:lnTo>
                    <a:lnTo>
                      <a:pt x="345" y="855"/>
                    </a:lnTo>
                    <a:lnTo>
                      <a:pt x="345" y="855"/>
                    </a:lnTo>
                    <a:lnTo>
                      <a:pt x="342" y="855"/>
                    </a:lnTo>
                    <a:lnTo>
                      <a:pt x="342" y="855"/>
                    </a:lnTo>
                    <a:lnTo>
                      <a:pt x="342" y="852"/>
                    </a:lnTo>
                    <a:lnTo>
                      <a:pt x="342" y="850"/>
                    </a:lnTo>
                    <a:lnTo>
                      <a:pt x="342" y="850"/>
                    </a:lnTo>
                    <a:lnTo>
                      <a:pt x="342" y="848"/>
                    </a:lnTo>
                    <a:lnTo>
                      <a:pt x="340" y="845"/>
                    </a:lnTo>
                    <a:lnTo>
                      <a:pt x="340" y="845"/>
                    </a:lnTo>
                    <a:lnTo>
                      <a:pt x="340" y="845"/>
                    </a:lnTo>
                    <a:lnTo>
                      <a:pt x="337" y="845"/>
                    </a:lnTo>
                    <a:lnTo>
                      <a:pt x="337" y="843"/>
                    </a:lnTo>
                    <a:lnTo>
                      <a:pt x="335" y="845"/>
                    </a:lnTo>
                    <a:lnTo>
                      <a:pt x="333" y="843"/>
                    </a:lnTo>
                    <a:lnTo>
                      <a:pt x="333" y="843"/>
                    </a:lnTo>
                    <a:lnTo>
                      <a:pt x="333" y="841"/>
                    </a:lnTo>
                    <a:lnTo>
                      <a:pt x="335" y="838"/>
                    </a:lnTo>
                    <a:lnTo>
                      <a:pt x="335" y="836"/>
                    </a:lnTo>
                    <a:lnTo>
                      <a:pt x="335" y="836"/>
                    </a:lnTo>
                    <a:lnTo>
                      <a:pt x="333" y="833"/>
                    </a:lnTo>
                    <a:lnTo>
                      <a:pt x="333" y="833"/>
                    </a:lnTo>
                    <a:lnTo>
                      <a:pt x="333" y="831"/>
                    </a:lnTo>
                    <a:lnTo>
                      <a:pt x="333" y="831"/>
                    </a:lnTo>
                    <a:lnTo>
                      <a:pt x="333" y="826"/>
                    </a:lnTo>
                    <a:lnTo>
                      <a:pt x="330" y="826"/>
                    </a:lnTo>
                    <a:lnTo>
                      <a:pt x="330" y="826"/>
                    </a:lnTo>
                    <a:lnTo>
                      <a:pt x="330" y="824"/>
                    </a:lnTo>
                    <a:lnTo>
                      <a:pt x="330" y="824"/>
                    </a:lnTo>
                    <a:lnTo>
                      <a:pt x="333" y="824"/>
                    </a:lnTo>
                    <a:lnTo>
                      <a:pt x="333" y="822"/>
                    </a:lnTo>
                    <a:lnTo>
                      <a:pt x="333" y="822"/>
                    </a:lnTo>
                    <a:lnTo>
                      <a:pt x="337" y="815"/>
                    </a:lnTo>
                    <a:lnTo>
                      <a:pt x="337" y="812"/>
                    </a:lnTo>
                    <a:lnTo>
                      <a:pt x="337" y="810"/>
                    </a:lnTo>
                    <a:lnTo>
                      <a:pt x="335" y="810"/>
                    </a:lnTo>
                    <a:lnTo>
                      <a:pt x="335" y="807"/>
                    </a:lnTo>
                    <a:lnTo>
                      <a:pt x="333" y="805"/>
                    </a:lnTo>
                    <a:lnTo>
                      <a:pt x="330" y="803"/>
                    </a:lnTo>
                    <a:lnTo>
                      <a:pt x="333" y="803"/>
                    </a:lnTo>
                    <a:lnTo>
                      <a:pt x="330" y="798"/>
                    </a:lnTo>
                    <a:lnTo>
                      <a:pt x="330" y="798"/>
                    </a:lnTo>
                    <a:lnTo>
                      <a:pt x="333" y="798"/>
                    </a:lnTo>
                    <a:lnTo>
                      <a:pt x="335" y="796"/>
                    </a:lnTo>
                    <a:lnTo>
                      <a:pt x="335" y="796"/>
                    </a:lnTo>
                    <a:lnTo>
                      <a:pt x="333" y="796"/>
                    </a:lnTo>
                    <a:lnTo>
                      <a:pt x="333" y="793"/>
                    </a:lnTo>
                    <a:lnTo>
                      <a:pt x="333" y="793"/>
                    </a:lnTo>
                    <a:lnTo>
                      <a:pt x="333" y="791"/>
                    </a:lnTo>
                    <a:lnTo>
                      <a:pt x="333" y="791"/>
                    </a:lnTo>
                    <a:lnTo>
                      <a:pt x="335" y="789"/>
                    </a:lnTo>
                    <a:lnTo>
                      <a:pt x="335" y="789"/>
                    </a:lnTo>
                    <a:lnTo>
                      <a:pt x="333" y="786"/>
                    </a:lnTo>
                    <a:lnTo>
                      <a:pt x="333" y="784"/>
                    </a:lnTo>
                    <a:lnTo>
                      <a:pt x="330" y="781"/>
                    </a:lnTo>
                    <a:lnTo>
                      <a:pt x="330" y="781"/>
                    </a:lnTo>
                    <a:lnTo>
                      <a:pt x="328" y="781"/>
                    </a:lnTo>
                    <a:lnTo>
                      <a:pt x="326" y="781"/>
                    </a:lnTo>
                    <a:lnTo>
                      <a:pt x="326" y="779"/>
                    </a:lnTo>
                    <a:lnTo>
                      <a:pt x="326" y="777"/>
                    </a:lnTo>
                    <a:lnTo>
                      <a:pt x="326" y="777"/>
                    </a:lnTo>
                    <a:lnTo>
                      <a:pt x="323" y="772"/>
                    </a:lnTo>
                    <a:lnTo>
                      <a:pt x="323" y="772"/>
                    </a:lnTo>
                    <a:lnTo>
                      <a:pt x="323" y="770"/>
                    </a:lnTo>
                    <a:lnTo>
                      <a:pt x="323" y="770"/>
                    </a:lnTo>
                    <a:lnTo>
                      <a:pt x="323" y="767"/>
                    </a:lnTo>
                    <a:lnTo>
                      <a:pt x="323" y="767"/>
                    </a:lnTo>
                    <a:lnTo>
                      <a:pt x="323" y="767"/>
                    </a:lnTo>
                    <a:lnTo>
                      <a:pt x="321" y="765"/>
                    </a:lnTo>
                    <a:lnTo>
                      <a:pt x="321" y="763"/>
                    </a:lnTo>
                    <a:lnTo>
                      <a:pt x="321" y="760"/>
                    </a:lnTo>
                    <a:lnTo>
                      <a:pt x="323" y="760"/>
                    </a:lnTo>
                    <a:lnTo>
                      <a:pt x="321" y="758"/>
                    </a:lnTo>
                    <a:lnTo>
                      <a:pt x="321" y="755"/>
                    </a:lnTo>
                    <a:lnTo>
                      <a:pt x="321" y="755"/>
                    </a:lnTo>
                    <a:lnTo>
                      <a:pt x="319" y="755"/>
                    </a:lnTo>
                    <a:lnTo>
                      <a:pt x="321" y="753"/>
                    </a:lnTo>
                    <a:lnTo>
                      <a:pt x="319" y="753"/>
                    </a:lnTo>
                    <a:lnTo>
                      <a:pt x="321" y="751"/>
                    </a:lnTo>
                    <a:lnTo>
                      <a:pt x="319" y="748"/>
                    </a:lnTo>
                    <a:lnTo>
                      <a:pt x="319" y="748"/>
                    </a:lnTo>
                    <a:lnTo>
                      <a:pt x="319" y="746"/>
                    </a:lnTo>
                    <a:lnTo>
                      <a:pt x="319" y="744"/>
                    </a:lnTo>
                    <a:lnTo>
                      <a:pt x="319" y="741"/>
                    </a:lnTo>
                    <a:lnTo>
                      <a:pt x="319" y="741"/>
                    </a:lnTo>
                    <a:lnTo>
                      <a:pt x="319" y="739"/>
                    </a:lnTo>
                    <a:lnTo>
                      <a:pt x="319" y="739"/>
                    </a:lnTo>
                    <a:lnTo>
                      <a:pt x="319" y="737"/>
                    </a:lnTo>
                    <a:lnTo>
                      <a:pt x="319" y="737"/>
                    </a:lnTo>
                    <a:lnTo>
                      <a:pt x="319" y="734"/>
                    </a:lnTo>
                    <a:lnTo>
                      <a:pt x="321" y="734"/>
                    </a:lnTo>
                    <a:lnTo>
                      <a:pt x="321" y="732"/>
                    </a:lnTo>
                    <a:lnTo>
                      <a:pt x="321" y="732"/>
                    </a:lnTo>
                    <a:lnTo>
                      <a:pt x="323" y="732"/>
                    </a:lnTo>
                    <a:lnTo>
                      <a:pt x="323" y="732"/>
                    </a:lnTo>
                    <a:lnTo>
                      <a:pt x="323" y="730"/>
                    </a:lnTo>
                    <a:lnTo>
                      <a:pt x="323" y="730"/>
                    </a:lnTo>
                    <a:lnTo>
                      <a:pt x="323" y="730"/>
                    </a:lnTo>
                    <a:lnTo>
                      <a:pt x="323" y="727"/>
                    </a:lnTo>
                    <a:lnTo>
                      <a:pt x="323" y="725"/>
                    </a:lnTo>
                    <a:lnTo>
                      <a:pt x="323" y="722"/>
                    </a:lnTo>
                    <a:lnTo>
                      <a:pt x="323" y="722"/>
                    </a:lnTo>
                    <a:lnTo>
                      <a:pt x="323" y="720"/>
                    </a:lnTo>
                    <a:lnTo>
                      <a:pt x="323" y="718"/>
                    </a:lnTo>
                    <a:lnTo>
                      <a:pt x="323" y="715"/>
                    </a:lnTo>
                    <a:lnTo>
                      <a:pt x="323" y="713"/>
                    </a:lnTo>
                    <a:lnTo>
                      <a:pt x="321" y="711"/>
                    </a:lnTo>
                    <a:lnTo>
                      <a:pt x="319" y="711"/>
                    </a:lnTo>
                    <a:lnTo>
                      <a:pt x="316" y="708"/>
                    </a:lnTo>
                    <a:lnTo>
                      <a:pt x="314" y="708"/>
                    </a:lnTo>
                    <a:lnTo>
                      <a:pt x="314" y="706"/>
                    </a:lnTo>
                    <a:lnTo>
                      <a:pt x="314" y="706"/>
                    </a:lnTo>
                    <a:lnTo>
                      <a:pt x="309" y="704"/>
                    </a:lnTo>
                    <a:lnTo>
                      <a:pt x="307" y="696"/>
                    </a:lnTo>
                    <a:lnTo>
                      <a:pt x="307" y="694"/>
                    </a:lnTo>
                    <a:lnTo>
                      <a:pt x="307" y="694"/>
                    </a:lnTo>
                    <a:lnTo>
                      <a:pt x="307" y="692"/>
                    </a:lnTo>
                    <a:lnTo>
                      <a:pt x="309" y="692"/>
                    </a:lnTo>
                    <a:lnTo>
                      <a:pt x="309" y="692"/>
                    </a:lnTo>
                    <a:lnTo>
                      <a:pt x="309" y="687"/>
                    </a:lnTo>
                    <a:lnTo>
                      <a:pt x="309" y="685"/>
                    </a:lnTo>
                    <a:lnTo>
                      <a:pt x="307" y="685"/>
                    </a:lnTo>
                    <a:lnTo>
                      <a:pt x="309" y="682"/>
                    </a:lnTo>
                    <a:lnTo>
                      <a:pt x="307" y="682"/>
                    </a:lnTo>
                    <a:lnTo>
                      <a:pt x="304" y="680"/>
                    </a:lnTo>
                    <a:lnTo>
                      <a:pt x="304" y="682"/>
                    </a:lnTo>
                    <a:lnTo>
                      <a:pt x="302" y="680"/>
                    </a:lnTo>
                    <a:lnTo>
                      <a:pt x="302" y="682"/>
                    </a:lnTo>
                    <a:lnTo>
                      <a:pt x="302" y="680"/>
                    </a:lnTo>
                    <a:lnTo>
                      <a:pt x="300" y="680"/>
                    </a:lnTo>
                    <a:lnTo>
                      <a:pt x="300" y="678"/>
                    </a:lnTo>
                    <a:lnTo>
                      <a:pt x="300" y="678"/>
                    </a:lnTo>
                    <a:lnTo>
                      <a:pt x="297" y="675"/>
                    </a:lnTo>
                    <a:lnTo>
                      <a:pt x="295" y="673"/>
                    </a:lnTo>
                    <a:lnTo>
                      <a:pt x="295" y="670"/>
                    </a:lnTo>
                    <a:lnTo>
                      <a:pt x="293" y="668"/>
                    </a:lnTo>
                    <a:lnTo>
                      <a:pt x="288" y="668"/>
                    </a:lnTo>
                    <a:lnTo>
                      <a:pt x="286" y="668"/>
                    </a:lnTo>
                    <a:lnTo>
                      <a:pt x="286" y="668"/>
                    </a:lnTo>
                    <a:lnTo>
                      <a:pt x="283" y="668"/>
                    </a:lnTo>
                    <a:lnTo>
                      <a:pt x="283" y="668"/>
                    </a:lnTo>
                    <a:lnTo>
                      <a:pt x="281" y="668"/>
                    </a:lnTo>
                    <a:lnTo>
                      <a:pt x="281" y="668"/>
                    </a:lnTo>
                    <a:lnTo>
                      <a:pt x="278" y="668"/>
                    </a:lnTo>
                    <a:lnTo>
                      <a:pt x="276" y="668"/>
                    </a:lnTo>
                    <a:lnTo>
                      <a:pt x="274" y="668"/>
                    </a:lnTo>
                    <a:lnTo>
                      <a:pt x="274" y="670"/>
                    </a:lnTo>
                    <a:lnTo>
                      <a:pt x="274" y="670"/>
                    </a:lnTo>
                    <a:lnTo>
                      <a:pt x="274" y="668"/>
                    </a:lnTo>
                    <a:lnTo>
                      <a:pt x="269" y="668"/>
                    </a:lnTo>
                    <a:lnTo>
                      <a:pt x="267" y="668"/>
                    </a:lnTo>
                    <a:lnTo>
                      <a:pt x="267" y="668"/>
                    </a:lnTo>
                    <a:lnTo>
                      <a:pt x="267" y="668"/>
                    </a:lnTo>
                    <a:lnTo>
                      <a:pt x="264" y="668"/>
                    </a:lnTo>
                    <a:lnTo>
                      <a:pt x="264" y="668"/>
                    </a:lnTo>
                    <a:lnTo>
                      <a:pt x="264" y="668"/>
                    </a:lnTo>
                    <a:lnTo>
                      <a:pt x="264" y="668"/>
                    </a:lnTo>
                    <a:lnTo>
                      <a:pt x="262" y="668"/>
                    </a:lnTo>
                    <a:lnTo>
                      <a:pt x="260" y="666"/>
                    </a:lnTo>
                    <a:lnTo>
                      <a:pt x="260" y="666"/>
                    </a:lnTo>
                    <a:lnTo>
                      <a:pt x="260" y="668"/>
                    </a:lnTo>
                    <a:lnTo>
                      <a:pt x="257" y="668"/>
                    </a:lnTo>
                    <a:lnTo>
                      <a:pt x="257" y="668"/>
                    </a:lnTo>
                    <a:lnTo>
                      <a:pt x="255" y="668"/>
                    </a:lnTo>
                    <a:lnTo>
                      <a:pt x="255" y="668"/>
                    </a:lnTo>
                    <a:lnTo>
                      <a:pt x="255" y="668"/>
                    </a:lnTo>
                    <a:lnTo>
                      <a:pt x="252" y="668"/>
                    </a:lnTo>
                    <a:lnTo>
                      <a:pt x="252" y="668"/>
                    </a:lnTo>
                    <a:lnTo>
                      <a:pt x="250" y="668"/>
                    </a:lnTo>
                    <a:lnTo>
                      <a:pt x="250" y="668"/>
                    </a:lnTo>
                    <a:lnTo>
                      <a:pt x="250" y="666"/>
                    </a:lnTo>
                    <a:lnTo>
                      <a:pt x="250" y="668"/>
                    </a:lnTo>
                    <a:lnTo>
                      <a:pt x="248" y="668"/>
                    </a:lnTo>
                    <a:lnTo>
                      <a:pt x="248" y="668"/>
                    </a:lnTo>
                    <a:lnTo>
                      <a:pt x="248" y="666"/>
                    </a:lnTo>
                    <a:lnTo>
                      <a:pt x="245" y="666"/>
                    </a:lnTo>
                    <a:lnTo>
                      <a:pt x="245" y="663"/>
                    </a:lnTo>
                    <a:lnTo>
                      <a:pt x="245" y="661"/>
                    </a:lnTo>
                    <a:lnTo>
                      <a:pt x="241" y="661"/>
                    </a:lnTo>
                    <a:lnTo>
                      <a:pt x="241" y="661"/>
                    </a:lnTo>
                    <a:lnTo>
                      <a:pt x="241" y="661"/>
                    </a:lnTo>
                    <a:lnTo>
                      <a:pt x="238" y="661"/>
                    </a:lnTo>
                    <a:lnTo>
                      <a:pt x="236" y="659"/>
                    </a:lnTo>
                    <a:lnTo>
                      <a:pt x="236" y="659"/>
                    </a:lnTo>
                    <a:lnTo>
                      <a:pt x="236" y="659"/>
                    </a:lnTo>
                    <a:lnTo>
                      <a:pt x="234" y="659"/>
                    </a:lnTo>
                    <a:lnTo>
                      <a:pt x="234" y="656"/>
                    </a:lnTo>
                    <a:lnTo>
                      <a:pt x="231" y="656"/>
                    </a:lnTo>
                    <a:lnTo>
                      <a:pt x="231" y="656"/>
                    </a:lnTo>
                    <a:lnTo>
                      <a:pt x="231" y="654"/>
                    </a:lnTo>
                    <a:lnTo>
                      <a:pt x="231" y="654"/>
                    </a:lnTo>
                    <a:lnTo>
                      <a:pt x="231" y="654"/>
                    </a:lnTo>
                    <a:lnTo>
                      <a:pt x="229" y="654"/>
                    </a:lnTo>
                    <a:lnTo>
                      <a:pt x="229" y="654"/>
                    </a:lnTo>
                    <a:lnTo>
                      <a:pt x="229" y="652"/>
                    </a:lnTo>
                    <a:lnTo>
                      <a:pt x="229" y="649"/>
                    </a:lnTo>
                    <a:lnTo>
                      <a:pt x="229" y="649"/>
                    </a:lnTo>
                    <a:lnTo>
                      <a:pt x="229" y="647"/>
                    </a:lnTo>
                    <a:lnTo>
                      <a:pt x="226" y="647"/>
                    </a:lnTo>
                    <a:lnTo>
                      <a:pt x="226" y="647"/>
                    </a:lnTo>
                    <a:lnTo>
                      <a:pt x="226" y="647"/>
                    </a:lnTo>
                    <a:lnTo>
                      <a:pt x="226" y="644"/>
                    </a:lnTo>
                    <a:lnTo>
                      <a:pt x="224" y="644"/>
                    </a:lnTo>
                    <a:lnTo>
                      <a:pt x="226" y="642"/>
                    </a:lnTo>
                    <a:lnTo>
                      <a:pt x="226" y="640"/>
                    </a:lnTo>
                    <a:lnTo>
                      <a:pt x="224" y="642"/>
                    </a:lnTo>
                    <a:lnTo>
                      <a:pt x="224" y="642"/>
                    </a:lnTo>
                    <a:lnTo>
                      <a:pt x="222" y="642"/>
                    </a:lnTo>
                    <a:lnTo>
                      <a:pt x="222" y="642"/>
                    </a:lnTo>
                    <a:lnTo>
                      <a:pt x="222" y="642"/>
                    </a:lnTo>
                    <a:lnTo>
                      <a:pt x="219" y="642"/>
                    </a:lnTo>
                    <a:lnTo>
                      <a:pt x="219" y="642"/>
                    </a:lnTo>
                    <a:lnTo>
                      <a:pt x="219" y="642"/>
                    </a:lnTo>
                    <a:lnTo>
                      <a:pt x="217" y="642"/>
                    </a:lnTo>
                    <a:lnTo>
                      <a:pt x="217" y="642"/>
                    </a:lnTo>
                    <a:lnTo>
                      <a:pt x="217" y="642"/>
                    </a:lnTo>
                    <a:lnTo>
                      <a:pt x="217" y="642"/>
                    </a:lnTo>
                    <a:lnTo>
                      <a:pt x="217" y="642"/>
                    </a:lnTo>
                    <a:lnTo>
                      <a:pt x="217" y="642"/>
                    </a:lnTo>
                    <a:lnTo>
                      <a:pt x="215" y="642"/>
                    </a:lnTo>
                    <a:lnTo>
                      <a:pt x="215" y="642"/>
                    </a:lnTo>
                    <a:lnTo>
                      <a:pt x="212" y="642"/>
                    </a:lnTo>
                    <a:lnTo>
                      <a:pt x="210" y="644"/>
                    </a:lnTo>
                    <a:lnTo>
                      <a:pt x="210" y="644"/>
                    </a:lnTo>
                    <a:lnTo>
                      <a:pt x="210" y="644"/>
                    </a:lnTo>
                    <a:lnTo>
                      <a:pt x="210" y="647"/>
                    </a:lnTo>
                    <a:lnTo>
                      <a:pt x="208" y="647"/>
                    </a:lnTo>
                    <a:lnTo>
                      <a:pt x="208" y="649"/>
                    </a:lnTo>
                    <a:lnTo>
                      <a:pt x="210" y="649"/>
                    </a:lnTo>
                    <a:lnTo>
                      <a:pt x="208" y="649"/>
                    </a:lnTo>
                    <a:lnTo>
                      <a:pt x="208" y="652"/>
                    </a:lnTo>
                    <a:lnTo>
                      <a:pt x="208" y="649"/>
                    </a:lnTo>
                    <a:lnTo>
                      <a:pt x="208" y="652"/>
                    </a:lnTo>
                    <a:lnTo>
                      <a:pt x="208" y="652"/>
                    </a:lnTo>
                    <a:lnTo>
                      <a:pt x="205" y="654"/>
                    </a:lnTo>
                    <a:lnTo>
                      <a:pt x="205" y="656"/>
                    </a:lnTo>
                    <a:lnTo>
                      <a:pt x="203" y="656"/>
                    </a:lnTo>
                    <a:lnTo>
                      <a:pt x="205" y="656"/>
                    </a:lnTo>
                    <a:lnTo>
                      <a:pt x="203" y="656"/>
                    </a:lnTo>
                    <a:lnTo>
                      <a:pt x="203" y="659"/>
                    </a:lnTo>
                    <a:lnTo>
                      <a:pt x="203" y="659"/>
                    </a:lnTo>
                    <a:lnTo>
                      <a:pt x="200" y="659"/>
                    </a:lnTo>
                    <a:lnTo>
                      <a:pt x="200" y="659"/>
                    </a:lnTo>
                    <a:lnTo>
                      <a:pt x="200" y="659"/>
                    </a:lnTo>
                    <a:lnTo>
                      <a:pt x="200" y="659"/>
                    </a:lnTo>
                    <a:lnTo>
                      <a:pt x="198" y="659"/>
                    </a:lnTo>
                    <a:lnTo>
                      <a:pt x="198" y="659"/>
                    </a:lnTo>
                    <a:lnTo>
                      <a:pt x="198" y="661"/>
                    </a:lnTo>
                    <a:lnTo>
                      <a:pt x="198" y="661"/>
                    </a:lnTo>
                    <a:lnTo>
                      <a:pt x="196" y="663"/>
                    </a:lnTo>
                    <a:lnTo>
                      <a:pt x="193" y="663"/>
                    </a:lnTo>
                    <a:lnTo>
                      <a:pt x="193" y="663"/>
                    </a:lnTo>
                    <a:lnTo>
                      <a:pt x="193" y="666"/>
                    </a:lnTo>
                    <a:lnTo>
                      <a:pt x="193" y="666"/>
                    </a:lnTo>
                    <a:lnTo>
                      <a:pt x="193" y="666"/>
                    </a:lnTo>
                    <a:lnTo>
                      <a:pt x="191" y="663"/>
                    </a:lnTo>
                    <a:lnTo>
                      <a:pt x="189" y="663"/>
                    </a:lnTo>
                    <a:lnTo>
                      <a:pt x="189" y="661"/>
                    </a:lnTo>
                    <a:lnTo>
                      <a:pt x="189" y="661"/>
                    </a:lnTo>
                    <a:lnTo>
                      <a:pt x="189" y="659"/>
                    </a:lnTo>
                    <a:lnTo>
                      <a:pt x="186" y="661"/>
                    </a:lnTo>
                    <a:lnTo>
                      <a:pt x="186" y="659"/>
                    </a:lnTo>
                    <a:lnTo>
                      <a:pt x="186" y="659"/>
                    </a:lnTo>
                    <a:lnTo>
                      <a:pt x="186" y="659"/>
                    </a:lnTo>
                    <a:lnTo>
                      <a:pt x="186" y="661"/>
                    </a:lnTo>
                    <a:lnTo>
                      <a:pt x="186" y="661"/>
                    </a:lnTo>
                    <a:lnTo>
                      <a:pt x="186" y="661"/>
                    </a:lnTo>
                    <a:lnTo>
                      <a:pt x="186" y="661"/>
                    </a:lnTo>
                    <a:lnTo>
                      <a:pt x="186" y="663"/>
                    </a:lnTo>
                    <a:lnTo>
                      <a:pt x="184" y="663"/>
                    </a:lnTo>
                    <a:lnTo>
                      <a:pt x="184" y="666"/>
                    </a:lnTo>
                    <a:lnTo>
                      <a:pt x="182" y="666"/>
                    </a:lnTo>
                    <a:lnTo>
                      <a:pt x="182" y="663"/>
                    </a:lnTo>
                    <a:lnTo>
                      <a:pt x="182" y="663"/>
                    </a:lnTo>
                    <a:lnTo>
                      <a:pt x="182" y="661"/>
                    </a:lnTo>
                    <a:lnTo>
                      <a:pt x="179" y="663"/>
                    </a:lnTo>
                    <a:lnTo>
                      <a:pt x="179" y="663"/>
                    </a:lnTo>
                    <a:lnTo>
                      <a:pt x="177" y="663"/>
                    </a:lnTo>
                    <a:lnTo>
                      <a:pt x="177" y="663"/>
                    </a:lnTo>
                    <a:lnTo>
                      <a:pt x="177" y="666"/>
                    </a:lnTo>
                    <a:lnTo>
                      <a:pt x="174" y="666"/>
                    </a:lnTo>
                    <a:lnTo>
                      <a:pt x="174" y="663"/>
                    </a:lnTo>
                    <a:lnTo>
                      <a:pt x="174" y="663"/>
                    </a:lnTo>
                    <a:lnTo>
                      <a:pt x="174" y="663"/>
                    </a:lnTo>
                    <a:lnTo>
                      <a:pt x="174" y="663"/>
                    </a:lnTo>
                    <a:lnTo>
                      <a:pt x="172" y="663"/>
                    </a:lnTo>
                    <a:lnTo>
                      <a:pt x="172" y="666"/>
                    </a:lnTo>
                    <a:lnTo>
                      <a:pt x="172" y="666"/>
                    </a:lnTo>
                    <a:lnTo>
                      <a:pt x="172" y="668"/>
                    </a:lnTo>
                    <a:lnTo>
                      <a:pt x="172" y="668"/>
                    </a:lnTo>
                    <a:lnTo>
                      <a:pt x="170" y="670"/>
                    </a:lnTo>
                    <a:lnTo>
                      <a:pt x="167" y="670"/>
                    </a:lnTo>
                    <a:lnTo>
                      <a:pt x="167" y="670"/>
                    </a:lnTo>
                    <a:lnTo>
                      <a:pt x="167" y="668"/>
                    </a:lnTo>
                    <a:lnTo>
                      <a:pt x="165" y="668"/>
                    </a:lnTo>
                    <a:lnTo>
                      <a:pt x="165" y="668"/>
                    </a:lnTo>
                    <a:lnTo>
                      <a:pt x="163" y="668"/>
                    </a:lnTo>
                    <a:lnTo>
                      <a:pt x="165" y="666"/>
                    </a:lnTo>
                    <a:lnTo>
                      <a:pt x="163" y="663"/>
                    </a:lnTo>
                    <a:lnTo>
                      <a:pt x="163" y="663"/>
                    </a:lnTo>
                    <a:lnTo>
                      <a:pt x="160" y="666"/>
                    </a:lnTo>
                    <a:lnTo>
                      <a:pt x="160" y="666"/>
                    </a:lnTo>
                    <a:lnTo>
                      <a:pt x="160" y="666"/>
                    </a:lnTo>
                    <a:lnTo>
                      <a:pt x="158" y="666"/>
                    </a:lnTo>
                    <a:lnTo>
                      <a:pt x="158" y="666"/>
                    </a:lnTo>
                    <a:lnTo>
                      <a:pt x="158" y="666"/>
                    </a:lnTo>
                    <a:lnTo>
                      <a:pt x="158" y="666"/>
                    </a:lnTo>
                    <a:lnTo>
                      <a:pt x="158" y="663"/>
                    </a:lnTo>
                    <a:lnTo>
                      <a:pt x="156" y="666"/>
                    </a:lnTo>
                    <a:lnTo>
                      <a:pt x="156" y="666"/>
                    </a:lnTo>
                    <a:lnTo>
                      <a:pt x="153" y="663"/>
                    </a:lnTo>
                    <a:lnTo>
                      <a:pt x="153" y="661"/>
                    </a:lnTo>
                    <a:lnTo>
                      <a:pt x="151" y="663"/>
                    </a:lnTo>
                    <a:lnTo>
                      <a:pt x="149" y="663"/>
                    </a:lnTo>
                    <a:lnTo>
                      <a:pt x="149" y="661"/>
                    </a:lnTo>
                    <a:lnTo>
                      <a:pt x="149" y="661"/>
                    </a:lnTo>
                    <a:lnTo>
                      <a:pt x="149" y="661"/>
                    </a:lnTo>
                    <a:lnTo>
                      <a:pt x="146" y="661"/>
                    </a:lnTo>
                    <a:lnTo>
                      <a:pt x="146" y="661"/>
                    </a:lnTo>
                    <a:lnTo>
                      <a:pt x="146" y="661"/>
                    </a:lnTo>
                    <a:lnTo>
                      <a:pt x="144" y="661"/>
                    </a:lnTo>
                    <a:lnTo>
                      <a:pt x="144" y="663"/>
                    </a:lnTo>
                    <a:lnTo>
                      <a:pt x="141" y="661"/>
                    </a:lnTo>
                    <a:lnTo>
                      <a:pt x="141" y="661"/>
                    </a:lnTo>
                    <a:lnTo>
                      <a:pt x="139" y="661"/>
                    </a:lnTo>
                    <a:lnTo>
                      <a:pt x="141" y="663"/>
                    </a:lnTo>
                    <a:lnTo>
                      <a:pt x="139" y="663"/>
                    </a:lnTo>
                    <a:lnTo>
                      <a:pt x="139" y="663"/>
                    </a:lnTo>
                    <a:lnTo>
                      <a:pt x="137" y="663"/>
                    </a:lnTo>
                    <a:lnTo>
                      <a:pt x="137" y="663"/>
                    </a:lnTo>
                    <a:lnTo>
                      <a:pt x="137" y="663"/>
                    </a:lnTo>
                    <a:lnTo>
                      <a:pt x="134" y="663"/>
                    </a:lnTo>
                    <a:lnTo>
                      <a:pt x="134" y="663"/>
                    </a:lnTo>
                    <a:lnTo>
                      <a:pt x="134" y="661"/>
                    </a:lnTo>
                    <a:lnTo>
                      <a:pt x="134" y="661"/>
                    </a:lnTo>
                    <a:lnTo>
                      <a:pt x="130" y="661"/>
                    </a:lnTo>
                    <a:lnTo>
                      <a:pt x="130" y="661"/>
                    </a:lnTo>
                    <a:lnTo>
                      <a:pt x="127" y="661"/>
                    </a:lnTo>
                    <a:lnTo>
                      <a:pt x="127" y="661"/>
                    </a:lnTo>
                    <a:lnTo>
                      <a:pt x="127" y="661"/>
                    </a:lnTo>
                    <a:lnTo>
                      <a:pt x="125" y="661"/>
                    </a:lnTo>
                    <a:lnTo>
                      <a:pt x="125" y="661"/>
                    </a:lnTo>
                    <a:lnTo>
                      <a:pt x="125" y="661"/>
                    </a:lnTo>
                    <a:lnTo>
                      <a:pt x="125" y="661"/>
                    </a:lnTo>
                    <a:lnTo>
                      <a:pt x="125" y="659"/>
                    </a:lnTo>
                    <a:lnTo>
                      <a:pt x="123" y="659"/>
                    </a:lnTo>
                    <a:lnTo>
                      <a:pt x="123" y="659"/>
                    </a:lnTo>
                    <a:lnTo>
                      <a:pt x="120" y="659"/>
                    </a:lnTo>
                    <a:lnTo>
                      <a:pt x="120" y="659"/>
                    </a:lnTo>
                    <a:lnTo>
                      <a:pt x="120" y="659"/>
                    </a:lnTo>
                    <a:lnTo>
                      <a:pt x="120" y="661"/>
                    </a:lnTo>
                    <a:lnTo>
                      <a:pt x="123" y="661"/>
                    </a:lnTo>
                    <a:lnTo>
                      <a:pt x="120" y="661"/>
                    </a:lnTo>
                    <a:lnTo>
                      <a:pt x="120" y="661"/>
                    </a:lnTo>
                    <a:lnTo>
                      <a:pt x="118" y="663"/>
                    </a:lnTo>
                    <a:lnTo>
                      <a:pt x="115" y="661"/>
                    </a:lnTo>
                    <a:lnTo>
                      <a:pt x="113" y="661"/>
                    </a:lnTo>
                    <a:lnTo>
                      <a:pt x="113" y="661"/>
                    </a:lnTo>
                    <a:lnTo>
                      <a:pt x="113" y="661"/>
                    </a:lnTo>
                    <a:lnTo>
                      <a:pt x="113" y="661"/>
                    </a:lnTo>
                    <a:lnTo>
                      <a:pt x="111" y="661"/>
                    </a:lnTo>
                    <a:lnTo>
                      <a:pt x="111" y="661"/>
                    </a:lnTo>
                    <a:lnTo>
                      <a:pt x="111" y="659"/>
                    </a:lnTo>
                    <a:lnTo>
                      <a:pt x="108" y="661"/>
                    </a:lnTo>
                    <a:lnTo>
                      <a:pt x="108" y="661"/>
                    </a:lnTo>
                    <a:lnTo>
                      <a:pt x="108" y="661"/>
                    </a:lnTo>
                    <a:lnTo>
                      <a:pt x="108" y="663"/>
                    </a:lnTo>
                    <a:lnTo>
                      <a:pt x="108" y="663"/>
                    </a:lnTo>
                    <a:lnTo>
                      <a:pt x="106" y="661"/>
                    </a:lnTo>
                    <a:lnTo>
                      <a:pt x="106" y="661"/>
                    </a:lnTo>
                    <a:lnTo>
                      <a:pt x="104" y="661"/>
                    </a:lnTo>
                    <a:lnTo>
                      <a:pt x="104" y="661"/>
                    </a:lnTo>
                    <a:lnTo>
                      <a:pt x="104" y="661"/>
                    </a:lnTo>
                    <a:lnTo>
                      <a:pt x="104" y="661"/>
                    </a:lnTo>
                    <a:lnTo>
                      <a:pt x="101" y="661"/>
                    </a:lnTo>
                    <a:lnTo>
                      <a:pt x="101" y="661"/>
                    </a:lnTo>
                    <a:lnTo>
                      <a:pt x="101" y="661"/>
                    </a:lnTo>
                    <a:lnTo>
                      <a:pt x="99" y="661"/>
                    </a:lnTo>
                    <a:lnTo>
                      <a:pt x="101" y="659"/>
                    </a:lnTo>
                    <a:lnTo>
                      <a:pt x="99" y="659"/>
                    </a:lnTo>
                    <a:lnTo>
                      <a:pt x="99" y="659"/>
                    </a:lnTo>
                    <a:lnTo>
                      <a:pt x="99" y="659"/>
                    </a:lnTo>
                    <a:lnTo>
                      <a:pt x="99" y="659"/>
                    </a:lnTo>
                    <a:lnTo>
                      <a:pt x="94" y="656"/>
                    </a:lnTo>
                    <a:lnTo>
                      <a:pt x="94" y="659"/>
                    </a:lnTo>
                    <a:lnTo>
                      <a:pt x="94" y="656"/>
                    </a:lnTo>
                    <a:lnTo>
                      <a:pt x="92" y="656"/>
                    </a:lnTo>
                    <a:lnTo>
                      <a:pt x="92" y="656"/>
                    </a:lnTo>
                    <a:lnTo>
                      <a:pt x="89" y="656"/>
                    </a:lnTo>
                    <a:lnTo>
                      <a:pt x="89" y="656"/>
                    </a:lnTo>
                    <a:lnTo>
                      <a:pt x="89" y="656"/>
                    </a:lnTo>
                    <a:lnTo>
                      <a:pt x="89" y="656"/>
                    </a:lnTo>
                    <a:lnTo>
                      <a:pt x="89" y="656"/>
                    </a:lnTo>
                    <a:lnTo>
                      <a:pt x="87" y="656"/>
                    </a:lnTo>
                    <a:lnTo>
                      <a:pt x="85" y="656"/>
                    </a:lnTo>
                    <a:lnTo>
                      <a:pt x="85" y="656"/>
                    </a:lnTo>
                    <a:lnTo>
                      <a:pt x="85" y="656"/>
                    </a:lnTo>
                    <a:lnTo>
                      <a:pt x="82" y="654"/>
                    </a:lnTo>
                    <a:lnTo>
                      <a:pt x="82" y="654"/>
                    </a:lnTo>
                    <a:lnTo>
                      <a:pt x="80" y="654"/>
                    </a:lnTo>
                    <a:lnTo>
                      <a:pt x="80" y="656"/>
                    </a:lnTo>
                    <a:lnTo>
                      <a:pt x="75" y="654"/>
                    </a:lnTo>
                    <a:lnTo>
                      <a:pt x="75" y="654"/>
                    </a:lnTo>
                    <a:lnTo>
                      <a:pt x="73" y="652"/>
                    </a:lnTo>
                    <a:lnTo>
                      <a:pt x="73" y="649"/>
                    </a:lnTo>
                    <a:lnTo>
                      <a:pt x="73" y="649"/>
                    </a:lnTo>
                    <a:lnTo>
                      <a:pt x="73" y="649"/>
                    </a:lnTo>
                    <a:lnTo>
                      <a:pt x="73" y="649"/>
                    </a:lnTo>
                    <a:lnTo>
                      <a:pt x="73" y="649"/>
                    </a:lnTo>
                    <a:lnTo>
                      <a:pt x="73" y="649"/>
                    </a:lnTo>
                    <a:lnTo>
                      <a:pt x="71" y="649"/>
                    </a:lnTo>
                    <a:lnTo>
                      <a:pt x="71" y="647"/>
                    </a:lnTo>
                    <a:lnTo>
                      <a:pt x="71" y="647"/>
                    </a:lnTo>
                    <a:lnTo>
                      <a:pt x="71" y="647"/>
                    </a:lnTo>
                    <a:lnTo>
                      <a:pt x="71" y="644"/>
                    </a:lnTo>
                    <a:lnTo>
                      <a:pt x="71" y="644"/>
                    </a:lnTo>
                    <a:lnTo>
                      <a:pt x="71" y="642"/>
                    </a:lnTo>
                    <a:lnTo>
                      <a:pt x="66" y="644"/>
                    </a:lnTo>
                    <a:lnTo>
                      <a:pt x="63" y="644"/>
                    </a:lnTo>
                    <a:lnTo>
                      <a:pt x="63" y="644"/>
                    </a:lnTo>
                    <a:lnTo>
                      <a:pt x="61" y="642"/>
                    </a:lnTo>
                    <a:lnTo>
                      <a:pt x="61" y="642"/>
                    </a:lnTo>
                    <a:lnTo>
                      <a:pt x="59" y="642"/>
                    </a:lnTo>
                    <a:lnTo>
                      <a:pt x="59" y="644"/>
                    </a:lnTo>
                    <a:lnTo>
                      <a:pt x="56" y="644"/>
                    </a:lnTo>
                    <a:lnTo>
                      <a:pt x="56" y="647"/>
                    </a:lnTo>
                    <a:lnTo>
                      <a:pt x="56" y="644"/>
                    </a:lnTo>
                    <a:lnTo>
                      <a:pt x="54" y="644"/>
                    </a:lnTo>
                    <a:lnTo>
                      <a:pt x="54" y="644"/>
                    </a:lnTo>
                    <a:lnTo>
                      <a:pt x="54" y="647"/>
                    </a:lnTo>
                    <a:lnTo>
                      <a:pt x="54" y="647"/>
                    </a:lnTo>
                    <a:lnTo>
                      <a:pt x="54" y="649"/>
                    </a:lnTo>
                    <a:lnTo>
                      <a:pt x="54" y="649"/>
                    </a:lnTo>
                    <a:lnTo>
                      <a:pt x="52" y="649"/>
                    </a:lnTo>
                    <a:lnTo>
                      <a:pt x="52" y="649"/>
                    </a:lnTo>
                    <a:lnTo>
                      <a:pt x="49" y="647"/>
                    </a:lnTo>
                    <a:lnTo>
                      <a:pt x="47" y="649"/>
                    </a:lnTo>
                    <a:lnTo>
                      <a:pt x="47" y="652"/>
                    </a:lnTo>
                    <a:lnTo>
                      <a:pt x="47" y="652"/>
                    </a:lnTo>
                    <a:lnTo>
                      <a:pt x="45" y="649"/>
                    </a:lnTo>
                    <a:lnTo>
                      <a:pt x="45" y="649"/>
                    </a:lnTo>
                    <a:lnTo>
                      <a:pt x="45" y="647"/>
                    </a:lnTo>
                    <a:lnTo>
                      <a:pt x="42" y="647"/>
                    </a:lnTo>
                    <a:lnTo>
                      <a:pt x="37" y="649"/>
                    </a:lnTo>
                    <a:lnTo>
                      <a:pt x="40" y="649"/>
                    </a:lnTo>
                    <a:lnTo>
                      <a:pt x="37" y="649"/>
                    </a:lnTo>
                    <a:lnTo>
                      <a:pt x="35" y="649"/>
                    </a:lnTo>
                    <a:lnTo>
                      <a:pt x="35" y="647"/>
                    </a:lnTo>
                    <a:lnTo>
                      <a:pt x="33" y="647"/>
                    </a:lnTo>
                    <a:lnTo>
                      <a:pt x="30" y="647"/>
                    </a:lnTo>
                    <a:lnTo>
                      <a:pt x="30" y="647"/>
                    </a:lnTo>
                    <a:lnTo>
                      <a:pt x="30" y="644"/>
                    </a:lnTo>
                    <a:lnTo>
                      <a:pt x="28" y="642"/>
                    </a:lnTo>
                    <a:lnTo>
                      <a:pt x="28" y="642"/>
                    </a:lnTo>
                    <a:lnTo>
                      <a:pt x="26" y="642"/>
                    </a:lnTo>
                    <a:lnTo>
                      <a:pt x="26" y="642"/>
                    </a:lnTo>
                    <a:lnTo>
                      <a:pt x="23" y="642"/>
                    </a:lnTo>
                    <a:lnTo>
                      <a:pt x="23" y="642"/>
                    </a:lnTo>
                    <a:lnTo>
                      <a:pt x="21" y="642"/>
                    </a:lnTo>
                    <a:lnTo>
                      <a:pt x="23" y="640"/>
                    </a:lnTo>
                    <a:lnTo>
                      <a:pt x="21" y="637"/>
                    </a:lnTo>
                    <a:lnTo>
                      <a:pt x="21" y="637"/>
                    </a:lnTo>
                    <a:lnTo>
                      <a:pt x="21" y="637"/>
                    </a:lnTo>
                    <a:lnTo>
                      <a:pt x="21" y="635"/>
                    </a:lnTo>
                    <a:lnTo>
                      <a:pt x="26" y="633"/>
                    </a:lnTo>
                    <a:lnTo>
                      <a:pt x="26" y="630"/>
                    </a:lnTo>
                    <a:lnTo>
                      <a:pt x="26" y="628"/>
                    </a:lnTo>
                    <a:lnTo>
                      <a:pt x="28" y="628"/>
                    </a:lnTo>
                    <a:lnTo>
                      <a:pt x="28" y="621"/>
                    </a:lnTo>
                    <a:lnTo>
                      <a:pt x="28" y="618"/>
                    </a:lnTo>
                    <a:lnTo>
                      <a:pt x="28" y="618"/>
                    </a:lnTo>
                    <a:lnTo>
                      <a:pt x="28" y="618"/>
                    </a:lnTo>
                    <a:lnTo>
                      <a:pt x="30" y="616"/>
                    </a:lnTo>
                    <a:lnTo>
                      <a:pt x="33" y="616"/>
                    </a:lnTo>
                    <a:lnTo>
                      <a:pt x="33" y="616"/>
                    </a:lnTo>
                    <a:lnTo>
                      <a:pt x="33" y="614"/>
                    </a:lnTo>
                    <a:lnTo>
                      <a:pt x="26" y="611"/>
                    </a:lnTo>
                    <a:lnTo>
                      <a:pt x="26" y="611"/>
                    </a:lnTo>
                    <a:lnTo>
                      <a:pt x="28" y="609"/>
                    </a:lnTo>
                    <a:lnTo>
                      <a:pt x="30" y="609"/>
                    </a:lnTo>
                    <a:lnTo>
                      <a:pt x="33" y="604"/>
                    </a:lnTo>
                    <a:lnTo>
                      <a:pt x="33" y="602"/>
                    </a:lnTo>
                    <a:lnTo>
                      <a:pt x="30" y="602"/>
                    </a:lnTo>
                    <a:lnTo>
                      <a:pt x="28" y="600"/>
                    </a:lnTo>
                    <a:lnTo>
                      <a:pt x="28" y="597"/>
                    </a:lnTo>
                    <a:lnTo>
                      <a:pt x="28" y="597"/>
                    </a:lnTo>
                    <a:lnTo>
                      <a:pt x="28" y="595"/>
                    </a:lnTo>
                    <a:lnTo>
                      <a:pt x="35" y="593"/>
                    </a:lnTo>
                    <a:lnTo>
                      <a:pt x="35" y="590"/>
                    </a:lnTo>
                    <a:lnTo>
                      <a:pt x="35" y="590"/>
                    </a:lnTo>
                    <a:lnTo>
                      <a:pt x="30" y="588"/>
                    </a:lnTo>
                    <a:lnTo>
                      <a:pt x="30" y="585"/>
                    </a:lnTo>
                    <a:lnTo>
                      <a:pt x="28" y="583"/>
                    </a:lnTo>
                    <a:lnTo>
                      <a:pt x="30" y="578"/>
                    </a:lnTo>
                    <a:lnTo>
                      <a:pt x="33" y="578"/>
                    </a:lnTo>
                    <a:lnTo>
                      <a:pt x="33" y="578"/>
                    </a:lnTo>
                    <a:lnTo>
                      <a:pt x="30" y="576"/>
                    </a:lnTo>
                    <a:lnTo>
                      <a:pt x="26" y="574"/>
                    </a:lnTo>
                    <a:lnTo>
                      <a:pt x="26" y="571"/>
                    </a:lnTo>
                    <a:lnTo>
                      <a:pt x="26" y="569"/>
                    </a:lnTo>
                    <a:lnTo>
                      <a:pt x="26" y="567"/>
                    </a:lnTo>
                    <a:lnTo>
                      <a:pt x="28" y="567"/>
                    </a:lnTo>
                    <a:lnTo>
                      <a:pt x="30" y="564"/>
                    </a:lnTo>
                    <a:lnTo>
                      <a:pt x="30" y="562"/>
                    </a:lnTo>
                    <a:lnTo>
                      <a:pt x="30" y="559"/>
                    </a:lnTo>
                    <a:lnTo>
                      <a:pt x="33" y="555"/>
                    </a:lnTo>
                    <a:lnTo>
                      <a:pt x="33" y="552"/>
                    </a:lnTo>
                    <a:lnTo>
                      <a:pt x="37" y="548"/>
                    </a:lnTo>
                    <a:lnTo>
                      <a:pt x="40" y="545"/>
                    </a:lnTo>
                    <a:lnTo>
                      <a:pt x="40" y="543"/>
                    </a:lnTo>
                    <a:lnTo>
                      <a:pt x="40" y="541"/>
                    </a:lnTo>
                    <a:lnTo>
                      <a:pt x="35" y="541"/>
                    </a:lnTo>
                    <a:lnTo>
                      <a:pt x="33" y="538"/>
                    </a:lnTo>
                    <a:lnTo>
                      <a:pt x="30" y="538"/>
                    </a:lnTo>
                    <a:lnTo>
                      <a:pt x="33" y="536"/>
                    </a:lnTo>
                    <a:lnTo>
                      <a:pt x="40" y="531"/>
                    </a:lnTo>
                    <a:lnTo>
                      <a:pt x="40" y="529"/>
                    </a:lnTo>
                    <a:lnTo>
                      <a:pt x="40" y="526"/>
                    </a:lnTo>
                    <a:lnTo>
                      <a:pt x="37" y="519"/>
                    </a:lnTo>
                    <a:lnTo>
                      <a:pt x="37" y="517"/>
                    </a:lnTo>
                    <a:lnTo>
                      <a:pt x="42" y="512"/>
                    </a:lnTo>
                    <a:lnTo>
                      <a:pt x="37" y="510"/>
                    </a:lnTo>
                    <a:lnTo>
                      <a:pt x="37" y="505"/>
                    </a:lnTo>
                    <a:lnTo>
                      <a:pt x="40" y="503"/>
                    </a:lnTo>
                    <a:lnTo>
                      <a:pt x="42" y="500"/>
                    </a:lnTo>
                    <a:lnTo>
                      <a:pt x="45" y="498"/>
                    </a:lnTo>
                    <a:lnTo>
                      <a:pt x="45" y="496"/>
                    </a:lnTo>
                    <a:lnTo>
                      <a:pt x="45" y="493"/>
                    </a:lnTo>
                    <a:lnTo>
                      <a:pt x="45" y="491"/>
                    </a:lnTo>
                    <a:lnTo>
                      <a:pt x="42" y="491"/>
                    </a:lnTo>
                    <a:lnTo>
                      <a:pt x="40" y="493"/>
                    </a:lnTo>
                    <a:lnTo>
                      <a:pt x="37" y="493"/>
                    </a:lnTo>
                    <a:lnTo>
                      <a:pt x="37" y="493"/>
                    </a:lnTo>
                    <a:lnTo>
                      <a:pt x="35" y="489"/>
                    </a:lnTo>
                    <a:lnTo>
                      <a:pt x="35" y="489"/>
                    </a:lnTo>
                    <a:lnTo>
                      <a:pt x="33" y="486"/>
                    </a:lnTo>
                    <a:lnTo>
                      <a:pt x="33" y="489"/>
                    </a:lnTo>
                    <a:lnTo>
                      <a:pt x="30" y="486"/>
                    </a:lnTo>
                    <a:lnTo>
                      <a:pt x="30" y="486"/>
                    </a:lnTo>
                    <a:lnTo>
                      <a:pt x="33" y="484"/>
                    </a:lnTo>
                    <a:lnTo>
                      <a:pt x="37" y="481"/>
                    </a:lnTo>
                    <a:lnTo>
                      <a:pt x="40" y="477"/>
                    </a:lnTo>
                    <a:lnTo>
                      <a:pt x="37" y="477"/>
                    </a:lnTo>
                    <a:lnTo>
                      <a:pt x="35" y="472"/>
                    </a:lnTo>
                    <a:lnTo>
                      <a:pt x="33" y="472"/>
                    </a:lnTo>
                    <a:lnTo>
                      <a:pt x="30" y="474"/>
                    </a:lnTo>
                    <a:lnTo>
                      <a:pt x="28" y="474"/>
                    </a:lnTo>
                    <a:lnTo>
                      <a:pt x="26" y="474"/>
                    </a:lnTo>
                    <a:lnTo>
                      <a:pt x="26" y="472"/>
                    </a:lnTo>
                    <a:lnTo>
                      <a:pt x="28" y="467"/>
                    </a:lnTo>
                    <a:lnTo>
                      <a:pt x="30" y="467"/>
                    </a:lnTo>
                    <a:lnTo>
                      <a:pt x="33" y="467"/>
                    </a:lnTo>
                    <a:lnTo>
                      <a:pt x="37" y="467"/>
                    </a:lnTo>
                    <a:lnTo>
                      <a:pt x="37" y="467"/>
                    </a:lnTo>
                    <a:lnTo>
                      <a:pt x="37" y="467"/>
                    </a:lnTo>
                    <a:lnTo>
                      <a:pt x="37" y="465"/>
                    </a:lnTo>
                    <a:lnTo>
                      <a:pt x="37" y="463"/>
                    </a:lnTo>
                    <a:lnTo>
                      <a:pt x="33" y="458"/>
                    </a:lnTo>
                    <a:lnTo>
                      <a:pt x="33" y="458"/>
                    </a:lnTo>
                    <a:lnTo>
                      <a:pt x="33" y="455"/>
                    </a:lnTo>
                    <a:lnTo>
                      <a:pt x="30" y="455"/>
                    </a:lnTo>
                    <a:lnTo>
                      <a:pt x="30" y="455"/>
                    </a:lnTo>
                    <a:lnTo>
                      <a:pt x="28" y="463"/>
                    </a:lnTo>
                    <a:lnTo>
                      <a:pt x="23" y="463"/>
                    </a:lnTo>
                    <a:lnTo>
                      <a:pt x="23" y="460"/>
                    </a:lnTo>
                    <a:lnTo>
                      <a:pt x="23" y="458"/>
                    </a:lnTo>
                    <a:lnTo>
                      <a:pt x="23" y="455"/>
                    </a:lnTo>
                    <a:lnTo>
                      <a:pt x="26" y="453"/>
                    </a:lnTo>
                    <a:lnTo>
                      <a:pt x="26" y="453"/>
                    </a:lnTo>
                    <a:lnTo>
                      <a:pt x="21" y="453"/>
                    </a:lnTo>
                    <a:lnTo>
                      <a:pt x="19" y="448"/>
                    </a:lnTo>
                    <a:lnTo>
                      <a:pt x="19" y="446"/>
                    </a:lnTo>
                    <a:lnTo>
                      <a:pt x="21" y="444"/>
                    </a:lnTo>
                    <a:lnTo>
                      <a:pt x="19" y="437"/>
                    </a:lnTo>
                    <a:lnTo>
                      <a:pt x="19" y="434"/>
                    </a:lnTo>
                    <a:lnTo>
                      <a:pt x="21" y="430"/>
                    </a:lnTo>
                    <a:lnTo>
                      <a:pt x="21" y="427"/>
                    </a:lnTo>
                    <a:lnTo>
                      <a:pt x="19" y="422"/>
                    </a:lnTo>
                    <a:lnTo>
                      <a:pt x="14" y="420"/>
                    </a:lnTo>
                    <a:lnTo>
                      <a:pt x="9" y="418"/>
                    </a:lnTo>
                    <a:lnTo>
                      <a:pt x="9" y="413"/>
                    </a:lnTo>
                    <a:lnTo>
                      <a:pt x="9" y="411"/>
                    </a:lnTo>
                    <a:lnTo>
                      <a:pt x="9" y="406"/>
                    </a:lnTo>
                    <a:lnTo>
                      <a:pt x="9" y="404"/>
                    </a:lnTo>
                    <a:lnTo>
                      <a:pt x="9" y="404"/>
                    </a:lnTo>
                    <a:lnTo>
                      <a:pt x="9" y="401"/>
                    </a:lnTo>
                    <a:lnTo>
                      <a:pt x="7" y="401"/>
                    </a:lnTo>
                    <a:lnTo>
                      <a:pt x="4" y="404"/>
                    </a:lnTo>
                    <a:lnTo>
                      <a:pt x="2" y="404"/>
                    </a:lnTo>
                    <a:lnTo>
                      <a:pt x="2" y="406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0" y="399"/>
                    </a:lnTo>
                    <a:lnTo>
                      <a:pt x="2" y="399"/>
                    </a:lnTo>
                    <a:lnTo>
                      <a:pt x="4" y="396"/>
                    </a:lnTo>
                    <a:lnTo>
                      <a:pt x="7" y="394"/>
                    </a:lnTo>
                    <a:lnTo>
                      <a:pt x="4" y="394"/>
                    </a:lnTo>
                    <a:lnTo>
                      <a:pt x="4" y="394"/>
                    </a:lnTo>
                    <a:lnTo>
                      <a:pt x="0" y="394"/>
                    </a:lnTo>
                    <a:lnTo>
                      <a:pt x="0" y="392"/>
                    </a:lnTo>
                    <a:lnTo>
                      <a:pt x="0" y="392"/>
                    </a:lnTo>
                    <a:lnTo>
                      <a:pt x="0" y="392"/>
                    </a:lnTo>
                    <a:lnTo>
                      <a:pt x="2" y="389"/>
                    </a:lnTo>
                    <a:lnTo>
                      <a:pt x="4" y="389"/>
                    </a:lnTo>
                    <a:lnTo>
                      <a:pt x="7" y="389"/>
                    </a:lnTo>
                    <a:lnTo>
                      <a:pt x="7" y="385"/>
                    </a:lnTo>
                    <a:lnTo>
                      <a:pt x="9" y="385"/>
                    </a:lnTo>
                    <a:lnTo>
                      <a:pt x="16" y="382"/>
                    </a:lnTo>
                    <a:lnTo>
                      <a:pt x="16" y="382"/>
                    </a:lnTo>
                    <a:lnTo>
                      <a:pt x="16" y="378"/>
                    </a:lnTo>
                    <a:lnTo>
                      <a:pt x="19" y="378"/>
                    </a:lnTo>
                    <a:lnTo>
                      <a:pt x="21" y="378"/>
                    </a:lnTo>
                    <a:lnTo>
                      <a:pt x="23" y="378"/>
                    </a:lnTo>
                    <a:lnTo>
                      <a:pt x="26" y="375"/>
                    </a:lnTo>
                    <a:lnTo>
                      <a:pt x="26" y="373"/>
                    </a:lnTo>
                    <a:lnTo>
                      <a:pt x="28" y="373"/>
                    </a:lnTo>
                    <a:lnTo>
                      <a:pt x="28" y="373"/>
                    </a:lnTo>
                    <a:lnTo>
                      <a:pt x="30" y="373"/>
                    </a:lnTo>
                    <a:lnTo>
                      <a:pt x="33" y="375"/>
                    </a:lnTo>
                    <a:lnTo>
                      <a:pt x="35" y="373"/>
                    </a:lnTo>
                    <a:lnTo>
                      <a:pt x="37" y="368"/>
                    </a:lnTo>
                    <a:lnTo>
                      <a:pt x="40" y="366"/>
                    </a:lnTo>
                    <a:lnTo>
                      <a:pt x="4" y="337"/>
                    </a:lnTo>
                    <a:lnTo>
                      <a:pt x="16" y="311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33" name="Freeform 17"/>
              <p:cNvSpPr>
                <a:spLocks/>
              </p:cNvSpPr>
              <p:nvPr/>
            </p:nvSpPr>
            <p:spPr bwMode="auto">
              <a:xfrm>
                <a:off x="5189674" y="3989831"/>
                <a:ext cx="130698" cy="75444"/>
              </a:xfrm>
              <a:custGeom>
                <a:avLst/>
                <a:gdLst/>
                <a:ahLst/>
                <a:cxnLst>
                  <a:cxn ang="0">
                    <a:pos x="2" y="38"/>
                  </a:cxn>
                  <a:cxn ang="0">
                    <a:pos x="7" y="33"/>
                  </a:cxn>
                  <a:cxn ang="0">
                    <a:pos x="9" y="29"/>
                  </a:cxn>
                  <a:cxn ang="0">
                    <a:pos x="5" y="26"/>
                  </a:cxn>
                  <a:cxn ang="0">
                    <a:pos x="7" y="17"/>
                  </a:cxn>
                  <a:cxn ang="0">
                    <a:pos x="9" y="0"/>
                  </a:cxn>
                  <a:cxn ang="0">
                    <a:pos x="31" y="0"/>
                  </a:cxn>
                  <a:cxn ang="0">
                    <a:pos x="90" y="0"/>
                  </a:cxn>
                  <a:cxn ang="0">
                    <a:pos x="109" y="5"/>
                  </a:cxn>
                  <a:cxn ang="0">
                    <a:pos x="113" y="7"/>
                  </a:cxn>
                  <a:cxn ang="0">
                    <a:pos x="118" y="10"/>
                  </a:cxn>
                  <a:cxn ang="0">
                    <a:pos x="123" y="12"/>
                  </a:cxn>
                  <a:cxn ang="0">
                    <a:pos x="121" y="19"/>
                  </a:cxn>
                  <a:cxn ang="0">
                    <a:pos x="121" y="22"/>
                  </a:cxn>
                  <a:cxn ang="0">
                    <a:pos x="123" y="24"/>
                  </a:cxn>
                  <a:cxn ang="0">
                    <a:pos x="123" y="29"/>
                  </a:cxn>
                  <a:cxn ang="0">
                    <a:pos x="123" y="31"/>
                  </a:cxn>
                  <a:cxn ang="0">
                    <a:pos x="123" y="33"/>
                  </a:cxn>
                  <a:cxn ang="0">
                    <a:pos x="121" y="36"/>
                  </a:cxn>
                  <a:cxn ang="0">
                    <a:pos x="118" y="38"/>
                  </a:cxn>
                  <a:cxn ang="0">
                    <a:pos x="118" y="40"/>
                  </a:cxn>
                  <a:cxn ang="0">
                    <a:pos x="116" y="43"/>
                  </a:cxn>
                  <a:cxn ang="0">
                    <a:pos x="116" y="45"/>
                  </a:cxn>
                  <a:cxn ang="0">
                    <a:pos x="116" y="48"/>
                  </a:cxn>
                  <a:cxn ang="0">
                    <a:pos x="116" y="50"/>
                  </a:cxn>
                  <a:cxn ang="0">
                    <a:pos x="116" y="52"/>
                  </a:cxn>
                  <a:cxn ang="0">
                    <a:pos x="116" y="55"/>
                  </a:cxn>
                  <a:cxn ang="0">
                    <a:pos x="116" y="57"/>
                  </a:cxn>
                  <a:cxn ang="0">
                    <a:pos x="116" y="57"/>
                  </a:cxn>
                  <a:cxn ang="0">
                    <a:pos x="116" y="59"/>
                  </a:cxn>
                  <a:cxn ang="0">
                    <a:pos x="116" y="64"/>
                  </a:cxn>
                  <a:cxn ang="0">
                    <a:pos x="116" y="64"/>
                  </a:cxn>
                  <a:cxn ang="0">
                    <a:pos x="118" y="66"/>
                  </a:cxn>
                  <a:cxn ang="0">
                    <a:pos x="118" y="66"/>
                  </a:cxn>
                  <a:cxn ang="0">
                    <a:pos x="123" y="69"/>
                  </a:cxn>
                  <a:cxn ang="0">
                    <a:pos x="123" y="69"/>
                  </a:cxn>
                  <a:cxn ang="0">
                    <a:pos x="85" y="71"/>
                  </a:cxn>
                  <a:cxn ang="0">
                    <a:pos x="43" y="71"/>
                  </a:cxn>
                  <a:cxn ang="0">
                    <a:pos x="24" y="71"/>
                  </a:cxn>
                  <a:cxn ang="0">
                    <a:pos x="2" y="69"/>
                  </a:cxn>
                  <a:cxn ang="0">
                    <a:pos x="2" y="62"/>
                  </a:cxn>
                  <a:cxn ang="0">
                    <a:pos x="5" y="57"/>
                  </a:cxn>
                  <a:cxn ang="0">
                    <a:pos x="2" y="57"/>
                  </a:cxn>
                  <a:cxn ang="0">
                    <a:pos x="2" y="55"/>
                  </a:cxn>
                  <a:cxn ang="0">
                    <a:pos x="0" y="50"/>
                  </a:cxn>
                  <a:cxn ang="0">
                    <a:pos x="0" y="48"/>
                  </a:cxn>
                </a:cxnLst>
                <a:rect l="0" t="0" r="r" b="b"/>
                <a:pathLst>
                  <a:path w="123" h="71">
                    <a:moveTo>
                      <a:pt x="0" y="43"/>
                    </a:moveTo>
                    <a:lnTo>
                      <a:pt x="0" y="40"/>
                    </a:lnTo>
                    <a:lnTo>
                      <a:pt x="2" y="38"/>
                    </a:lnTo>
                    <a:lnTo>
                      <a:pt x="5" y="38"/>
                    </a:lnTo>
                    <a:lnTo>
                      <a:pt x="5" y="36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9" y="31"/>
                    </a:lnTo>
                    <a:lnTo>
                      <a:pt x="9" y="29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5" y="26"/>
                    </a:lnTo>
                    <a:lnTo>
                      <a:pt x="5" y="24"/>
                    </a:lnTo>
                    <a:lnTo>
                      <a:pt x="5" y="19"/>
                    </a:lnTo>
                    <a:lnTo>
                      <a:pt x="7" y="17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64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9" y="0"/>
                    </a:lnTo>
                    <a:lnTo>
                      <a:pt x="109" y="0"/>
                    </a:lnTo>
                    <a:lnTo>
                      <a:pt x="109" y="5"/>
                    </a:lnTo>
                    <a:lnTo>
                      <a:pt x="111" y="5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10"/>
                    </a:lnTo>
                    <a:lnTo>
                      <a:pt x="116" y="10"/>
                    </a:lnTo>
                    <a:lnTo>
                      <a:pt x="118" y="10"/>
                    </a:lnTo>
                    <a:lnTo>
                      <a:pt x="121" y="10"/>
                    </a:lnTo>
                    <a:lnTo>
                      <a:pt x="123" y="10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1" y="17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2"/>
                    </a:lnTo>
                    <a:lnTo>
                      <a:pt x="121" y="22"/>
                    </a:lnTo>
                    <a:lnTo>
                      <a:pt x="121" y="24"/>
                    </a:lnTo>
                    <a:lnTo>
                      <a:pt x="123" y="24"/>
                    </a:lnTo>
                    <a:lnTo>
                      <a:pt x="123" y="24"/>
                    </a:lnTo>
                    <a:lnTo>
                      <a:pt x="123" y="26"/>
                    </a:lnTo>
                    <a:lnTo>
                      <a:pt x="123" y="29"/>
                    </a:lnTo>
                    <a:lnTo>
                      <a:pt x="123" y="29"/>
                    </a:lnTo>
                    <a:lnTo>
                      <a:pt x="123" y="31"/>
                    </a:lnTo>
                    <a:lnTo>
                      <a:pt x="123" y="31"/>
                    </a:lnTo>
                    <a:lnTo>
                      <a:pt x="123" y="31"/>
                    </a:lnTo>
                    <a:lnTo>
                      <a:pt x="123" y="33"/>
                    </a:lnTo>
                    <a:lnTo>
                      <a:pt x="123" y="31"/>
                    </a:lnTo>
                    <a:lnTo>
                      <a:pt x="123" y="33"/>
                    </a:lnTo>
                    <a:lnTo>
                      <a:pt x="121" y="33"/>
                    </a:lnTo>
                    <a:lnTo>
                      <a:pt x="121" y="33"/>
                    </a:lnTo>
                    <a:lnTo>
                      <a:pt x="121" y="36"/>
                    </a:lnTo>
                    <a:lnTo>
                      <a:pt x="121" y="36"/>
                    </a:lnTo>
                    <a:lnTo>
                      <a:pt x="118" y="38"/>
                    </a:lnTo>
                    <a:lnTo>
                      <a:pt x="118" y="38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6" y="43"/>
                    </a:lnTo>
                    <a:lnTo>
                      <a:pt x="116" y="43"/>
                    </a:lnTo>
                    <a:lnTo>
                      <a:pt x="116" y="43"/>
                    </a:lnTo>
                    <a:lnTo>
                      <a:pt x="116" y="45"/>
                    </a:lnTo>
                    <a:lnTo>
                      <a:pt x="116" y="45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50"/>
                    </a:lnTo>
                    <a:lnTo>
                      <a:pt x="113" y="50"/>
                    </a:lnTo>
                    <a:lnTo>
                      <a:pt x="116" y="50"/>
                    </a:lnTo>
                    <a:lnTo>
                      <a:pt x="116" y="50"/>
                    </a:lnTo>
                    <a:lnTo>
                      <a:pt x="116" y="52"/>
                    </a:lnTo>
                    <a:lnTo>
                      <a:pt x="116" y="52"/>
                    </a:lnTo>
                    <a:lnTo>
                      <a:pt x="116" y="52"/>
                    </a:lnTo>
                    <a:lnTo>
                      <a:pt x="116" y="55"/>
                    </a:lnTo>
                    <a:lnTo>
                      <a:pt x="116" y="55"/>
                    </a:lnTo>
                    <a:lnTo>
                      <a:pt x="116" y="55"/>
                    </a:lnTo>
                    <a:lnTo>
                      <a:pt x="116" y="55"/>
                    </a:lnTo>
                    <a:lnTo>
                      <a:pt x="116" y="57"/>
                    </a:lnTo>
                    <a:lnTo>
                      <a:pt x="116" y="57"/>
                    </a:lnTo>
                    <a:lnTo>
                      <a:pt x="116" y="57"/>
                    </a:lnTo>
                    <a:lnTo>
                      <a:pt x="116" y="57"/>
                    </a:lnTo>
                    <a:lnTo>
                      <a:pt x="116" y="59"/>
                    </a:lnTo>
                    <a:lnTo>
                      <a:pt x="116" y="59"/>
                    </a:lnTo>
                    <a:lnTo>
                      <a:pt x="116" y="59"/>
                    </a:lnTo>
                    <a:lnTo>
                      <a:pt x="116" y="59"/>
                    </a:lnTo>
                    <a:lnTo>
                      <a:pt x="116" y="62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16" y="66"/>
                    </a:lnTo>
                    <a:lnTo>
                      <a:pt x="118" y="66"/>
                    </a:lnTo>
                    <a:lnTo>
                      <a:pt x="118" y="66"/>
                    </a:lnTo>
                    <a:lnTo>
                      <a:pt x="118" y="66"/>
                    </a:lnTo>
                    <a:lnTo>
                      <a:pt x="118" y="66"/>
                    </a:lnTo>
                    <a:lnTo>
                      <a:pt x="121" y="66"/>
                    </a:lnTo>
                    <a:lnTo>
                      <a:pt x="121" y="69"/>
                    </a:lnTo>
                    <a:lnTo>
                      <a:pt x="123" y="69"/>
                    </a:lnTo>
                    <a:lnTo>
                      <a:pt x="123" y="69"/>
                    </a:lnTo>
                    <a:lnTo>
                      <a:pt x="123" y="69"/>
                    </a:lnTo>
                    <a:lnTo>
                      <a:pt x="123" y="69"/>
                    </a:lnTo>
                    <a:lnTo>
                      <a:pt x="123" y="69"/>
                    </a:lnTo>
                    <a:lnTo>
                      <a:pt x="123" y="71"/>
                    </a:lnTo>
                    <a:lnTo>
                      <a:pt x="85" y="71"/>
                    </a:lnTo>
                    <a:lnTo>
                      <a:pt x="76" y="71"/>
                    </a:lnTo>
                    <a:lnTo>
                      <a:pt x="59" y="71"/>
                    </a:lnTo>
                    <a:lnTo>
                      <a:pt x="43" y="71"/>
                    </a:lnTo>
                    <a:lnTo>
                      <a:pt x="33" y="71"/>
                    </a:lnTo>
                    <a:lnTo>
                      <a:pt x="31" y="71"/>
                    </a:lnTo>
                    <a:lnTo>
                      <a:pt x="24" y="71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2" y="69"/>
                    </a:lnTo>
                    <a:lnTo>
                      <a:pt x="2" y="66"/>
                    </a:lnTo>
                    <a:lnTo>
                      <a:pt x="2" y="64"/>
                    </a:lnTo>
                    <a:lnTo>
                      <a:pt x="2" y="62"/>
                    </a:lnTo>
                    <a:lnTo>
                      <a:pt x="2" y="59"/>
                    </a:lnTo>
                    <a:lnTo>
                      <a:pt x="5" y="59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2" y="55"/>
                    </a:lnTo>
                    <a:lnTo>
                      <a:pt x="2" y="57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55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0" y="48"/>
                    </a:lnTo>
                    <a:lnTo>
                      <a:pt x="0" y="43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2" name="Group 128"/>
            <p:cNvGrpSpPr/>
            <p:nvPr>
              <p:custDataLst>
                <p:tags r:id="rId25"/>
              </p:custDataLst>
            </p:nvPr>
          </p:nvGrpSpPr>
          <p:grpSpPr>
            <a:xfrm>
              <a:off x="3227860" y="1745561"/>
              <a:ext cx="1587355" cy="2030630"/>
              <a:chOff x="5126981" y="1979424"/>
              <a:chExt cx="1879710" cy="2404626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21" name="Freeform 12"/>
              <p:cNvSpPr>
                <a:spLocks/>
              </p:cNvSpPr>
              <p:nvPr/>
            </p:nvSpPr>
            <p:spPr bwMode="auto">
              <a:xfrm>
                <a:off x="6542342" y="3061133"/>
                <a:ext cx="416533" cy="233768"/>
              </a:xfrm>
              <a:custGeom>
                <a:avLst/>
                <a:gdLst/>
                <a:ahLst/>
                <a:cxnLst>
                  <a:cxn ang="0">
                    <a:pos x="19" y="45"/>
                  </a:cxn>
                  <a:cxn ang="0">
                    <a:pos x="33" y="43"/>
                  </a:cxn>
                  <a:cxn ang="0">
                    <a:pos x="45" y="29"/>
                  </a:cxn>
                  <a:cxn ang="0">
                    <a:pos x="55" y="10"/>
                  </a:cxn>
                  <a:cxn ang="0">
                    <a:pos x="64" y="10"/>
                  </a:cxn>
                  <a:cxn ang="0">
                    <a:pos x="71" y="19"/>
                  </a:cxn>
                  <a:cxn ang="0">
                    <a:pos x="76" y="24"/>
                  </a:cxn>
                  <a:cxn ang="0">
                    <a:pos x="92" y="19"/>
                  </a:cxn>
                  <a:cxn ang="0">
                    <a:pos x="107" y="31"/>
                  </a:cxn>
                  <a:cxn ang="0">
                    <a:pos x="128" y="48"/>
                  </a:cxn>
                  <a:cxn ang="0">
                    <a:pos x="133" y="50"/>
                  </a:cxn>
                  <a:cxn ang="0">
                    <a:pos x="147" y="57"/>
                  </a:cxn>
                  <a:cxn ang="0">
                    <a:pos x="163" y="74"/>
                  </a:cxn>
                  <a:cxn ang="0">
                    <a:pos x="168" y="62"/>
                  </a:cxn>
                  <a:cxn ang="0">
                    <a:pos x="189" y="59"/>
                  </a:cxn>
                  <a:cxn ang="0">
                    <a:pos x="206" y="66"/>
                  </a:cxn>
                  <a:cxn ang="0">
                    <a:pos x="213" y="66"/>
                  </a:cxn>
                  <a:cxn ang="0">
                    <a:pos x="225" y="55"/>
                  </a:cxn>
                  <a:cxn ang="0">
                    <a:pos x="232" y="52"/>
                  </a:cxn>
                  <a:cxn ang="0">
                    <a:pos x="241" y="50"/>
                  </a:cxn>
                  <a:cxn ang="0">
                    <a:pos x="248" y="45"/>
                  </a:cxn>
                  <a:cxn ang="0">
                    <a:pos x="255" y="43"/>
                  </a:cxn>
                  <a:cxn ang="0">
                    <a:pos x="258" y="33"/>
                  </a:cxn>
                  <a:cxn ang="0">
                    <a:pos x="265" y="29"/>
                  </a:cxn>
                  <a:cxn ang="0">
                    <a:pos x="267" y="19"/>
                  </a:cxn>
                  <a:cxn ang="0">
                    <a:pos x="289" y="10"/>
                  </a:cxn>
                  <a:cxn ang="0">
                    <a:pos x="298" y="5"/>
                  </a:cxn>
                  <a:cxn ang="0">
                    <a:pos x="312" y="5"/>
                  </a:cxn>
                  <a:cxn ang="0">
                    <a:pos x="319" y="12"/>
                  </a:cxn>
                  <a:cxn ang="0">
                    <a:pos x="331" y="7"/>
                  </a:cxn>
                  <a:cxn ang="0">
                    <a:pos x="343" y="0"/>
                  </a:cxn>
                  <a:cxn ang="0">
                    <a:pos x="350" y="0"/>
                  </a:cxn>
                  <a:cxn ang="0">
                    <a:pos x="359" y="3"/>
                  </a:cxn>
                  <a:cxn ang="0">
                    <a:pos x="383" y="10"/>
                  </a:cxn>
                  <a:cxn ang="0">
                    <a:pos x="388" y="22"/>
                  </a:cxn>
                  <a:cxn ang="0">
                    <a:pos x="378" y="36"/>
                  </a:cxn>
                  <a:cxn ang="0">
                    <a:pos x="374" y="48"/>
                  </a:cxn>
                  <a:cxn ang="0">
                    <a:pos x="362" y="62"/>
                  </a:cxn>
                  <a:cxn ang="0">
                    <a:pos x="350" y="74"/>
                  </a:cxn>
                  <a:cxn ang="0">
                    <a:pos x="336" y="92"/>
                  </a:cxn>
                  <a:cxn ang="0">
                    <a:pos x="324" y="107"/>
                  </a:cxn>
                  <a:cxn ang="0">
                    <a:pos x="312" y="116"/>
                  </a:cxn>
                  <a:cxn ang="0">
                    <a:pos x="289" y="149"/>
                  </a:cxn>
                  <a:cxn ang="0">
                    <a:pos x="267" y="175"/>
                  </a:cxn>
                  <a:cxn ang="0">
                    <a:pos x="246" y="194"/>
                  </a:cxn>
                  <a:cxn ang="0">
                    <a:pos x="237" y="220"/>
                  </a:cxn>
                  <a:cxn ang="0">
                    <a:pos x="222" y="208"/>
                  </a:cxn>
                  <a:cxn ang="0">
                    <a:pos x="213" y="196"/>
                  </a:cxn>
                  <a:cxn ang="0">
                    <a:pos x="201" y="189"/>
                  </a:cxn>
                  <a:cxn ang="0">
                    <a:pos x="189" y="185"/>
                  </a:cxn>
                  <a:cxn ang="0">
                    <a:pos x="177" y="177"/>
                  </a:cxn>
                  <a:cxn ang="0">
                    <a:pos x="163" y="161"/>
                  </a:cxn>
                  <a:cxn ang="0">
                    <a:pos x="156" y="151"/>
                  </a:cxn>
                  <a:cxn ang="0">
                    <a:pos x="128" y="140"/>
                  </a:cxn>
                  <a:cxn ang="0">
                    <a:pos x="111" y="125"/>
                  </a:cxn>
                  <a:cxn ang="0">
                    <a:pos x="74" y="111"/>
                  </a:cxn>
                  <a:cxn ang="0">
                    <a:pos x="55" y="102"/>
                  </a:cxn>
                  <a:cxn ang="0">
                    <a:pos x="31" y="92"/>
                  </a:cxn>
                  <a:cxn ang="0">
                    <a:pos x="22" y="81"/>
                  </a:cxn>
                  <a:cxn ang="0">
                    <a:pos x="5" y="76"/>
                  </a:cxn>
                </a:cxnLst>
                <a:rect l="0" t="0" r="r" b="b"/>
                <a:pathLst>
                  <a:path w="392" h="220">
                    <a:moveTo>
                      <a:pt x="0" y="66"/>
                    </a:moveTo>
                    <a:lnTo>
                      <a:pt x="5" y="62"/>
                    </a:lnTo>
                    <a:lnTo>
                      <a:pt x="7" y="62"/>
                    </a:lnTo>
                    <a:lnTo>
                      <a:pt x="12" y="57"/>
                    </a:lnTo>
                    <a:lnTo>
                      <a:pt x="12" y="57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7" y="50"/>
                    </a:lnTo>
                    <a:lnTo>
                      <a:pt x="19" y="48"/>
                    </a:lnTo>
                    <a:lnTo>
                      <a:pt x="19" y="45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4" y="45"/>
                    </a:lnTo>
                    <a:lnTo>
                      <a:pt x="26" y="45"/>
                    </a:lnTo>
                    <a:lnTo>
                      <a:pt x="26" y="45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31" y="43"/>
                    </a:lnTo>
                    <a:lnTo>
                      <a:pt x="31" y="43"/>
                    </a:lnTo>
                    <a:lnTo>
                      <a:pt x="33" y="43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3"/>
                    </a:lnTo>
                    <a:lnTo>
                      <a:pt x="43" y="31"/>
                    </a:lnTo>
                    <a:lnTo>
                      <a:pt x="43" y="29"/>
                    </a:lnTo>
                    <a:lnTo>
                      <a:pt x="45" y="29"/>
                    </a:lnTo>
                    <a:lnTo>
                      <a:pt x="45" y="29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2" y="19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5" y="12"/>
                    </a:lnTo>
                    <a:lnTo>
                      <a:pt x="55" y="10"/>
                    </a:lnTo>
                    <a:lnTo>
                      <a:pt x="52" y="10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2" y="5"/>
                    </a:lnTo>
                    <a:lnTo>
                      <a:pt x="62" y="5"/>
                    </a:lnTo>
                    <a:lnTo>
                      <a:pt x="64" y="5"/>
                    </a:lnTo>
                    <a:lnTo>
                      <a:pt x="64" y="7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6" y="12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69" y="17"/>
                    </a:lnTo>
                    <a:lnTo>
                      <a:pt x="71" y="17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22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71" y="22"/>
                    </a:lnTo>
                    <a:lnTo>
                      <a:pt x="71" y="24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6" y="24"/>
                    </a:lnTo>
                    <a:lnTo>
                      <a:pt x="81" y="24"/>
                    </a:lnTo>
                    <a:lnTo>
                      <a:pt x="81" y="24"/>
                    </a:lnTo>
                    <a:lnTo>
                      <a:pt x="81" y="24"/>
                    </a:lnTo>
                    <a:lnTo>
                      <a:pt x="81" y="22"/>
                    </a:lnTo>
                    <a:lnTo>
                      <a:pt x="83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92" y="19"/>
                    </a:lnTo>
                    <a:lnTo>
                      <a:pt x="92" y="19"/>
                    </a:lnTo>
                    <a:lnTo>
                      <a:pt x="95" y="19"/>
                    </a:lnTo>
                    <a:lnTo>
                      <a:pt x="95" y="19"/>
                    </a:lnTo>
                    <a:lnTo>
                      <a:pt x="95" y="22"/>
                    </a:lnTo>
                    <a:lnTo>
                      <a:pt x="95" y="24"/>
                    </a:lnTo>
                    <a:lnTo>
                      <a:pt x="100" y="26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4" y="29"/>
                    </a:lnTo>
                    <a:lnTo>
                      <a:pt x="107" y="31"/>
                    </a:lnTo>
                    <a:lnTo>
                      <a:pt x="116" y="33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8" y="38"/>
                    </a:lnTo>
                    <a:lnTo>
                      <a:pt x="121" y="38"/>
                    </a:lnTo>
                    <a:lnTo>
                      <a:pt x="123" y="43"/>
                    </a:lnTo>
                    <a:lnTo>
                      <a:pt x="123" y="43"/>
                    </a:lnTo>
                    <a:lnTo>
                      <a:pt x="126" y="45"/>
                    </a:lnTo>
                    <a:lnTo>
                      <a:pt x="128" y="48"/>
                    </a:lnTo>
                    <a:lnTo>
                      <a:pt x="128" y="48"/>
                    </a:lnTo>
                    <a:lnTo>
                      <a:pt x="128" y="48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28" y="52"/>
                    </a:lnTo>
                    <a:lnTo>
                      <a:pt x="128" y="52"/>
                    </a:lnTo>
                    <a:lnTo>
                      <a:pt x="128" y="52"/>
                    </a:lnTo>
                    <a:lnTo>
                      <a:pt x="128" y="55"/>
                    </a:lnTo>
                    <a:lnTo>
                      <a:pt x="130" y="52"/>
                    </a:lnTo>
                    <a:lnTo>
                      <a:pt x="133" y="50"/>
                    </a:lnTo>
                    <a:lnTo>
                      <a:pt x="137" y="55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9"/>
                    </a:lnTo>
                    <a:lnTo>
                      <a:pt x="137" y="59"/>
                    </a:lnTo>
                    <a:lnTo>
                      <a:pt x="140" y="57"/>
                    </a:lnTo>
                    <a:lnTo>
                      <a:pt x="142" y="57"/>
                    </a:lnTo>
                    <a:lnTo>
                      <a:pt x="144" y="55"/>
                    </a:lnTo>
                    <a:lnTo>
                      <a:pt x="144" y="55"/>
                    </a:lnTo>
                    <a:lnTo>
                      <a:pt x="147" y="57"/>
                    </a:lnTo>
                    <a:lnTo>
                      <a:pt x="149" y="57"/>
                    </a:lnTo>
                    <a:lnTo>
                      <a:pt x="152" y="59"/>
                    </a:lnTo>
                    <a:lnTo>
                      <a:pt x="149" y="62"/>
                    </a:lnTo>
                    <a:lnTo>
                      <a:pt x="152" y="64"/>
                    </a:lnTo>
                    <a:lnTo>
                      <a:pt x="152" y="62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9" y="69"/>
                    </a:lnTo>
                    <a:lnTo>
                      <a:pt x="161" y="71"/>
                    </a:lnTo>
                    <a:lnTo>
                      <a:pt x="163" y="74"/>
                    </a:lnTo>
                    <a:lnTo>
                      <a:pt x="166" y="74"/>
                    </a:lnTo>
                    <a:lnTo>
                      <a:pt x="166" y="71"/>
                    </a:lnTo>
                    <a:lnTo>
                      <a:pt x="166" y="71"/>
                    </a:lnTo>
                    <a:lnTo>
                      <a:pt x="166" y="71"/>
                    </a:lnTo>
                    <a:lnTo>
                      <a:pt x="166" y="71"/>
                    </a:lnTo>
                    <a:lnTo>
                      <a:pt x="166" y="69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68" y="62"/>
                    </a:lnTo>
                    <a:lnTo>
                      <a:pt x="170" y="59"/>
                    </a:lnTo>
                    <a:lnTo>
                      <a:pt x="173" y="59"/>
                    </a:lnTo>
                    <a:lnTo>
                      <a:pt x="175" y="59"/>
                    </a:lnTo>
                    <a:lnTo>
                      <a:pt x="173" y="59"/>
                    </a:lnTo>
                    <a:lnTo>
                      <a:pt x="175" y="59"/>
                    </a:lnTo>
                    <a:lnTo>
                      <a:pt x="177" y="59"/>
                    </a:lnTo>
                    <a:lnTo>
                      <a:pt x="177" y="59"/>
                    </a:lnTo>
                    <a:lnTo>
                      <a:pt x="177" y="62"/>
                    </a:lnTo>
                    <a:lnTo>
                      <a:pt x="185" y="62"/>
                    </a:lnTo>
                    <a:lnTo>
                      <a:pt x="189" y="59"/>
                    </a:lnTo>
                    <a:lnTo>
                      <a:pt x="196" y="59"/>
                    </a:lnTo>
                    <a:lnTo>
                      <a:pt x="199" y="59"/>
                    </a:lnTo>
                    <a:lnTo>
                      <a:pt x="201" y="64"/>
                    </a:lnTo>
                    <a:lnTo>
                      <a:pt x="203" y="64"/>
                    </a:lnTo>
                    <a:lnTo>
                      <a:pt x="203" y="64"/>
                    </a:lnTo>
                    <a:lnTo>
                      <a:pt x="203" y="64"/>
                    </a:lnTo>
                    <a:lnTo>
                      <a:pt x="203" y="64"/>
                    </a:lnTo>
                    <a:lnTo>
                      <a:pt x="203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8" y="66"/>
                    </a:lnTo>
                    <a:lnTo>
                      <a:pt x="208" y="66"/>
                    </a:lnTo>
                    <a:lnTo>
                      <a:pt x="208" y="69"/>
                    </a:lnTo>
                    <a:lnTo>
                      <a:pt x="211" y="66"/>
                    </a:lnTo>
                    <a:lnTo>
                      <a:pt x="211" y="66"/>
                    </a:lnTo>
                    <a:lnTo>
                      <a:pt x="213" y="66"/>
                    </a:lnTo>
                    <a:lnTo>
                      <a:pt x="213" y="66"/>
                    </a:lnTo>
                    <a:lnTo>
                      <a:pt x="213" y="66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2"/>
                    </a:lnTo>
                    <a:lnTo>
                      <a:pt x="220" y="59"/>
                    </a:lnTo>
                    <a:lnTo>
                      <a:pt x="222" y="57"/>
                    </a:lnTo>
                    <a:lnTo>
                      <a:pt x="222" y="57"/>
                    </a:lnTo>
                    <a:lnTo>
                      <a:pt x="222" y="57"/>
                    </a:lnTo>
                    <a:lnTo>
                      <a:pt x="222" y="55"/>
                    </a:lnTo>
                    <a:lnTo>
                      <a:pt x="225" y="55"/>
                    </a:lnTo>
                    <a:lnTo>
                      <a:pt x="225" y="55"/>
                    </a:lnTo>
                    <a:lnTo>
                      <a:pt x="227" y="55"/>
                    </a:lnTo>
                    <a:lnTo>
                      <a:pt x="227" y="52"/>
                    </a:lnTo>
                    <a:lnTo>
                      <a:pt x="227" y="52"/>
                    </a:lnTo>
                    <a:lnTo>
                      <a:pt x="227" y="52"/>
                    </a:lnTo>
                    <a:lnTo>
                      <a:pt x="229" y="52"/>
                    </a:lnTo>
                    <a:lnTo>
                      <a:pt x="229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2"/>
                    </a:lnTo>
                    <a:lnTo>
                      <a:pt x="232" y="52"/>
                    </a:lnTo>
                    <a:lnTo>
                      <a:pt x="234" y="52"/>
                    </a:lnTo>
                    <a:lnTo>
                      <a:pt x="237" y="52"/>
                    </a:lnTo>
                    <a:lnTo>
                      <a:pt x="237" y="52"/>
                    </a:lnTo>
                    <a:lnTo>
                      <a:pt x="239" y="52"/>
                    </a:lnTo>
                    <a:lnTo>
                      <a:pt x="239" y="52"/>
                    </a:lnTo>
                    <a:lnTo>
                      <a:pt x="241" y="50"/>
                    </a:lnTo>
                    <a:lnTo>
                      <a:pt x="239" y="50"/>
                    </a:lnTo>
                    <a:lnTo>
                      <a:pt x="239" y="50"/>
                    </a:lnTo>
                    <a:lnTo>
                      <a:pt x="241" y="50"/>
                    </a:lnTo>
                    <a:lnTo>
                      <a:pt x="241" y="50"/>
                    </a:lnTo>
                    <a:lnTo>
                      <a:pt x="244" y="50"/>
                    </a:lnTo>
                    <a:lnTo>
                      <a:pt x="244" y="48"/>
                    </a:lnTo>
                    <a:lnTo>
                      <a:pt x="246" y="48"/>
                    </a:lnTo>
                    <a:lnTo>
                      <a:pt x="246" y="45"/>
                    </a:lnTo>
                    <a:lnTo>
                      <a:pt x="246" y="48"/>
                    </a:lnTo>
                    <a:lnTo>
                      <a:pt x="246" y="45"/>
                    </a:lnTo>
                    <a:lnTo>
                      <a:pt x="248" y="48"/>
                    </a:lnTo>
                    <a:lnTo>
                      <a:pt x="248" y="45"/>
                    </a:lnTo>
                    <a:lnTo>
                      <a:pt x="248" y="45"/>
                    </a:lnTo>
                    <a:lnTo>
                      <a:pt x="251" y="45"/>
                    </a:lnTo>
                    <a:lnTo>
                      <a:pt x="251" y="45"/>
                    </a:lnTo>
                    <a:lnTo>
                      <a:pt x="251" y="45"/>
                    </a:lnTo>
                    <a:lnTo>
                      <a:pt x="251" y="48"/>
                    </a:lnTo>
                    <a:lnTo>
                      <a:pt x="253" y="48"/>
                    </a:lnTo>
                    <a:lnTo>
                      <a:pt x="253" y="45"/>
                    </a:lnTo>
                    <a:lnTo>
                      <a:pt x="253" y="48"/>
                    </a:lnTo>
                    <a:lnTo>
                      <a:pt x="255" y="45"/>
                    </a:lnTo>
                    <a:lnTo>
                      <a:pt x="255" y="45"/>
                    </a:lnTo>
                    <a:lnTo>
                      <a:pt x="255" y="43"/>
                    </a:lnTo>
                    <a:lnTo>
                      <a:pt x="255" y="43"/>
                    </a:lnTo>
                    <a:lnTo>
                      <a:pt x="253" y="40"/>
                    </a:lnTo>
                    <a:lnTo>
                      <a:pt x="251" y="40"/>
                    </a:lnTo>
                    <a:lnTo>
                      <a:pt x="251" y="40"/>
                    </a:lnTo>
                    <a:lnTo>
                      <a:pt x="251" y="38"/>
                    </a:lnTo>
                    <a:lnTo>
                      <a:pt x="251" y="38"/>
                    </a:lnTo>
                    <a:lnTo>
                      <a:pt x="251" y="36"/>
                    </a:lnTo>
                    <a:lnTo>
                      <a:pt x="253" y="36"/>
                    </a:lnTo>
                    <a:lnTo>
                      <a:pt x="255" y="36"/>
                    </a:lnTo>
                    <a:lnTo>
                      <a:pt x="258" y="33"/>
                    </a:lnTo>
                    <a:lnTo>
                      <a:pt x="258" y="33"/>
                    </a:lnTo>
                    <a:lnTo>
                      <a:pt x="258" y="33"/>
                    </a:lnTo>
                    <a:lnTo>
                      <a:pt x="258" y="31"/>
                    </a:lnTo>
                    <a:lnTo>
                      <a:pt x="260" y="29"/>
                    </a:lnTo>
                    <a:lnTo>
                      <a:pt x="260" y="29"/>
                    </a:lnTo>
                    <a:lnTo>
                      <a:pt x="260" y="29"/>
                    </a:lnTo>
                    <a:lnTo>
                      <a:pt x="263" y="29"/>
                    </a:lnTo>
                    <a:lnTo>
                      <a:pt x="263" y="29"/>
                    </a:lnTo>
                    <a:lnTo>
                      <a:pt x="265" y="29"/>
                    </a:lnTo>
                    <a:lnTo>
                      <a:pt x="265" y="29"/>
                    </a:lnTo>
                    <a:lnTo>
                      <a:pt x="267" y="29"/>
                    </a:lnTo>
                    <a:lnTo>
                      <a:pt x="267" y="29"/>
                    </a:lnTo>
                    <a:lnTo>
                      <a:pt x="267" y="29"/>
                    </a:lnTo>
                    <a:lnTo>
                      <a:pt x="270" y="26"/>
                    </a:lnTo>
                    <a:lnTo>
                      <a:pt x="270" y="24"/>
                    </a:lnTo>
                    <a:lnTo>
                      <a:pt x="270" y="24"/>
                    </a:lnTo>
                    <a:lnTo>
                      <a:pt x="272" y="24"/>
                    </a:lnTo>
                    <a:lnTo>
                      <a:pt x="270" y="22"/>
                    </a:lnTo>
                    <a:lnTo>
                      <a:pt x="270" y="22"/>
                    </a:lnTo>
                    <a:lnTo>
                      <a:pt x="267" y="19"/>
                    </a:lnTo>
                    <a:lnTo>
                      <a:pt x="270" y="17"/>
                    </a:lnTo>
                    <a:lnTo>
                      <a:pt x="274" y="14"/>
                    </a:lnTo>
                    <a:lnTo>
                      <a:pt x="277" y="12"/>
                    </a:lnTo>
                    <a:lnTo>
                      <a:pt x="281" y="12"/>
                    </a:lnTo>
                    <a:lnTo>
                      <a:pt x="284" y="12"/>
                    </a:lnTo>
                    <a:lnTo>
                      <a:pt x="286" y="10"/>
                    </a:lnTo>
                    <a:lnTo>
                      <a:pt x="289" y="10"/>
                    </a:lnTo>
                    <a:lnTo>
                      <a:pt x="289" y="10"/>
                    </a:lnTo>
                    <a:lnTo>
                      <a:pt x="289" y="10"/>
                    </a:lnTo>
                    <a:lnTo>
                      <a:pt x="289" y="10"/>
                    </a:lnTo>
                    <a:lnTo>
                      <a:pt x="291" y="10"/>
                    </a:lnTo>
                    <a:lnTo>
                      <a:pt x="293" y="7"/>
                    </a:lnTo>
                    <a:lnTo>
                      <a:pt x="293" y="7"/>
                    </a:lnTo>
                    <a:lnTo>
                      <a:pt x="296" y="7"/>
                    </a:lnTo>
                    <a:lnTo>
                      <a:pt x="296" y="5"/>
                    </a:lnTo>
                    <a:lnTo>
                      <a:pt x="296" y="5"/>
                    </a:lnTo>
                    <a:lnTo>
                      <a:pt x="296" y="5"/>
                    </a:lnTo>
                    <a:lnTo>
                      <a:pt x="298" y="5"/>
                    </a:lnTo>
                    <a:lnTo>
                      <a:pt x="298" y="5"/>
                    </a:lnTo>
                    <a:lnTo>
                      <a:pt x="298" y="5"/>
                    </a:lnTo>
                    <a:lnTo>
                      <a:pt x="303" y="5"/>
                    </a:lnTo>
                    <a:lnTo>
                      <a:pt x="305" y="5"/>
                    </a:lnTo>
                    <a:lnTo>
                      <a:pt x="305" y="5"/>
                    </a:lnTo>
                    <a:lnTo>
                      <a:pt x="307" y="5"/>
                    </a:lnTo>
                    <a:lnTo>
                      <a:pt x="307" y="5"/>
                    </a:lnTo>
                    <a:lnTo>
                      <a:pt x="310" y="5"/>
                    </a:lnTo>
                    <a:lnTo>
                      <a:pt x="312" y="3"/>
                    </a:lnTo>
                    <a:lnTo>
                      <a:pt x="312" y="3"/>
                    </a:lnTo>
                    <a:lnTo>
                      <a:pt x="312" y="5"/>
                    </a:lnTo>
                    <a:lnTo>
                      <a:pt x="312" y="5"/>
                    </a:lnTo>
                    <a:lnTo>
                      <a:pt x="312" y="5"/>
                    </a:lnTo>
                    <a:lnTo>
                      <a:pt x="312" y="7"/>
                    </a:lnTo>
                    <a:lnTo>
                      <a:pt x="312" y="10"/>
                    </a:lnTo>
                    <a:lnTo>
                      <a:pt x="312" y="10"/>
                    </a:lnTo>
                    <a:lnTo>
                      <a:pt x="312" y="10"/>
                    </a:lnTo>
                    <a:lnTo>
                      <a:pt x="315" y="10"/>
                    </a:lnTo>
                    <a:lnTo>
                      <a:pt x="315" y="12"/>
                    </a:lnTo>
                    <a:lnTo>
                      <a:pt x="317" y="12"/>
                    </a:lnTo>
                    <a:lnTo>
                      <a:pt x="319" y="12"/>
                    </a:lnTo>
                    <a:lnTo>
                      <a:pt x="319" y="12"/>
                    </a:lnTo>
                    <a:lnTo>
                      <a:pt x="322" y="12"/>
                    </a:lnTo>
                    <a:lnTo>
                      <a:pt x="322" y="10"/>
                    </a:lnTo>
                    <a:lnTo>
                      <a:pt x="324" y="12"/>
                    </a:lnTo>
                    <a:lnTo>
                      <a:pt x="324" y="10"/>
                    </a:lnTo>
                    <a:lnTo>
                      <a:pt x="326" y="10"/>
                    </a:lnTo>
                    <a:lnTo>
                      <a:pt x="329" y="7"/>
                    </a:lnTo>
                    <a:lnTo>
                      <a:pt x="329" y="7"/>
                    </a:lnTo>
                    <a:lnTo>
                      <a:pt x="331" y="7"/>
                    </a:lnTo>
                    <a:lnTo>
                      <a:pt x="331" y="7"/>
                    </a:lnTo>
                    <a:lnTo>
                      <a:pt x="331" y="7"/>
                    </a:lnTo>
                    <a:lnTo>
                      <a:pt x="333" y="5"/>
                    </a:lnTo>
                    <a:lnTo>
                      <a:pt x="336" y="5"/>
                    </a:lnTo>
                    <a:lnTo>
                      <a:pt x="338" y="3"/>
                    </a:lnTo>
                    <a:lnTo>
                      <a:pt x="338" y="3"/>
                    </a:lnTo>
                    <a:lnTo>
                      <a:pt x="338" y="3"/>
                    </a:lnTo>
                    <a:lnTo>
                      <a:pt x="340" y="3"/>
                    </a:lnTo>
                    <a:lnTo>
                      <a:pt x="340" y="0"/>
                    </a:lnTo>
                    <a:lnTo>
                      <a:pt x="343" y="0"/>
                    </a:lnTo>
                    <a:lnTo>
                      <a:pt x="343" y="0"/>
                    </a:lnTo>
                    <a:lnTo>
                      <a:pt x="343" y="0"/>
                    </a:lnTo>
                    <a:lnTo>
                      <a:pt x="343" y="0"/>
                    </a:lnTo>
                    <a:lnTo>
                      <a:pt x="345" y="0"/>
                    </a:lnTo>
                    <a:lnTo>
                      <a:pt x="348" y="0"/>
                    </a:lnTo>
                    <a:lnTo>
                      <a:pt x="348" y="0"/>
                    </a:lnTo>
                    <a:lnTo>
                      <a:pt x="348" y="0"/>
                    </a:lnTo>
                    <a:lnTo>
                      <a:pt x="348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52" y="3"/>
                    </a:lnTo>
                    <a:lnTo>
                      <a:pt x="355" y="3"/>
                    </a:lnTo>
                    <a:lnTo>
                      <a:pt x="357" y="3"/>
                    </a:lnTo>
                    <a:lnTo>
                      <a:pt x="357" y="3"/>
                    </a:lnTo>
                    <a:lnTo>
                      <a:pt x="359" y="3"/>
                    </a:lnTo>
                    <a:lnTo>
                      <a:pt x="359" y="3"/>
                    </a:lnTo>
                    <a:lnTo>
                      <a:pt x="359" y="3"/>
                    </a:lnTo>
                    <a:lnTo>
                      <a:pt x="362" y="3"/>
                    </a:lnTo>
                    <a:lnTo>
                      <a:pt x="366" y="5"/>
                    </a:lnTo>
                    <a:lnTo>
                      <a:pt x="374" y="7"/>
                    </a:lnTo>
                    <a:lnTo>
                      <a:pt x="376" y="7"/>
                    </a:lnTo>
                    <a:lnTo>
                      <a:pt x="376" y="7"/>
                    </a:lnTo>
                    <a:lnTo>
                      <a:pt x="381" y="10"/>
                    </a:lnTo>
                    <a:lnTo>
                      <a:pt x="381" y="7"/>
                    </a:lnTo>
                    <a:lnTo>
                      <a:pt x="383" y="10"/>
                    </a:lnTo>
                    <a:lnTo>
                      <a:pt x="385" y="10"/>
                    </a:lnTo>
                    <a:lnTo>
                      <a:pt x="385" y="10"/>
                    </a:lnTo>
                    <a:lnTo>
                      <a:pt x="390" y="10"/>
                    </a:lnTo>
                    <a:lnTo>
                      <a:pt x="392" y="10"/>
                    </a:lnTo>
                    <a:lnTo>
                      <a:pt x="392" y="12"/>
                    </a:lnTo>
                    <a:lnTo>
                      <a:pt x="392" y="12"/>
                    </a:lnTo>
                    <a:lnTo>
                      <a:pt x="390" y="14"/>
                    </a:lnTo>
                    <a:lnTo>
                      <a:pt x="390" y="17"/>
                    </a:lnTo>
                    <a:lnTo>
                      <a:pt x="388" y="19"/>
                    </a:lnTo>
                    <a:lnTo>
                      <a:pt x="388" y="22"/>
                    </a:lnTo>
                    <a:lnTo>
                      <a:pt x="385" y="24"/>
                    </a:lnTo>
                    <a:lnTo>
                      <a:pt x="383" y="26"/>
                    </a:lnTo>
                    <a:lnTo>
                      <a:pt x="383" y="26"/>
                    </a:lnTo>
                    <a:lnTo>
                      <a:pt x="381" y="29"/>
                    </a:lnTo>
                    <a:lnTo>
                      <a:pt x="381" y="31"/>
                    </a:lnTo>
                    <a:lnTo>
                      <a:pt x="381" y="31"/>
                    </a:lnTo>
                    <a:lnTo>
                      <a:pt x="381" y="31"/>
                    </a:lnTo>
                    <a:lnTo>
                      <a:pt x="381" y="33"/>
                    </a:lnTo>
                    <a:lnTo>
                      <a:pt x="378" y="33"/>
                    </a:lnTo>
                    <a:lnTo>
                      <a:pt x="378" y="36"/>
                    </a:lnTo>
                    <a:lnTo>
                      <a:pt x="378" y="36"/>
                    </a:lnTo>
                    <a:lnTo>
                      <a:pt x="378" y="38"/>
                    </a:lnTo>
                    <a:lnTo>
                      <a:pt x="378" y="38"/>
                    </a:lnTo>
                    <a:lnTo>
                      <a:pt x="376" y="40"/>
                    </a:lnTo>
                    <a:lnTo>
                      <a:pt x="376" y="43"/>
                    </a:lnTo>
                    <a:lnTo>
                      <a:pt x="376" y="43"/>
                    </a:lnTo>
                    <a:lnTo>
                      <a:pt x="374" y="43"/>
                    </a:lnTo>
                    <a:lnTo>
                      <a:pt x="374" y="45"/>
                    </a:lnTo>
                    <a:lnTo>
                      <a:pt x="374" y="48"/>
                    </a:lnTo>
                    <a:lnTo>
                      <a:pt x="374" y="48"/>
                    </a:lnTo>
                    <a:lnTo>
                      <a:pt x="371" y="50"/>
                    </a:lnTo>
                    <a:lnTo>
                      <a:pt x="371" y="50"/>
                    </a:lnTo>
                    <a:lnTo>
                      <a:pt x="371" y="50"/>
                    </a:lnTo>
                    <a:lnTo>
                      <a:pt x="369" y="52"/>
                    </a:lnTo>
                    <a:lnTo>
                      <a:pt x="369" y="52"/>
                    </a:lnTo>
                    <a:lnTo>
                      <a:pt x="369" y="55"/>
                    </a:lnTo>
                    <a:lnTo>
                      <a:pt x="366" y="57"/>
                    </a:lnTo>
                    <a:lnTo>
                      <a:pt x="364" y="59"/>
                    </a:lnTo>
                    <a:lnTo>
                      <a:pt x="362" y="59"/>
                    </a:lnTo>
                    <a:lnTo>
                      <a:pt x="362" y="62"/>
                    </a:lnTo>
                    <a:lnTo>
                      <a:pt x="359" y="64"/>
                    </a:lnTo>
                    <a:lnTo>
                      <a:pt x="359" y="64"/>
                    </a:lnTo>
                    <a:lnTo>
                      <a:pt x="359" y="64"/>
                    </a:lnTo>
                    <a:lnTo>
                      <a:pt x="357" y="66"/>
                    </a:lnTo>
                    <a:lnTo>
                      <a:pt x="357" y="66"/>
                    </a:lnTo>
                    <a:lnTo>
                      <a:pt x="357" y="66"/>
                    </a:lnTo>
                    <a:lnTo>
                      <a:pt x="352" y="69"/>
                    </a:lnTo>
                    <a:lnTo>
                      <a:pt x="352" y="69"/>
                    </a:lnTo>
                    <a:lnTo>
                      <a:pt x="350" y="71"/>
                    </a:lnTo>
                    <a:lnTo>
                      <a:pt x="350" y="74"/>
                    </a:lnTo>
                    <a:lnTo>
                      <a:pt x="348" y="78"/>
                    </a:lnTo>
                    <a:lnTo>
                      <a:pt x="348" y="81"/>
                    </a:lnTo>
                    <a:lnTo>
                      <a:pt x="345" y="81"/>
                    </a:lnTo>
                    <a:lnTo>
                      <a:pt x="345" y="83"/>
                    </a:lnTo>
                    <a:lnTo>
                      <a:pt x="343" y="83"/>
                    </a:lnTo>
                    <a:lnTo>
                      <a:pt x="340" y="85"/>
                    </a:lnTo>
                    <a:lnTo>
                      <a:pt x="340" y="88"/>
                    </a:lnTo>
                    <a:lnTo>
                      <a:pt x="338" y="90"/>
                    </a:lnTo>
                    <a:lnTo>
                      <a:pt x="338" y="92"/>
                    </a:lnTo>
                    <a:lnTo>
                      <a:pt x="336" y="92"/>
                    </a:lnTo>
                    <a:lnTo>
                      <a:pt x="333" y="95"/>
                    </a:lnTo>
                    <a:lnTo>
                      <a:pt x="333" y="95"/>
                    </a:lnTo>
                    <a:lnTo>
                      <a:pt x="331" y="95"/>
                    </a:lnTo>
                    <a:lnTo>
                      <a:pt x="331" y="97"/>
                    </a:lnTo>
                    <a:lnTo>
                      <a:pt x="329" y="97"/>
                    </a:lnTo>
                    <a:lnTo>
                      <a:pt x="329" y="99"/>
                    </a:lnTo>
                    <a:lnTo>
                      <a:pt x="326" y="102"/>
                    </a:lnTo>
                    <a:lnTo>
                      <a:pt x="324" y="104"/>
                    </a:lnTo>
                    <a:lnTo>
                      <a:pt x="324" y="107"/>
                    </a:lnTo>
                    <a:lnTo>
                      <a:pt x="324" y="107"/>
                    </a:lnTo>
                    <a:lnTo>
                      <a:pt x="324" y="111"/>
                    </a:lnTo>
                    <a:lnTo>
                      <a:pt x="322" y="111"/>
                    </a:lnTo>
                    <a:lnTo>
                      <a:pt x="319" y="114"/>
                    </a:lnTo>
                    <a:lnTo>
                      <a:pt x="319" y="111"/>
                    </a:lnTo>
                    <a:lnTo>
                      <a:pt x="319" y="111"/>
                    </a:lnTo>
                    <a:lnTo>
                      <a:pt x="319" y="111"/>
                    </a:lnTo>
                    <a:lnTo>
                      <a:pt x="319" y="111"/>
                    </a:lnTo>
                    <a:lnTo>
                      <a:pt x="315" y="111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0" y="118"/>
                    </a:lnTo>
                    <a:lnTo>
                      <a:pt x="307" y="121"/>
                    </a:lnTo>
                    <a:lnTo>
                      <a:pt x="310" y="121"/>
                    </a:lnTo>
                    <a:lnTo>
                      <a:pt x="303" y="125"/>
                    </a:lnTo>
                    <a:lnTo>
                      <a:pt x="300" y="130"/>
                    </a:lnTo>
                    <a:lnTo>
                      <a:pt x="298" y="133"/>
                    </a:lnTo>
                    <a:lnTo>
                      <a:pt x="298" y="137"/>
                    </a:lnTo>
                    <a:lnTo>
                      <a:pt x="293" y="142"/>
                    </a:lnTo>
                    <a:lnTo>
                      <a:pt x="289" y="147"/>
                    </a:lnTo>
                    <a:lnTo>
                      <a:pt x="289" y="149"/>
                    </a:lnTo>
                    <a:lnTo>
                      <a:pt x="284" y="154"/>
                    </a:lnTo>
                    <a:lnTo>
                      <a:pt x="281" y="161"/>
                    </a:lnTo>
                    <a:lnTo>
                      <a:pt x="279" y="161"/>
                    </a:lnTo>
                    <a:lnTo>
                      <a:pt x="279" y="163"/>
                    </a:lnTo>
                    <a:lnTo>
                      <a:pt x="277" y="166"/>
                    </a:lnTo>
                    <a:lnTo>
                      <a:pt x="277" y="166"/>
                    </a:lnTo>
                    <a:lnTo>
                      <a:pt x="274" y="166"/>
                    </a:lnTo>
                    <a:lnTo>
                      <a:pt x="270" y="170"/>
                    </a:lnTo>
                    <a:lnTo>
                      <a:pt x="270" y="173"/>
                    </a:lnTo>
                    <a:lnTo>
                      <a:pt x="267" y="175"/>
                    </a:lnTo>
                    <a:lnTo>
                      <a:pt x="267" y="175"/>
                    </a:lnTo>
                    <a:lnTo>
                      <a:pt x="267" y="175"/>
                    </a:lnTo>
                    <a:lnTo>
                      <a:pt x="265" y="175"/>
                    </a:lnTo>
                    <a:lnTo>
                      <a:pt x="263" y="177"/>
                    </a:lnTo>
                    <a:lnTo>
                      <a:pt x="260" y="180"/>
                    </a:lnTo>
                    <a:lnTo>
                      <a:pt x="258" y="182"/>
                    </a:lnTo>
                    <a:lnTo>
                      <a:pt x="255" y="187"/>
                    </a:lnTo>
                    <a:lnTo>
                      <a:pt x="251" y="189"/>
                    </a:lnTo>
                    <a:lnTo>
                      <a:pt x="248" y="194"/>
                    </a:lnTo>
                    <a:lnTo>
                      <a:pt x="246" y="194"/>
                    </a:lnTo>
                    <a:lnTo>
                      <a:pt x="246" y="196"/>
                    </a:lnTo>
                    <a:lnTo>
                      <a:pt x="246" y="199"/>
                    </a:lnTo>
                    <a:lnTo>
                      <a:pt x="248" y="199"/>
                    </a:lnTo>
                    <a:lnTo>
                      <a:pt x="248" y="201"/>
                    </a:lnTo>
                    <a:lnTo>
                      <a:pt x="246" y="201"/>
                    </a:lnTo>
                    <a:lnTo>
                      <a:pt x="246" y="201"/>
                    </a:lnTo>
                    <a:lnTo>
                      <a:pt x="241" y="206"/>
                    </a:lnTo>
                    <a:lnTo>
                      <a:pt x="237" y="218"/>
                    </a:lnTo>
                    <a:lnTo>
                      <a:pt x="237" y="218"/>
                    </a:lnTo>
                    <a:lnTo>
                      <a:pt x="237" y="220"/>
                    </a:lnTo>
                    <a:lnTo>
                      <a:pt x="234" y="218"/>
                    </a:lnTo>
                    <a:lnTo>
                      <a:pt x="234" y="218"/>
                    </a:lnTo>
                    <a:lnTo>
                      <a:pt x="232" y="213"/>
                    </a:lnTo>
                    <a:lnTo>
                      <a:pt x="229" y="208"/>
                    </a:lnTo>
                    <a:lnTo>
                      <a:pt x="229" y="208"/>
                    </a:lnTo>
                    <a:lnTo>
                      <a:pt x="227" y="208"/>
                    </a:lnTo>
                    <a:lnTo>
                      <a:pt x="227" y="206"/>
                    </a:lnTo>
                    <a:lnTo>
                      <a:pt x="222" y="208"/>
                    </a:lnTo>
                    <a:lnTo>
                      <a:pt x="222" y="208"/>
                    </a:lnTo>
                    <a:lnTo>
                      <a:pt x="222" y="208"/>
                    </a:lnTo>
                    <a:lnTo>
                      <a:pt x="220" y="211"/>
                    </a:lnTo>
                    <a:lnTo>
                      <a:pt x="220" y="211"/>
                    </a:lnTo>
                    <a:lnTo>
                      <a:pt x="220" y="208"/>
                    </a:lnTo>
                    <a:lnTo>
                      <a:pt x="220" y="208"/>
                    </a:lnTo>
                    <a:lnTo>
                      <a:pt x="215" y="208"/>
                    </a:lnTo>
                    <a:lnTo>
                      <a:pt x="215" y="211"/>
                    </a:lnTo>
                    <a:lnTo>
                      <a:pt x="213" y="208"/>
                    </a:lnTo>
                    <a:lnTo>
                      <a:pt x="213" y="206"/>
                    </a:lnTo>
                    <a:lnTo>
                      <a:pt x="213" y="201"/>
                    </a:lnTo>
                    <a:lnTo>
                      <a:pt x="213" y="196"/>
                    </a:lnTo>
                    <a:lnTo>
                      <a:pt x="213" y="196"/>
                    </a:lnTo>
                    <a:lnTo>
                      <a:pt x="211" y="194"/>
                    </a:lnTo>
                    <a:lnTo>
                      <a:pt x="211" y="192"/>
                    </a:lnTo>
                    <a:lnTo>
                      <a:pt x="206" y="189"/>
                    </a:lnTo>
                    <a:lnTo>
                      <a:pt x="206" y="189"/>
                    </a:lnTo>
                    <a:lnTo>
                      <a:pt x="206" y="187"/>
                    </a:lnTo>
                    <a:lnTo>
                      <a:pt x="206" y="187"/>
                    </a:lnTo>
                    <a:lnTo>
                      <a:pt x="203" y="187"/>
                    </a:lnTo>
                    <a:lnTo>
                      <a:pt x="203" y="187"/>
                    </a:lnTo>
                    <a:lnTo>
                      <a:pt x="201" y="189"/>
                    </a:lnTo>
                    <a:lnTo>
                      <a:pt x="199" y="189"/>
                    </a:lnTo>
                    <a:lnTo>
                      <a:pt x="199" y="189"/>
                    </a:lnTo>
                    <a:lnTo>
                      <a:pt x="196" y="189"/>
                    </a:lnTo>
                    <a:lnTo>
                      <a:pt x="196" y="189"/>
                    </a:lnTo>
                    <a:lnTo>
                      <a:pt x="194" y="189"/>
                    </a:lnTo>
                    <a:lnTo>
                      <a:pt x="194" y="189"/>
                    </a:lnTo>
                    <a:lnTo>
                      <a:pt x="192" y="187"/>
                    </a:lnTo>
                    <a:lnTo>
                      <a:pt x="189" y="187"/>
                    </a:lnTo>
                    <a:lnTo>
                      <a:pt x="189" y="187"/>
                    </a:lnTo>
                    <a:lnTo>
                      <a:pt x="189" y="185"/>
                    </a:lnTo>
                    <a:lnTo>
                      <a:pt x="189" y="185"/>
                    </a:lnTo>
                    <a:lnTo>
                      <a:pt x="187" y="185"/>
                    </a:lnTo>
                    <a:lnTo>
                      <a:pt x="187" y="185"/>
                    </a:lnTo>
                    <a:lnTo>
                      <a:pt x="182" y="182"/>
                    </a:lnTo>
                    <a:lnTo>
                      <a:pt x="182" y="182"/>
                    </a:lnTo>
                    <a:lnTo>
                      <a:pt x="177" y="180"/>
                    </a:lnTo>
                    <a:lnTo>
                      <a:pt x="177" y="180"/>
                    </a:lnTo>
                    <a:lnTo>
                      <a:pt x="177" y="177"/>
                    </a:lnTo>
                    <a:lnTo>
                      <a:pt x="177" y="177"/>
                    </a:lnTo>
                    <a:lnTo>
                      <a:pt x="177" y="177"/>
                    </a:lnTo>
                    <a:lnTo>
                      <a:pt x="177" y="175"/>
                    </a:lnTo>
                    <a:lnTo>
                      <a:pt x="175" y="175"/>
                    </a:lnTo>
                    <a:lnTo>
                      <a:pt x="173" y="173"/>
                    </a:lnTo>
                    <a:lnTo>
                      <a:pt x="168" y="173"/>
                    </a:lnTo>
                    <a:lnTo>
                      <a:pt x="168" y="170"/>
                    </a:lnTo>
                    <a:lnTo>
                      <a:pt x="166" y="168"/>
                    </a:lnTo>
                    <a:lnTo>
                      <a:pt x="166" y="166"/>
                    </a:lnTo>
                    <a:lnTo>
                      <a:pt x="163" y="163"/>
                    </a:lnTo>
                    <a:lnTo>
                      <a:pt x="163" y="163"/>
                    </a:lnTo>
                    <a:lnTo>
                      <a:pt x="163" y="161"/>
                    </a:lnTo>
                    <a:lnTo>
                      <a:pt x="163" y="161"/>
                    </a:lnTo>
                    <a:lnTo>
                      <a:pt x="163" y="161"/>
                    </a:lnTo>
                    <a:lnTo>
                      <a:pt x="163" y="159"/>
                    </a:lnTo>
                    <a:lnTo>
                      <a:pt x="163" y="156"/>
                    </a:lnTo>
                    <a:lnTo>
                      <a:pt x="163" y="154"/>
                    </a:lnTo>
                    <a:lnTo>
                      <a:pt x="163" y="154"/>
                    </a:lnTo>
                    <a:lnTo>
                      <a:pt x="163" y="151"/>
                    </a:lnTo>
                    <a:lnTo>
                      <a:pt x="159" y="151"/>
                    </a:lnTo>
                    <a:lnTo>
                      <a:pt x="159" y="151"/>
                    </a:lnTo>
                    <a:lnTo>
                      <a:pt x="156" y="151"/>
                    </a:lnTo>
                    <a:lnTo>
                      <a:pt x="154" y="151"/>
                    </a:lnTo>
                    <a:lnTo>
                      <a:pt x="154" y="151"/>
                    </a:lnTo>
                    <a:lnTo>
                      <a:pt x="152" y="151"/>
                    </a:lnTo>
                    <a:lnTo>
                      <a:pt x="149" y="149"/>
                    </a:lnTo>
                    <a:lnTo>
                      <a:pt x="142" y="142"/>
                    </a:lnTo>
                    <a:lnTo>
                      <a:pt x="140" y="142"/>
                    </a:lnTo>
                    <a:lnTo>
                      <a:pt x="133" y="140"/>
                    </a:lnTo>
                    <a:lnTo>
                      <a:pt x="130" y="140"/>
                    </a:lnTo>
                    <a:lnTo>
                      <a:pt x="128" y="140"/>
                    </a:lnTo>
                    <a:lnTo>
                      <a:pt x="128" y="140"/>
                    </a:lnTo>
                    <a:lnTo>
                      <a:pt x="128" y="140"/>
                    </a:lnTo>
                    <a:lnTo>
                      <a:pt x="126" y="137"/>
                    </a:lnTo>
                    <a:lnTo>
                      <a:pt x="123" y="135"/>
                    </a:lnTo>
                    <a:lnTo>
                      <a:pt x="121" y="133"/>
                    </a:lnTo>
                    <a:lnTo>
                      <a:pt x="121" y="130"/>
                    </a:lnTo>
                    <a:lnTo>
                      <a:pt x="118" y="130"/>
                    </a:lnTo>
                    <a:lnTo>
                      <a:pt x="114" y="128"/>
                    </a:lnTo>
                    <a:lnTo>
                      <a:pt x="114" y="125"/>
                    </a:lnTo>
                    <a:lnTo>
                      <a:pt x="111" y="125"/>
                    </a:lnTo>
                    <a:lnTo>
                      <a:pt x="111" y="125"/>
                    </a:lnTo>
                    <a:lnTo>
                      <a:pt x="109" y="125"/>
                    </a:lnTo>
                    <a:lnTo>
                      <a:pt x="104" y="123"/>
                    </a:lnTo>
                    <a:lnTo>
                      <a:pt x="104" y="123"/>
                    </a:lnTo>
                    <a:lnTo>
                      <a:pt x="100" y="121"/>
                    </a:lnTo>
                    <a:lnTo>
                      <a:pt x="88" y="121"/>
                    </a:lnTo>
                    <a:lnTo>
                      <a:pt x="85" y="121"/>
                    </a:lnTo>
                    <a:lnTo>
                      <a:pt x="83" y="118"/>
                    </a:lnTo>
                    <a:lnTo>
                      <a:pt x="74" y="114"/>
                    </a:lnTo>
                    <a:lnTo>
                      <a:pt x="74" y="111"/>
                    </a:lnTo>
                    <a:lnTo>
                      <a:pt x="74" y="111"/>
                    </a:lnTo>
                    <a:lnTo>
                      <a:pt x="74" y="109"/>
                    </a:lnTo>
                    <a:lnTo>
                      <a:pt x="71" y="107"/>
                    </a:lnTo>
                    <a:lnTo>
                      <a:pt x="66" y="107"/>
                    </a:lnTo>
                    <a:lnTo>
                      <a:pt x="64" y="104"/>
                    </a:lnTo>
                    <a:lnTo>
                      <a:pt x="62" y="104"/>
                    </a:lnTo>
                    <a:lnTo>
                      <a:pt x="59" y="107"/>
                    </a:lnTo>
                    <a:lnTo>
                      <a:pt x="57" y="107"/>
                    </a:lnTo>
                    <a:lnTo>
                      <a:pt x="57" y="104"/>
                    </a:lnTo>
                    <a:lnTo>
                      <a:pt x="55" y="102"/>
                    </a:lnTo>
                    <a:lnTo>
                      <a:pt x="55" y="102"/>
                    </a:lnTo>
                    <a:lnTo>
                      <a:pt x="55" y="102"/>
                    </a:lnTo>
                    <a:lnTo>
                      <a:pt x="52" y="102"/>
                    </a:lnTo>
                    <a:lnTo>
                      <a:pt x="52" y="99"/>
                    </a:lnTo>
                    <a:lnTo>
                      <a:pt x="50" y="99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0" y="95"/>
                    </a:lnTo>
                    <a:lnTo>
                      <a:pt x="36" y="92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29" y="85"/>
                    </a:lnTo>
                    <a:lnTo>
                      <a:pt x="29" y="85"/>
                    </a:lnTo>
                    <a:lnTo>
                      <a:pt x="26" y="85"/>
                    </a:lnTo>
                    <a:lnTo>
                      <a:pt x="26" y="85"/>
                    </a:lnTo>
                    <a:lnTo>
                      <a:pt x="24" y="83"/>
                    </a:lnTo>
                    <a:lnTo>
                      <a:pt x="22" y="83"/>
                    </a:lnTo>
                    <a:lnTo>
                      <a:pt x="22" y="83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17" y="81"/>
                    </a:lnTo>
                    <a:lnTo>
                      <a:pt x="17" y="81"/>
                    </a:lnTo>
                    <a:lnTo>
                      <a:pt x="17" y="81"/>
                    </a:lnTo>
                    <a:lnTo>
                      <a:pt x="12" y="81"/>
                    </a:lnTo>
                    <a:lnTo>
                      <a:pt x="12" y="81"/>
                    </a:lnTo>
                    <a:lnTo>
                      <a:pt x="10" y="78"/>
                    </a:lnTo>
                    <a:lnTo>
                      <a:pt x="7" y="78"/>
                    </a:lnTo>
                    <a:lnTo>
                      <a:pt x="5" y="78"/>
                    </a:lnTo>
                    <a:lnTo>
                      <a:pt x="5" y="76"/>
                    </a:lnTo>
                    <a:lnTo>
                      <a:pt x="7" y="76"/>
                    </a:lnTo>
                    <a:lnTo>
                      <a:pt x="7" y="74"/>
                    </a:lnTo>
                    <a:lnTo>
                      <a:pt x="5" y="71"/>
                    </a:lnTo>
                    <a:lnTo>
                      <a:pt x="5" y="69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2" name="Freeform 15"/>
              <p:cNvSpPr>
                <a:spLocks/>
              </p:cNvSpPr>
              <p:nvPr/>
            </p:nvSpPr>
            <p:spPr bwMode="auto">
              <a:xfrm>
                <a:off x="5412816" y="3020755"/>
                <a:ext cx="1250661" cy="1363295"/>
              </a:xfrm>
              <a:custGeom>
                <a:avLst/>
                <a:gdLst/>
                <a:ahLst/>
                <a:cxnLst>
                  <a:cxn ang="0">
                    <a:pos x="64" y="272"/>
                  </a:cxn>
                  <a:cxn ang="0">
                    <a:pos x="130" y="206"/>
                  </a:cxn>
                  <a:cxn ang="0">
                    <a:pos x="187" y="300"/>
                  </a:cxn>
                  <a:cxn ang="0">
                    <a:pos x="258" y="274"/>
                  </a:cxn>
                  <a:cxn ang="0">
                    <a:pos x="338" y="246"/>
                  </a:cxn>
                  <a:cxn ang="0">
                    <a:pos x="369" y="166"/>
                  </a:cxn>
                  <a:cxn ang="0">
                    <a:pos x="423" y="116"/>
                  </a:cxn>
                  <a:cxn ang="0">
                    <a:pos x="482" y="142"/>
                  </a:cxn>
                  <a:cxn ang="0">
                    <a:pos x="560" y="100"/>
                  </a:cxn>
                  <a:cxn ang="0">
                    <a:pos x="645" y="52"/>
                  </a:cxn>
                  <a:cxn ang="0">
                    <a:pos x="704" y="34"/>
                  </a:cxn>
                  <a:cxn ang="0">
                    <a:pos x="754" y="81"/>
                  </a:cxn>
                  <a:cxn ang="0">
                    <a:pos x="777" y="114"/>
                  </a:cxn>
                  <a:cxn ang="0">
                    <a:pos x="853" y="38"/>
                  </a:cxn>
                  <a:cxn ang="0">
                    <a:pos x="936" y="12"/>
                  </a:cxn>
                  <a:cxn ang="0">
                    <a:pos x="1016" y="48"/>
                  </a:cxn>
                  <a:cxn ang="0">
                    <a:pos x="1068" y="116"/>
                  </a:cxn>
                  <a:cxn ang="0">
                    <a:pos x="1092" y="163"/>
                  </a:cxn>
                  <a:cxn ang="0">
                    <a:pos x="1113" y="244"/>
                  </a:cxn>
                  <a:cxn ang="0">
                    <a:pos x="1066" y="293"/>
                  </a:cxn>
                  <a:cxn ang="0">
                    <a:pos x="1085" y="343"/>
                  </a:cxn>
                  <a:cxn ang="0">
                    <a:pos x="1101" y="378"/>
                  </a:cxn>
                  <a:cxn ang="0">
                    <a:pos x="1134" y="393"/>
                  </a:cxn>
                  <a:cxn ang="0">
                    <a:pos x="1155" y="419"/>
                  </a:cxn>
                  <a:cxn ang="0">
                    <a:pos x="1035" y="586"/>
                  </a:cxn>
                  <a:cxn ang="0">
                    <a:pos x="978" y="634"/>
                  </a:cxn>
                  <a:cxn ang="0">
                    <a:pos x="976" y="700"/>
                  </a:cxn>
                  <a:cxn ang="0">
                    <a:pos x="966" y="839"/>
                  </a:cxn>
                  <a:cxn ang="0">
                    <a:pos x="966" y="1011"/>
                  </a:cxn>
                  <a:cxn ang="0">
                    <a:pos x="943" y="1123"/>
                  </a:cxn>
                  <a:cxn ang="0">
                    <a:pos x="898" y="1252"/>
                  </a:cxn>
                  <a:cxn ang="0">
                    <a:pos x="799" y="1191"/>
                  </a:cxn>
                  <a:cxn ang="0">
                    <a:pos x="768" y="1144"/>
                  </a:cxn>
                  <a:cxn ang="0">
                    <a:pos x="806" y="1089"/>
                  </a:cxn>
                  <a:cxn ang="0">
                    <a:pos x="820" y="1045"/>
                  </a:cxn>
                  <a:cxn ang="0">
                    <a:pos x="855" y="995"/>
                  </a:cxn>
                  <a:cxn ang="0">
                    <a:pos x="832" y="967"/>
                  </a:cxn>
                  <a:cxn ang="0">
                    <a:pos x="799" y="952"/>
                  </a:cxn>
                  <a:cxn ang="0">
                    <a:pos x="747" y="936"/>
                  </a:cxn>
                  <a:cxn ang="0">
                    <a:pos x="678" y="943"/>
                  </a:cxn>
                  <a:cxn ang="0">
                    <a:pos x="555" y="860"/>
                  </a:cxn>
                  <a:cxn ang="0">
                    <a:pos x="492" y="827"/>
                  </a:cxn>
                  <a:cxn ang="0">
                    <a:pos x="435" y="801"/>
                  </a:cxn>
                  <a:cxn ang="0">
                    <a:pos x="381" y="813"/>
                  </a:cxn>
                  <a:cxn ang="0">
                    <a:pos x="357" y="763"/>
                  </a:cxn>
                  <a:cxn ang="0">
                    <a:pos x="329" y="752"/>
                  </a:cxn>
                  <a:cxn ang="0">
                    <a:pos x="296" y="749"/>
                  </a:cxn>
                  <a:cxn ang="0">
                    <a:pos x="253" y="766"/>
                  </a:cxn>
                  <a:cxn ang="0">
                    <a:pos x="225" y="787"/>
                  </a:cxn>
                  <a:cxn ang="0">
                    <a:pos x="182" y="813"/>
                  </a:cxn>
                  <a:cxn ang="0">
                    <a:pos x="142" y="839"/>
                  </a:cxn>
                  <a:cxn ang="0">
                    <a:pos x="102" y="860"/>
                  </a:cxn>
                  <a:cxn ang="0">
                    <a:pos x="74" y="860"/>
                  </a:cxn>
                  <a:cxn ang="0">
                    <a:pos x="81" y="797"/>
                  </a:cxn>
                  <a:cxn ang="0">
                    <a:pos x="83" y="752"/>
                  </a:cxn>
                  <a:cxn ang="0">
                    <a:pos x="50" y="695"/>
                  </a:cxn>
                  <a:cxn ang="0">
                    <a:pos x="52" y="636"/>
                  </a:cxn>
                  <a:cxn ang="0">
                    <a:pos x="38" y="596"/>
                  </a:cxn>
                  <a:cxn ang="0">
                    <a:pos x="45" y="551"/>
                  </a:cxn>
                  <a:cxn ang="0">
                    <a:pos x="36" y="497"/>
                  </a:cxn>
                  <a:cxn ang="0">
                    <a:pos x="52" y="445"/>
                  </a:cxn>
                  <a:cxn ang="0">
                    <a:pos x="48" y="404"/>
                  </a:cxn>
                  <a:cxn ang="0">
                    <a:pos x="10" y="371"/>
                  </a:cxn>
                </a:cxnLst>
                <a:rect l="0" t="0" r="r" b="b"/>
                <a:pathLst>
                  <a:path w="1177" h="1283">
                    <a:moveTo>
                      <a:pt x="3" y="362"/>
                    </a:moveTo>
                    <a:lnTo>
                      <a:pt x="0" y="362"/>
                    </a:lnTo>
                    <a:lnTo>
                      <a:pt x="0" y="360"/>
                    </a:lnTo>
                    <a:lnTo>
                      <a:pt x="3" y="360"/>
                    </a:lnTo>
                    <a:lnTo>
                      <a:pt x="3" y="357"/>
                    </a:lnTo>
                    <a:lnTo>
                      <a:pt x="3" y="355"/>
                    </a:lnTo>
                    <a:lnTo>
                      <a:pt x="5" y="355"/>
                    </a:lnTo>
                    <a:lnTo>
                      <a:pt x="17" y="350"/>
                    </a:lnTo>
                    <a:lnTo>
                      <a:pt x="17" y="350"/>
                    </a:lnTo>
                    <a:lnTo>
                      <a:pt x="19" y="348"/>
                    </a:lnTo>
                    <a:lnTo>
                      <a:pt x="22" y="343"/>
                    </a:lnTo>
                    <a:lnTo>
                      <a:pt x="24" y="334"/>
                    </a:lnTo>
                    <a:lnTo>
                      <a:pt x="26" y="326"/>
                    </a:lnTo>
                    <a:lnTo>
                      <a:pt x="29" y="324"/>
                    </a:lnTo>
                    <a:lnTo>
                      <a:pt x="29" y="322"/>
                    </a:lnTo>
                    <a:lnTo>
                      <a:pt x="29" y="322"/>
                    </a:lnTo>
                    <a:lnTo>
                      <a:pt x="31" y="319"/>
                    </a:lnTo>
                    <a:lnTo>
                      <a:pt x="33" y="319"/>
                    </a:lnTo>
                    <a:lnTo>
                      <a:pt x="33" y="317"/>
                    </a:lnTo>
                    <a:lnTo>
                      <a:pt x="38" y="315"/>
                    </a:lnTo>
                    <a:lnTo>
                      <a:pt x="40" y="312"/>
                    </a:lnTo>
                    <a:lnTo>
                      <a:pt x="43" y="310"/>
                    </a:lnTo>
                    <a:lnTo>
                      <a:pt x="43" y="310"/>
                    </a:lnTo>
                    <a:lnTo>
                      <a:pt x="43" y="305"/>
                    </a:lnTo>
                    <a:lnTo>
                      <a:pt x="43" y="305"/>
                    </a:lnTo>
                    <a:lnTo>
                      <a:pt x="43" y="303"/>
                    </a:lnTo>
                    <a:lnTo>
                      <a:pt x="43" y="300"/>
                    </a:lnTo>
                    <a:lnTo>
                      <a:pt x="45" y="300"/>
                    </a:lnTo>
                    <a:lnTo>
                      <a:pt x="48" y="298"/>
                    </a:lnTo>
                    <a:lnTo>
                      <a:pt x="50" y="298"/>
                    </a:lnTo>
                    <a:lnTo>
                      <a:pt x="50" y="296"/>
                    </a:lnTo>
                    <a:lnTo>
                      <a:pt x="50" y="291"/>
                    </a:lnTo>
                    <a:lnTo>
                      <a:pt x="48" y="291"/>
                    </a:lnTo>
                    <a:lnTo>
                      <a:pt x="48" y="291"/>
                    </a:lnTo>
                    <a:lnTo>
                      <a:pt x="52" y="289"/>
                    </a:lnTo>
                    <a:lnTo>
                      <a:pt x="55" y="286"/>
                    </a:lnTo>
                    <a:lnTo>
                      <a:pt x="55" y="282"/>
                    </a:lnTo>
                    <a:lnTo>
                      <a:pt x="55" y="282"/>
                    </a:lnTo>
                    <a:lnTo>
                      <a:pt x="55" y="282"/>
                    </a:lnTo>
                    <a:lnTo>
                      <a:pt x="52" y="279"/>
                    </a:lnTo>
                    <a:lnTo>
                      <a:pt x="52" y="277"/>
                    </a:lnTo>
                    <a:lnTo>
                      <a:pt x="52" y="277"/>
                    </a:lnTo>
                    <a:lnTo>
                      <a:pt x="55" y="274"/>
                    </a:lnTo>
                    <a:lnTo>
                      <a:pt x="55" y="274"/>
                    </a:lnTo>
                    <a:lnTo>
                      <a:pt x="55" y="274"/>
                    </a:lnTo>
                    <a:lnTo>
                      <a:pt x="59" y="272"/>
                    </a:lnTo>
                    <a:lnTo>
                      <a:pt x="59" y="274"/>
                    </a:lnTo>
                    <a:lnTo>
                      <a:pt x="62" y="272"/>
                    </a:lnTo>
                    <a:lnTo>
                      <a:pt x="64" y="272"/>
                    </a:lnTo>
                    <a:lnTo>
                      <a:pt x="66" y="270"/>
                    </a:lnTo>
                    <a:lnTo>
                      <a:pt x="69" y="272"/>
                    </a:lnTo>
                    <a:lnTo>
                      <a:pt x="71" y="270"/>
                    </a:lnTo>
                    <a:lnTo>
                      <a:pt x="71" y="270"/>
                    </a:lnTo>
                    <a:lnTo>
                      <a:pt x="71" y="267"/>
                    </a:lnTo>
                    <a:lnTo>
                      <a:pt x="76" y="265"/>
                    </a:lnTo>
                    <a:lnTo>
                      <a:pt x="76" y="263"/>
                    </a:lnTo>
                    <a:lnTo>
                      <a:pt x="78" y="263"/>
                    </a:lnTo>
                    <a:lnTo>
                      <a:pt x="81" y="263"/>
                    </a:lnTo>
                    <a:lnTo>
                      <a:pt x="81" y="260"/>
                    </a:lnTo>
                    <a:lnTo>
                      <a:pt x="83" y="260"/>
                    </a:lnTo>
                    <a:lnTo>
                      <a:pt x="83" y="258"/>
                    </a:lnTo>
                    <a:lnTo>
                      <a:pt x="85" y="258"/>
                    </a:lnTo>
                    <a:lnTo>
                      <a:pt x="90" y="253"/>
                    </a:lnTo>
                    <a:lnTo>
                      <a:pt x="92" y="253"/>
                    </a:lnTo>
                    <a:lnTo>
                      <a:pt x="95" y="251"/>
                    </a:lnTo>
                    <a:lnTo>
                      <a:pt x="97" y="249"/>
                    </a:lnTo>
                    <a:lnTo>
                      <a:pt x="100" y="249"/>
                    </a:lnTo>
                    <a:lnTo>
                      <a:pt x="102" y="249"/>
                    </a:lnTo>
                    <a:lnTo>
                      <a:pt x="102" y="246"/>
                    </a:lnTo>
                    <a:lnTo>
                      <a:pt x="100" y="244"/>
                    </a:lnTo>
                    <a:lnTo>
                      <a:pt x="102" y="241"/>
                    </a:lnTo>
                    <a:lnTo>
                      <a:pt x="102" y="241"/>
                    </a:lnTo>
                    <a:lnTo>
                      <a:pt x="102" y="239"/>
                    </a:lnTo>
                    <a:lnTo>
                      <a:pt x="102" y="239"/>
                    </a:lnTo>
                    <a:lnTo>
                      <a:pt x="104" y="239"/>
                    </a:lnTo>
                    <a:lnTo>
                      <a:pt x="107" y="237"/>
                    </a:lnTo>
                    <a:lnTo>
                      <a:pt x="111" y="237"/>
                    </a:lnTo>
                    <a:lnTo>
                      <a:pt x="114" y="237"/>
                    </a:lnTo>
                    <a:lnTo>
                      <a:pt x="114" y="234"/>
                    </a:lnTo>
                    <a:lnTo>
                      <a:pt x="116" y="230"/>
                    </a:lnTo>
                    <a:lnTo>
                      <a:pt x="116" y="227"/>
                    </a:lnTo>
                    <a:lnTo>
                      <a:pt x="118" y="227"/>
                    </a:lnTo>
                    <a:lnTo>
                      <a:pt x="118" y="225"/>
                    </a:lnTo>
                    <a:lnTo>
                      <a:pt x="118" y="223"/>
                    </a:lnTo>
                    <a:lnTo>
                      <a:pt x="118" y="220"/>
                    </a:lnTo>
                    <a:lnTo>
                      <a:pt x="116" y="215"/>
                    </a:lnTo>
                    <a:lnTo>
                      <a:pt x="118" y="215"/>
                    </a:lnTo>
                    <a:lnTo>
                      <a:pt x="118" y="213"/>
                    </a:lnTo>
                    <a:lnTo>
                      <a:pt x="116" y="213"/>
                    </a:lnTo>
                    <a:lnTo>
                      <a:pt x="114" y="213"/>
                    </a:lnTo>
                    <a:lnTo>
                      <a:pt x="116" y="213"/>
                    </a:lnTo>
                    <a:lnTo>
                      <a:pt x="116" y="213"/>
                    </a:lnTo>
                    <a:lnTo>
                      <a:pt x="118" y="213"/>
                    </a:lnTo>
                    <a:lnTo>
                      <a:pt x="121" y="211"/>
                    </a:lnTo>
                    <a:lnTo>
                      <a:pt x="123" y="208"/>
                    </a:lnTo>
                    <a:lnTo>
                      <a:pt x="125" y="208"/>
                    </a:lnTo>
                    <a:lnTo>
                      <a:pt x="130" y="206"/>
                    </a:lnTo>
                    <a:lnTo>
                      <a:pt x="130" y="206"/>
                    </a:lnTo>
                    <a:lnTo>
                      <a:pt x="133" y="208"/>
                    </a:lnTo>
                    <a:lnTo>
                      <a:pt x="135" y="211"/>
                    </a:lnTo>
                    <a:lnTo>
                      <a:pt x="135" y="213"/>
                    </a:lnTo>
                    <a:lnTo>
                      <a:pt x="135" y="215"/>
                    </a:lnTo>
                    <a:lnTo>
                      <a:pt x="135" y="218"/>
                    </a:lnTo>
                    <a:lnTo>
                      <a:pt x="135" y="220"/>
                    </a:lnTo>
                    <a:lnTo>
                      <a:pt x="140" y="223"/>
                    </a:lnTo>
                    <a:lnTo>
                      <a:pt x="140" y="225"/>
                    </a:lnTo>
                    <a:lnTo>
                      <a:pt x="140" y="227"/>
                    </a:lnTo>
                    <a:lnTo>
                      <a:pt x="142" y="230"/>
                    </a:lnTo>
                    <a:lnTo>
                      <a:pt x="144" y="232"/>
                    </a:lnTo>
                    <a:lnTo>
                      <a:pt x="144" y="232"/>
                    </a:lnTo>
                    <a:lnTo>
                      <a:pt x="147" y="232"/>
                    </a:lnTo>
                    <a:lnTo>
                      <a:pt x="147" y="237"/>
                    </a:lnTo>
                    <a:lnTo>
                      <a:pt x="151" y="239"/>
                    </a:lnTo>
                    <a:lnTo>
                      <a:pt x="151" y="241"/>
                    </a:lnTo>
                    <a:lnTo>
                      <a:pt x="151" y="244"/>
                    </a:lnTo>
                    <a:lnTo>
                      <a:pt x="151" y="246"/>
                    </a:lnTo>
                    <a:lnTo>
                      <a:pt x="156" y="251"/>
                    </a:lnTo>
                    <a:lnTo>
                      <a:pt x="156" y="251"/>
                    </a:lnTo>
                    <a:lnTo>
                      <a:pt x="154" y="253"/>
                    </a:lnTo>
                    <a:lnTo>
                      <a:pt x="151" y="256"/>
                    </a:lnTo>
                    <a:lnTo>
                      <a:pt x="149" y="258"/>
                    </a:lnTo>
                    <a:lnTo>
                      <a:pt x="151" y="260"/>
                    </a:lnTo>
                    <a:lnTo>
                      <a:pt x="151" y="263"/>
                    </a:lnTo>
                    <a:lnTo>
                      <a:pt x="149" y="265"/>
                    </a:lnTo>
                    <a:lnTo>
                      <a:pt x="151" y="267"/>
                    </a:lnTo>
                    <a:lnTo>
                      <a:pt x="151" y="272"/>
                    </a:lnTo>
                    <a:lnTo>
                      <a:pt x="151" y="274"/>
                    </a:lnTo>
                    <a:lnTo>
                      <a:pt x="151" y="274"/>
                    </a:lnTo>
                    <a:lnTo>
                      <a:pt x="154" y="274"/>
                    </a:lnTo>
                    <a:lnTo>
                      <a:pt x="154" y="274"/>
                    </a:lnTo>
                    <a:lnTo>
                      <a:pt x="156" y="277"/>
                    </a:lnTo>
                    <a:lnTo>
                      <a:pt x="156" y="277"/>
                    </a:lnTo>
                    <a:lnTo>
                      <a:pt x="159" y="279"/>
                    </a:lnTo>
                    <a:lnTo>
                      <a:pt x="159" y="279"/>
                    </a:lnTo>
                    <a:lnTo>
                      <a:pt x="159" y="279"/>
                    </a:lnTo>
                    <a:lnTo>
                      <a:pt x="161" y="289"/>
                    </a:lnTo>
                    <a:lnTo>
                      <a:pt x="166" y="291"/>
                    </a:lnTo>
                    <a:lnTo>
                      <a:pt x="170" y="291"/>
                    </a:lnTo>
                    <a:lnTo>
                      <a:pt x="173" y="293"/>
                    </a:lnTo>
                    <a:lnTo>
                      <a:pt x="173" y="293"/>
                    </a:lnTo>
                    <a:lnTo>
                      <a:pt x="173" y="298"/>
                    </a:lnTo>
                    <a:lnTo>
                      <a:pt x="175" y="298"/>
                    </a:lnTo>
                    <a:lnTo>
                      <a:pt x="177" y="298"/>
                    </a:lnTo>
                    <a:lnTo>
                      <a:pt x="180" y="300"/>
                    </a:lnTo>
                    <a:lnTo>
                      <a:pt x="180" y="300"/>
                    </a:lnTo>
                    <a:lnTo>
                      <a:pt x="180" y="300"/>
                    </a:lnTo>
                    <a:lnTo>
                      <a:pt x="187" y="300"/>
                    </a:lnTo>
                    <a:lnTo>
                      <a:pt x="189" y="300"/>
                    </a:lnTo>
                    <a:lnTo>
                      <a:pt x="192" y="300"/>
                    </a:lnTo>
                    <a:lnTo>
                      <a:pt x="192" y="303"/>
                    </a:lnTo>
                    <a:lnTo>
                      <a:pt x="196" y="300"/>
                    </a:lnTo>
                    <a:lnTo>
                      <a:pt x="196" y="300"/>
                    </a:lnTo>
                    <a:lnTo>
                      <a:pt x="199" y="303"/>
                    </a:lnTo>
                    <a:lnTo>
                      <a:pt x="199" y="303"/>
                    </a:lnTo>
                    <a:lnTo>
                      <a:pt x="201" y="305"/>
                    </a:lnTo>
                    <a:lnTo>
                      <a:pt x="201" y="305"/>
                    </a:lnTo>
                    <a:lnTo>
                      <a:pt x="203" y="308"/>
                    </a:lnTo>
                    <a:lnTo>
                      <a:pt x="206" y="308"/>
                    </a:lnTo>
                    <a:lnTo>
                      <a:pt x="206" y="308"/>
                    </a:lnTo>
                    <a:lnTo>
                      <a:pt x="208" y="308"/>
                    </a:lnTo>
                    <a:lnTo>
                      <a:pt x="211" y="308"/>
                    </a:lnTo>
                    <a:lnTo>
                      <a:pt x="211" y="310"/>
                    </a:lnTo>
                    <a:lnTo>
                      <a:pt x="215" y="315"/>
                    </a:lnTo>
                    <a:lnTo>
                      <a:pt x="218" y="310"/>
                    </a:lnTo>
                    <a:lnTo>
                      <a:pt x="218" y="310"/>
                    </a:lnTo>
                    <a:lnTo>
                      <a:pt x="220" y="310"/>
                    </a:lnTo>
                    <a:lnTo>
                      <a:pt x="220" y="310"/>
                    </a:lnTo>
                    <a:lnTo>
                      <a:pt x="225" y="308"/>
                    </a:lnTo>
                    <a:lnTo>
                      <a:pt x="225" y="308"/>
                    </a:lnTo>
                    <a:lnTo>
                      <a:pt x="225" y="310"/>
                    </a:lnTo>
                    <a:lnTo>
                      <a:pt x="229" y="308"/>
                    </a:lnTo>
                    <a:lnTo>
                      <a:pt x="229" y="305"/>
                    </a:lnTo>
                    <a:lnTo>
                      <a:pt x="229" y="305"/>
                    </a:lnTo>
                    <a:lnTo>
                      <a:pt x="229" y="303"/>
                    </a:lnTo>
                    <a:lnTo>
                      <a:pt x="234" y="298"/>
                    </a:lnTo>
                    <a:lnTo>
                      <a:pt x="234" y="298"/>
                    </a:lnTo>
                    <a:lnTo>
                      <a:pt x="237" y="298"/>
                    </a:lnTo>
                    <a:lnTo>
                      <a:pt x="237" y="296"/>
                    </a:lnTo>
                    <a:lnTo>
                      <a:pt x="237" y="293"/>
                    </a:lnTo>
                    <a:lnTo>
                      <a:pt x="239" y="293"/>
                    </a:lnTo>
                    <a:lnTo>
                      <a:pt x="241" y="291"/>
                    </a:lnTo>
                    <a:lnTo>
                      <a:pt x="244" y="291"/>
                    </a:lnTo>
                    <a:lnTo>
                      <a:pt x="246" y="291"/>
                    </a:lnTo>
                    <a:lnTo>
                      <a:pt x="248" y="291"/>
                    </a:lnTo>
                    <a:lnTo>
                      <a:pt x="248" y="291"/>
                    </a:lnTo>
                    <a:lnTo>
                      <a:pt x="248" y="289"/>
                    </a:lnTo>
                    <a:lnTo>
                      <a:pt x="248" y="282"/>
                    </a:lnTo>
                    <a:lnTo>
                      <a:pt x="248" y="282"/>
                    </a:lnTo>
                    <a:lnTo>
                      <a:pt x="248" y="282"/>
                    </a:lnTo>
                    <a:lnTo>
                      <a:pt x="248" y="282"/>
                    </a:lnTo>
                    <a:lnTo>
                      <a:pt x="251" y="279"/>
                    </a:lnTo>
                    <a:lnTo>
                      <a:pt x="253" y="279"/>
                    </a:lnTo>
                    <a:lnTo>
                      <a:pt x="253" y="279"/>
                    </a:lnTo>
                    <a:lnTo>
                      <a:pt x="255" y="279"/>
                    </a:lnTo>
                    <a:lnTo>
                      <a:pt x="255" y="279"/>
                    </a:lnTo>
                    <a:lnTo>
                      <a:pt x="258" y="274"/>
                    </a:lnTo>
                    <a:lnTo>
                      <a:pt x="260" y="274"/>
                    </a:lnTo>
                    <a:lnTo>
                      <a:pt x="263" y="274"/>
                    </a:lnTo>
                    <a:lnTo>
                      <a:pt x="267" y="277"/>
                    </a:lnTo>
                    <a:lnTo>
                      <a:pt x="267" y="277"/>
                    </a:lnTo>
                    <a:lnTo>
                      <a:pt x="270" y="277"/>
                    </a:lnTo>
                    <a:lnTo>
                      <a:pt x="270" y="277"/>
                    </a:lnTo>
                    <a:lnTo>
                      <a:pt x="272" y="274"/>
                    </a:lnTo>
                    <a:lnTo>
                      <a:pt x="274" y="274"/>
                    </a:lnTo>
                    <a:lnTo>
                      <a:pt x="274" y="272"/>
                    </a:lnTo>
                    <a:lnTo>
                      <a:pt x="274" y="272"/>
                    </a:lnTo>
                    <a:lnTo>
                      <a:pt x="277" y="272"/>
                    </a:lnTo>
                    <a:lnTo>
                      <a:pt x="279" y="272"/>
                    </a:lnTo>
                    <a:lnTo>
                      <a:pt x="281" y="272"/>
                    </a:lnTo>
                    <a:lnTo>
                      <a:pt x="284" y="270"/>
                    </a:lnTo>
                    <a:lnTo>
                      <a:pt x="288" y="265"/>
                    </a:lnTo>
                    <a:lnTo>
                      <a:pt x="288" y="263"/>
                    </a:lnTo>
                    <a:lnTo>
                      <a:pt x="291" y="263"/>
                    </a:lnTo>
                    <a:lnTo>
                      <a:pt x="293" y="265"/>
                    </a:lnTo>
                    <a:lnTo>
                      <a:pt x="293" y="265"/>
                    </a:lnTo>
                    <a:lnTo>
                      <a:pt x="293" y="265"/>
                    </a:lnTo>
                    <a:lnTo>
                      <a:pt x="298" y="272"/>
                    </a:lnTo>
                    <a:lnTo>
                      <a:pt x="300" y="272"/>
                    </a:lnTo>
                    <a:lnTo>
                      <a:pt x="303" y="274"/>
                    </a:lnTo>
                    <a:lnTo>
                      <a:pt x="303" y="274"/>
                    </a:lnTo>
                    <a:lnTo>
                      <a:pt x="305" y="272"/>
                    </a:lnTo>
                    <a:lnTo>
                      <a:pt x="307" y="272"/>
                    </a:lnTo>
                    <a:lnTo>
                      <a:pt x="310" y="274"/>
                    </a:lnTo>
                    <a:lnTo>
                      <a:pt x="310" y="274"/>
                    </a:lnTo>
                    <a:lnTo>
                      <a:pt x="312" y="274"/>
                    </a:lnTo>
                    <a:lnTo>
                      <a:pt x="312" y="274"/>
                    </a:lnTo>
                    <a:lnTo>
                      <a:pt x="314" y="274"/>
                    </a:lnTo>
                    <a:lnTo>
                      <a:pt x="317" y="274"/>
                    </a:lnTo>
                    <a:lnTo>
                      <a:pt x="317" y="274"/>
                    </a:lnTo>
                    <a:lnTo>
                      <a:pt x="317" y="272"/>
                    </a:lnTo>
                    <a:lnTo>
                      <a:pt x="319" y="270"/>
                    </a:lnTo>
                    <a:lnTo>
                      <a:pt x="319" y="270"/>
                    </a:lnTo>
                    <a:lnTo>
                      <a:pt x="322" y="270"/>
                    </a:lnTo>
                    <a:lnTo>
                      <a:pt x="324" y="267"/>
                    </a:lnTo>
                    <a:lnTo>
                      <a:pt x="324" y="265"/>
                    </a:lnTo>
                    <a:lnTo>
                      <a:pt x="326" y="258"/>
                    </a:lnTo>
                    <a:lnTo>
                      <a:pt x="329" y="256"/>
                    </a:lnTo>
                    <a:lnTo>
                      <a:pt x="329" y="256"/>
                    </a:lnTo>
                    <a:lnTo>
                      <a:pt x="329" y="253"/>
                    </a:lnTo>
                    <a:lnTo>
                      <a:pt x="329" y="251"/>
                    </a:lnTo>
                    <a:lnTo>
                      <a:pt x="329" y="246"/>
                    </a:lnTo>
                    <a:lnTo>
                      <a:pt x="331" y="244"/>
                    </a:lnTo>
                    <a:lnTo>
                      <a:pt x="331" y="244"/>
                    </a:lnTo>
                    <a:lnTo>
                      <a:pt x="333" y="246"/>
                    </a:lnTo>
                    <a:lnTo>
                      <a:pt x="338" y="246"/>
                    </a:lnTo>
                    <a:lnTo>
                      <a:pt x="340" y="246"/>
                    </a:lnTo>
                    <a:lnTo>
                      <a:pt x="343" y="246"/>
                    </a:lnTo>
                    <a:lnTo>
                      <a:pt x="343" y="246"/>
                    </a:lnTo>
                    <a:lnTo>
                      <a:pt x="345" y="241"/>
                    </a:lnTo>
                    <a:lnTo>
                      <a:pt x="345" y="241"/>
                    </a:lnTo>
                    <a:lnTo>
                      <a:pt x="348" y="237"/>
                    </a:lnTo>
                    <a:lnTo>
                      <a:pt x="348" y="237"/>
                    </a:lnTo>
                    <a:lnTo>
                      <a:pt x="350" y="234"/>
                    </a:lnTo>
                    <a:lnTo>
                      <a:pt x="352" y="234"/>
                    </a:lnTo>
                    <a:lnTo>
                      <a:pt x="355" y="232"/>
                    </a:lnTo>
                    <a:lnTo>
                      <a:pt x="355" y="227"/>
                    </a:lnTo>
                    <a:lnTo>
                      <a:pt x="355" y="227"/>
                    </a:lnTo>
                    <a:lnTo>
                      <a:pt x="355" y="225"/>
                    </a:lnTo>
                    <a:lnTo>
                      <a:pt x="355" y="225"/>
                    </a:lnTo>
                    <a:lnTo>
                      <a:pt x="355" y="225"/>
                    </a:lnTo>
                    <a:lnTo>
                      <a:pt x="359" y="218"/>
                    </a:lnTo>
                    <a:lnTo>
                      <a:pt x="362" y="215"/>
                    </a:lnTo>
                    <a:lnTo>
                      <a:pt x="362" y="208"/>
                    </a:lnTo>
                    <a:lnTo>
                      <a:pt x="362" y="206"/>
                    </a:lnTo>
                    <a:lnTo>
                      <a:pt x="362" y="206"/>
                    </a:lnTo>
                    <a:lnTo>
                      <a:pt x="364" y="204"/>
                    </a:lnTo>
                    <a:lnTo>
                      <a:pt x="364" y="201"/>
                    </a:lnTo>
                    <a:lnTo>
                      <a:pt x="366" y="201"/>
                    </a:lnTo>
                    <a:lnTo>
                      <a:pt x="371" y="201"/>
                    </a:lnTo>
                    <a:lnTo>
                      <a:pt x="371" y="199"/>
                    </a:lnTo>
                    <a:lnTo>
                      <a:pt x="374" y="197"/>
                    </a:lnTo>
                    <a:lnTo>
                      <a:pt x="376" y="197"/>
                    </a:lnTo>
                    <a:lnTo>
                      <a:pt x="376" y="192"/>
                    </a:lnTo>
                    <a:lnTo>
                      <a:pt x="376" y="189"/>
                    </a:lnTo>
                    <a:lnTo>
                      <a:pt x="374" y="189"/>
                    </a:lnTo>
                    <a:lnTo>
                      <a:pt x="371" y="187"/>
                    </a:lnTo>
                    <a:lnTo>
                      <a:pt x="374" y="182"/>
                    </a:lnTo>
                    <a:lnTo>
                      <a:pt x="374" y="182"/>
                    </a:lnTo>
                    <a:lnTo>
                      <a:pt x="371" y="182"/>
                    </a:lnTo>
                    <a:lnTo>
                      <a:pt x="371" y="182"/>
                    </a:lnTo>
                    <a:lnTo>
                      <a:pt x="371" y="180"/>
                    </a:lnTo>
                    <a:lnTo>
                      <a:pt x="371" y="180"/>
                    </a:lnTo>
                    <a:lnTo>
                      <a:pt x="371" y="180"/>
                    </a:lnTo>
                    <a:lnTo>
                      <a:pt x="371" y="178"/>
                    </a:lnTo>
                    <a:lnTo>
                      <a:pt x="374" y="178"/>
                    </a:lnTo>
                    <a:lnTo>
                      <a:pt x="376" y="175"/>
                    </a:lnTo>
                    <a:lnTo>
                      <a:pt x="376" y="173"/>
                    </a:lnTo>
                    <a:lnTo>
                      <a:pt x="376" y="171"/>
                    </a:lnTo>
                    <a:lnTo>
                      <a:pt x="376" y="171"/>
                    </a:lnTo>
                    <a:lnTo>
                      <a:pt x="376" y="168"/>
                    </a:lnTo>
                    <a:lnTo>
                      <a:pt x="374" y="168"/>
                    </a:lnTo>
                    <a:lnTo>
                      <a:pt x="371" y="166"/>
                    </a:lnTo>
                    <a:lnTo>
                      <a:pt x="371" y="166"/>
                    </a:lnTo>
                    <a:lnTo>
                      <a:pt x="369" y="166"/>
                    </a:lnTo>
                    <a:lnTo>
                      <a:pt x="369" y="163"/>
                    </a:lnTo>
                    <a:lnTo>
                      <a:pt x="364" y="163"/>
                    </a:lnTo>
                    <a:lnTo>
                      <a:pt x="362" y="161"/>
                    </a:lnTo>
                    <a:lnTo>
                      <a:pt x="362" y="161"/>
                    </a:lnTo>
                    <a:lnTo>
                      <a:pt x="359" y="156"/>
                    </a:lnTo>
                    <a:lnTo>
                      <a:pt x="359" y="154"/>
                    </a:lnTo>
                    <a:lnTo>
                      <a:pt x="359" y="154"/>
                    </a:lnTo>
                    <a:lnTo>
                      <a:pt x="359" y="152"/>
                    </a:lnTo>
                    <a:lnTo>
                      <a:pt x="355" y="145"/>
                    </a:lnTo>
                    <a:lnTo>
                      <a:pt x="352" y="145"/>
                    </a:lnTo>
                    <a:lnTo>
                      <a:pt x="355" y="142"/>
                    </a:lnTo>
                    <a:lnTo>
                      <a:pt x="355" y="142"/>
                    </a:lnTo>
                    <a:lnTo>
                      <a:pt x="355" y="142"/>
                    </a:lnTo>
                    <a:lnTo>
                      <a:pt x="352" y="142"/>
                    </a:lnTo>
                    <a:lnTo>
                      <a:pt x="352" y="137"/>
                    </a:lnTo>
                    <a:lnTo>
                      <a:pt x="352" y="135"/>
                    </a:lnTo>
                    <a:lnTo>
                      <a:pt x="352" y="133"/>
                    </a:lnTo>
                    <a:lnTo>
                      <a:pt x="357" y="126"/>
                    </a:lnTo>
                    <a:lnTo>
                      <a:pt x="359" y="123"/>
                    </a:lnTo>
                    <a:lnTo>
                      <a:pt x="362" y="121"/>
                    </a:lnTo>
                    <a:lnTo>
                      <a:pt x="362" y="119"/>
                    </a:lnTo>
                    <a:lnTo>
                      <a:pt x="364" y="119"/>
                    </a:lnTo>
                    <a:lnTo>
                      <a:pt x="374" y="116"/>
                    </a:lnTo>
                    <a:lnTo>
                      <a:pt x="376" y="114"/>
                    </a:lnTo>
                    <a:lnTo>
                      <a:pt x="381" y="109"/>
                    </a:lnTo>
                    <a:lnTo>
                      <a:pt x="383" y="109"/>
                    </a:lnTo>
                    <a:lnTo>
                      <a:pt x="385" y="104"/>
                    </a:lnTo>
                    <a:lnTo>
                      <a:pt x="388" y="102"/>
                    </a:lnTo>
                    <a:lnTo>
                      <a:pt x="388" y="102"/>
                    </a:lnTo>
                    <a:lnTo>
                      <a:pt x="390" y="102"/>
                    </a:lnTo>
                    <a:lnTo>
                      <a:pt x="392" y="102"/>
                    </a:lnTo>
                    <a:lnTo>
                      <a:pt x="392" y="100"/>
                    </a:lnTo>
                    <a:lnTo>
                      <a:pt x="397" y="97"/>
                    </a:lnTo>
                    <a:lnTo>
                      <a:pt x="400" y="95"/>
                    </a:lnTo>
                    <a:lnTo>
                      <a:pt x="402" y="95"/>
                    </a:lnTo>
                    <a:lnTo>
                      <a:pt x="402" y="95"/>
                    </a:lnTo>
                    <a:lnTo>
                      <a:pt x="404" y="95"/>
                    </a:lnTo>
                    <a:lnTo>
                      <a:pt x="404" y="97"/>
                    </a:lnTo>
                    <a:lnTo>
                      <a:pt x="409" y="100"/>
                    </a:lnTo>
                    <a:lnTo>
                      <a:pt x="409" y="102"/>
                    </a:lnTo>
                    <a:lnTo>
                      <a:pt x="411" y="107"/>
                    </a:lnTo>
                    <a:lnTo>
                      <a:pt x="414" y="109"/>
                    </a:lnTo>
                    <a:lnTo>
                      <a:pt x="418" y="109"/>
                    </a:lnTo>
                    <a:lnTo>
                      <a:pt x="418" y="109"/>
                    </a:lnTo>
                    <a:lnTo>
                      <a:pt x="421" y="112"/>
                    </a:lnTo>
                    <a:lnTo>
                      <a:pt x="421" y="114"/>
                    </a:lnTo>
                    <a:lnTo>
                      <a:pt x="423" y="114"/>
                    </a:lnTo>
                    <a:lnTo>
                      <a:pt x="423" y="116"/>
                    </a:lnTo>
                    <a:lnTo>
                      <a:pt x="423" y="116"/>
                    </a:lnTo>
                    <a:lnTo>
                      <a:pt x="426" y="116"/>
                    </a:lnTo>
                    <a:lnTo>
                      <a:pt x="426" y="114"/>
                    </a:lnTo>
                    <a:lnTo>
                      <a:pt x="430" y="114"/>
                    </a:lnTo>
                    <a:lnTo>
                      <a:pt x="430" y="114"/>
                    </a:lnTo>
                    <a:lnTo>
                      <a:pt x="433" y="114"/>
                    </a:lnTo>
                    <a:lnTo>
                      <a:pt x="435" y="114"/>
                    </a:lnTo>
                    <a:lnTo>
                      <a:pt x="435" y="116"/>
                    </a:lnTo>
                    <a:lnTo>
                      <a:pt x="435" y="116"/>
                    </a:lnTo>
                    <a:lnTo>
                      <a:pt x="437" y="114"/>
                    </a:lnTo>
                    <a:lnTo>
                      <a:pt x="440" y="109"/>
                    </a:lnTo>
                    <a:lnTo>
                      <a:pt x="442" y="109"/>
                    </a:lnTo>
                    <a:lnTo>
                      <a:pt x="444" y="112"/>
                    </a:lnTo>
                    <a:lnTo>
                      <a:pt x="444" y="109"/>
                    </a:lnTo>
                    <a:lnTo>
                      <a:pt x="444" y="109"/>
                    </a:lnTo>
                    <a:lnTo>
                      <a:pt x="444" y="109"/>
                    </a:lnTo>
                    <a:lnTo>
                      <a:pt x="447" y="109"/>
                    </a:lnTo>
                    <a:lnTo>
                      <a:pt x="447" y="109"/>
                    </a:lnTo>
                    <a:lnTo>
                      <a:pt x="447" y="112"/>
                    </a:lnTo>
                    <a:lnTo>
                      <a:pt x="447" y="112"/>
                    </a:lnTo>
                    <a:lnTo>
                      <a:pt x="449" y="112"/>
                    </a:lnTo>
                    <a:lnTo>
                      <a:pt x="449" y="114"/>
                    </a:lnTo>
                    <a:lnTo>
                      <a:pt x="449" y="114"/>
                    </a:lnTo>
                    <a:lnTo>
                      <a:pt x="451" y="114"/>
                    </a:lnTo>
                    <a:lnTo>
                      <a:pt x="454" y="114"/>
                    </a:lnTo>
                    <a:lnTo>
                      <a:pt x="454" y="116"/>
                    </a:lnTo>
                    <a:lnTo>
                      <a:pt x="459" y="114"/>
                    </a:lnTo>
                    <a:lnTo>
                      <a:pt x="459" y="114"/>
                    </a:lnTo>
                    <a:lnTo>
                      <a:pt x="461" y="114"/>
                    </a:lnTo>
                    <a:lnTo>
                      <a:pt x="463" y="114"/>
                    </a:lnTo>
                    <a:lnTo>
                      <a:pt x="466" y="116"/>
                    </a:lnTo>
                    <a:lnTo>
                      <a:pt x="466" y="116"/>
                    </a:lnTo>
                    <a:lnTo>
                      <a:pt x="466" y="119"/>
                    </a:lnTo>
                    <a:lnTo>
                      <a:pt x="466" y="121"/>
                    </a:lnTo>
                    <a:lnTo>
                      <a:pt x="466" y="123"/>
                    </a:lnTo>
                    <a:lnTo>
                      <a:pt x="466" y="126"/>
                    </a:lnTo>
                    <a:lnTo>
                      <a:pt x="466" y="128"/>
                    </a:lnTo>
                    <a:lnTo>
                      <a:pt x="466" y="128"/>
                    </a:lnTo>
                    <a:lnTo>
                      <a:pt x="468" y="130"/>
                    </a:lnTo>
                    <a:lnTo>
                      <a:pt x="473" y="130"/>
                    </a:lnTo>
                    <a:lnTo>
                      <a:pt x="473" y="130"/>
                    </a:lnTo>
                    <a:lnTo>
                      <a:pt x="475" y="135"/>
                    </a:lnTo>
                    <a:lnTo>
                      <a:pt x="477" y="135"/>
                    </a:lnTo>
                    <a:lnTo>
                      <a:pt x="477" y="135"/>
                    </a:lnTo>
                    <a:lnTo>
                      <a:pt x="480" y="133"/>
                    </a:lnTo>
                    <a:lnTo>
                      <a:pt x="480" y="133"/>
                    </a:lnTo>
                    <a:lnTo>
                      <a:pt x="482" y="135"/>
                    </a:lnTo>
                    <a:lnTo>
                      <a:pt x="482" y="137"/>
                    </a:lnTo>
                    <a:lnTo>
                      <a:pt x="482" y="140"/>
                    </a:lnTo>
                    <a:lnTo>
                      <a:pt x="482" y="142"/>
                    </a:lnTo>
                    <a:lnTo>
                      <a:pt x="485" y="142"/>
                    </a:lnTo>
                    <a:lnTo>
                      <a:pt x="489" y="142"/>
                    </a:lnTo>
                    <a:lnTo>
                      <a:pt x="492" y="140"/>
                    </a:lnTo>
                    <a:lnTo>
                      <a:pt x="492" y="137"/>
                    </a:lnTo>
                    <a:lnTo>
                      <a:pt x="492" y="137"/>
                    </a:lnTo>
                    <a:lnTo>
                      <a:pt x="494" y="135"/>
                    </a:lnTo>
                    <a:lnTo>
                      <a:pt x="496" y="133"/>
                    </a:lnTo>
                    <a:lnTo>
                      <a:pt x="496" y="130"/>
                    </a:lnTo>
                    <a:lnTo>
                      <a:pt x="496" y="130"/>
                    </a:lnTo>
                    <a:lnTo>
                      <a:pt x="496" y="130"/>
                    </a:lnTo>
                    <a:lnTo>
                      <a:pt x="499" y="133"/>
                    </a:lnTo>
                    <a:lnTo>
                      <a:pt x="499" y="133"/>
                    </a:lnTo>
                    <a:lnTo>
                      <a:pt x="501" y="133"/>
                    </a:lnTo>
                    <a:lnTo>
                      <a:pt x="503" y="133"/>
                    </a:lnTo>
                    <a:lnTo>
                      <a:pt x="506" y="133"/>
                    </a:lnTo>
                    <a:lnTo>
                      <a:pt x="506" y="130"/>
                    </a:lnTo>
                    <a:lnTo>
                      <a:pt x="508" y="133"/>
                    </a:lnTo>
                    <a:lnTo>
                      <a:pt x="511" y="128"/>
                    </a:lnTo>
                    <a:lnTo>
                      <a:pt x="511" y="126"/>
                    </a:lnTo>
                    <a:lnTo>
                      <a:pt x="513" y="126"/>
                    </a:lnTo>
                    <a:lnTo>
                      <a:pt x="515" y="126"/>
                    </a:lnTo>
                    <a:lnTo>
                      <a:pt x="518" y="126"/>
                    </a:lnTo>
                    <a:lnTo>
                      <a:pt x="520" y="126"/>
                    </a:lnTo>
                    <a:lnTo>
                      <a:pt x="525" y="126"/>
                    </a:lnTo>
                    <a:lnTo>
                      <a:pt x="525" y="123"/>
                    </a:lnTo>
                    <a:lnTo>
                      <a:pt x="525" y="123"/>
                    </a:lnTo>
                    <a:lnTo>
                      <a:pt x="525" y="121"/>
                    </a:lnTo>
                    <a:lnTo>
                      <a:pt x="527" y="121"/>
                    </a:lnTo>
                    <a:lnTo>
                      <a:pt x="529" y="121"/>
                    </a:lnTo>
                    <a:lnTo>
                      <a:pt x="529" y="121"/>
                    </a:lnTo>
                    <a:lnTo>
                      <a:pt x="532" y="121"/>
                    </a:lnTo>
                    <a:lnTo>
                      <a:pt x="532" y="119"/>
                    </a:lnTo>
                    <a:lnTo>
                      <a:pt x="532" y="116"/>
                    </a:lnTo>
                    <a:lnTo>
                      <a:pt x="534" y="114"/>
                    </a:lnTo>
                    <a:lnTo>
                      <a:pt x="537" y="114"/>
                    </a:lnTo>
                    <a:lnTo>
                      <a:pt x="539" y="112"/>
                    </a:lnTo>
                    <a:lnTo>
                      <a:pt x="541" y="109"/>
                    </a:lnTo>
                    <a:lnTo>
                      <a:pt x="541" y="109"/>
                    </a:lnTo>
                    <a:lnTo>
                      <a:pt x="541" y="107"/>
                    </a:lnTo>
                    <a:lnTo>
                      <a:pt x="546" y="104"/>
                    </a:lnTo>
                    <a:lnTo>
                      <a:pt x="546" y="102"/>
                    </a:lnTo>
                    <a:lnTo>
                      <a:pt x="548" y="102"/>
                    </a:lnTo>
                    <a:lnTo>
                      <a:pt x="551" y="102"/>
                    </a:lnTo>
                    <a:lnTo>
                      <a:pt x="553" y="102"/>
                    </a:lnTo>
                    <a:lnTo>
                      <a:pt x="553" y="100"/>
                    </a:lnTo>
                    <a:lnTo>
                      <a:pt x="555" y="100"/>
                    </a:lnTo>
                    <a:lnTo>
                      <a:pt x="558" y="97"/>
                    </a:lnTo>
                    <a:lnTo>
                      <a:pt x="558" y="97"/>
                    </a:lnTo>
                    <a:lnTo>
                      <a:pt x="560" y="100"/>
                    </a:lnTo>
                    <a:lnTo>
                      <a:pt x="563" y="100"/>
                    </a:lnTo>
                    <a:lnTo>
                      <a:pt x="565" y="97"/>
                    </a:lnTo>
                    <a:lnTo>
                      <a:pt x="570" y="97"/>
                    </a:lnTo>
                    <a:lnTo>
                      <a:pt x="572" y="97"/>
                    </a:lnTo>
                    <a:lnTo>
                      <a:pt x="574" y="97"/>
                    </a:lnTo>
                    <a:lnTo>
                      <a:pt x="579" y="95"/>
                    </a:lnTo>
                    <a:lnTo>
                      <a:pt x="579" y="95"/>
                    </a:lnTo>
                    <a:lnTo>
                      <a:pt x="581" y="95"/>
                    </a:lnTo>
                    <a:lnTo>
                      <a:pt x="584" y="95"/>
                    </a:lnTo>
                    <a:lnTo>
                      <a:pt x="586" y="95"/>
                    </a:lnTo>
                    <a:lnTo>
                      <a:pt x="591" y="93"/>
                    </a:lnTo>
                    <a:lnTo>
                      <a:pt x="593" y="95"/>
                    </a:lnTo>
                    <a:lnTo>
                      <a:pt x="593" y="95"/>
                    </a:lnTo>
                    <a:lnTo>
                      <a:pt x="596" y="95"/>
                    </a:lnTo>
                    <a:lnTo>
                      <a:pt x="596" y="97"/>
                    </a:lnTo>
                    <a:lnTo>
                      <a:pt x="598" y="97"/>
                    </a:lnTo>
                    <a:lnTo>
                      <a:pt x="598" y="97"/>
                    </a:lnTo>
                    <a:lnTo>
                      <a:pt x="600" y="95"/>
                    </a:lnTo>
                    <a:lnTo>
                      <a:pt x="603" y="95"/>
                    </a:lnTo>
                    <a:lnTo>
                      <a:pt x="603" y="93"/>
                    </a:lnTo>
                    <a:lnTo>
                      <a:pt x="605" y="93"/>
                    </a:lnTo>
                    <a:lnTo>
                      <a:pt x="605" y="93"/>
                    </a:lnTo>
                    <a:lnTo>
                      <a:pt x="607" y="93"/>
                    </a:lnTo>
                    <a:lnTo>
                      <a:pt x="610" y="86"/>
                    </a:lnTo>
                    <a:lnTo>
                      <a:pt x="612" y="83"/>
                    </a:lnTo>
                    <a:lnTo>
                      <a:pt x="612" y="81"/>
                    </a:lnTo>
                    <a:lnTo>
                      <a:pt x="614" y="78"/>
                    </a:lnTo>
                    <a:lnTo>
                      <a:pt x="614" y="78"/>
                    </a:lnTo>
                    <a:lnTo>
                      <a:pt x="617" y="76"/>
                    </a:lnTo>
                    <a:lnTo>
                      <a:pt x="622" y="74"/>
                    </a:lnTo>
                    <a:lnTo>
                      <a:pt x="622" y="69"/>
                    </a:lnTo>
                    <a:lnTo>
                      <a:pt x="622" y="67"/>
                    </a:lnTo>
                    <a:lnTo>
                      <a:pt x="622" y="64"/>
                    </a:lnTo>
                    <a:lnTo>
                      <a:pt x="622" y="62"/>
                    </a:lnTo>
                    <a:lnTo>
                      <a:pt x="629" y="62"/>
                    </a:lnTo>
                    <a:lnTo>
                      <a:pt x="629" y="62"/>
                    </a:lnTo>
                    <a:lnTo>
                      <a:pt x="629" y="60"/>
                    </a:lnTo>
                    <a:lnTo>
                      <a:pt x="633" y="60"/>
                    </a:lnTo>
                    <a:lnTo>
                      <a:pt x="633" y="60"/>
                    </a:lnTo>
                    <a:lnTo>
                      <a:pt x="633" y="57"/>
                    </a:lnTo>
                    <a:lnTo>
                      <a:pt x="636" y="57"/>
                    </a:lnTo>
                    <a:lnTo>
                      <a:pt x="638" y="55"/>
                    </a:lnTo>
                    <a:lnTo>
                      <a:pt x="638" y="55"/>
                    </a:lnTo>
                    <a:lnTo>
                      <a:pt x="638" y="55"/>
                    </a:lnTo>
                    <a:lnTo>
                      <a:pt x="640" y="55"/>
                    </a:lnTo>
                    <a:lnTo>
                      <a:pt x="640" y="55"/>
                    </a:lnTo>
                    <a:lnTo>
                      <a:pt x="643" y="57"/>
                    </a:lnTo>
                    <a:lnTo>
                      <a:pt x="645" y="57"/>
                    </a:lnTo>
                    <a:lnTo>
                      <a:pt x="645" y="52"/>
                    </a:lnTo>
                    <a:lnTo>
                      <a:pt x="648" y="52"/>
                    </a:lnTo>
                    <a:lnTo>
                      <a:pt x="648" y="48"/>
                    </a:lnTo>
                    <a:lnTo>
                      <a:pt x="648" y="48"/>
                    </a:lnTo>
                    <a:lnTo>
                      <a:pt x="650" y="48"/>
                    </a:lnTo>
                    <a:lnTo>
                      <a:pt x="650" y="45"/>
                    </a:lnTo>
                    <a:lnTo>
                      <a:pt x="650" y="43"/>
                    </a:lnTo>
                    <a:lnTo>
                      <a:pt x="650" y="43"/>
                    </a:lnTo>
                    <a:lnTo>
                      <a:pt x="650" y="43"/>
                    </a:lnTo>
                    <a:lnTo>
                      <a:pt x="652" y="41"/>
                    </a:lnTo>
                    <a:lnTo>
                      <a:pt x="652" y="41"/>
                    </a:lnTo>
                    <a:lnTo>
                      <a:pt x="655" y="38"/>
                    </a:lnTo>
                    <a:lnTo>
                      <a:pt x="659" y="34"/>
                    </a:lnTo>
                    <a:lnTo>
                      <a:pt x="659" y="36"/>
                    </a:lnTo>
                    <a:lnTo>
                      <a:pt x="662" y="31"/>
                    </a:lnTo>
                    <a:lnTo>
                      <a:pt x="662" y="29"/>
                    </a:lnTo>
                    <a:lnTo>
                      <a:pt x="664" y="24"/>
                    </a:lnTo>
                    <a:lnTo>
                      <a:pt x="666" y="24"/>
                    </a:lnTo>
                    <a:lnTo>
                      <a:pt x="666" y="22"/>
                    </a:lnTo>
                    <a:lnTo>
                      <a:pt x="666" y="22"/>
                    </a:lnTo>
                    <a:lnTo>
                      <a:pt x="669" y="22"/>
                    </a:lnTo>
                    <a:lnTo>
                      <a:pt x="671" y="24"/>
                    </a:lnTo>
                    <a:lnTo>
                      <a:pt x="674" y="24"/>
                    </a:lnTo>
                    <a:lnTo>
                      <a:pt x="676" y="26"/>
                    </a:lnTo>
                    <a:lnTo>
                      <a:pt x="678" y="26"/>
                    </a:lnTo>
                    <a:lnTo>
                      <a:pt x="678" y="26"/>
                    </a:lnTo>
                    <a:lnTo>
                      <a:pt x="681" y="24"/>
                    </a:lnTo>
                    <a:lnTo>
                      <a:pt x="683" y="24"/>
                    </a:lnTo>
                    <a:lnTo>
                      <a:pt x="683" y="24"/>
                    </a:lnTo>
                    <a:lnTo>
                      <a:pt x="685" y="22"/>
                    </a:lnTo>
                    <a:lnTo>
                      <a:pt x="685" y="22"/>
                    </a:lnTo>
                    <a:lnTo>
                      <a:pt x="688" y="24"/>
                    </a:lnTo>
                    <a:lnTo>
                      <a:pt x="688" y="22"/>
                    </a:lnTo>
                    <a:lnTo>
                      <a:pt x="690" y="24"/>
                    </a:lnTo>
                    <a:lnTo>
                      <a:pt x="690" y="22"/>
                    </a:lnTo>
                    <a:lnTo>
                      <a:pt x="692" y="24"/>
                    </a:lnTo>
                    <a:lnTo>
                      <a:pt x="692" y="22"/>
                    </a:lnTo>
                    <a:lnTo>
                      <a:pt x="692" y="24"/>
                    </a:lnTo>
                    <a:lnTo>
                      <a:pt x="700" y="22"/>
                    </a:lnTo>
                    <a:lnTo>
                      <a:pt x="697" y="24"/>
                    </a:lnTo>
                    <a:lnTo>
                      <a:pt x="697" y="24"/>
                    </a:lnTo>
                    <a:lnTo>
                      <a:pt x="697" y="26"/>
                    </a:lnTo>
                    <a:lnTo>
                      <a:pt x="697" y="26"/>
                    </a:lnTo>
                    <a:lnTo>
                      <a:pt x="697" y="29"/>
                    </a:lnTo>
                    <a:lnTo>
                      <a:pt x="700" y="29"/>
                    </a:lnTo>
                    <a:lnTo>
                      <a:pt x="700" y="31"/>
                    </a:lnTo>
                    <a:lnTo>
                      <a:pt x="700" y="31"/>
                    </a:lnTo>
                    <a:lnTo>
                      <a:pt x="702" y="34"/>
                    </a:lnTo>
                    <a:lnTo>
                      <a:pt x="704" y="34"/>
                    </a:lnTo>
                    <a:lnTo>
                      <a:pt x="704" y="34"/>
                    </a:lnTo>
                    <a:lnTo>
                      <a:pt x="704" y="34"/>
                    </a:lnTo>
                    <a:lnTo>
                      <a:pt x="704" y="34"/>
                    </a:lnTo>
                    <a:lnTo>
                      <a:pt x="707" y="34"/>
                    </a:lnTo>
                    <a:lnTo>
                      <a:pt x="709" y="34"/>
                    </a:lnTo>
                    <a:lnTo>
                      <a:pt x="709" y="34"/>
                    </a:lnTo>
                    <a:lnTo>
                      <a:pt x="711" y="36"/>
                    </a:lnTo>
                    <a:lnTo>
                      <a:pt x="709" y="41"/>
                    </a:lnTo>
                    <a:lnTo>
                      <a:pt x="711" y="41"/>
                    </a:lnTo>
                    <a:lnTo>
                      <a:pt x="714" y="38"/>
                    </a:lnTo>
                    <a:lnTo>
                      <a:pt x="714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8" y="41"/>
                    </a:lnTo>
                    <a:lnTo>
                      <a:pt x="721" y="41"/>
                    </a:lnTo>
                    <a:lnTo>
                      <a:pt x="723" y="41"/>
                    </a:lnTo>
                    <a:lnTo>
                      <a:pt x="723" y="41"/>
                    </a:lnTo>
                    <a:lnTo>
                      <a:pt x="726" y="43"/>
                    </a:lnTo>
                    <a:lnTo>
                      <a:pt x="726" y="43"/>
                    </a:lnTo>
                    <a:lnTo>
                      <a:pt x="726" y="43"/>
                    </a:lnTo>
                    <a:lnTo>
                      <a:pt x="726" y="48"/>
                    </a:lnTo>
                    <a:lnTo>
                      <a:pt x="728" y="48"/>
                    </a:lnTo>
                    <a:lnTo>
                      <a:pt x="728" y="50"/>
                    </a:lnTo>
                    <a:lnTo>
                      <a:pt x="730" y="50"/>
                    </a:lnTo>
                    <a:lnTo>
                      <a:pt x="730" y="55"/>
                    </a:lnTo>
                    <a:lnTo>
                      <a:pt x="733" y="55"/>
                    </a:lnTo>
                    <a:lnTo>
                      <a:pt x="733" y="60"/>
                    </a:lnTo>
                    <a:lnTo>
                      <a:pt x="733" y="60"/>
                    </a:lnTo>
                    <a:lnTo>
                      <a:pt x="735" y="62"/>
                    </a:lnTo>
                    <a:lnTo>
                      <a:pt x="735" y="64"/>
                    </a:lnTo>
                    <a:lnTo>
                      <a:pt x="735" y="64"/>
                    </a:lnTo>
                    <a:lnTo>
                      <a:pt x="735" y="67"/>
                    </a:lnTo>
                    <a:lnTo>
                      <a:pt x="735" y="67"/>
                    </a:lnTo>
                    <a:lnTo>
                      <a:pt x="735" y="69"/>
                    </a:lnTo>
                    <a:lnTo>
                      <a:pt x="737" y="69"/>
                    </a:lnTo>
                    <a:lnTo>
                      <a:pt x="735" y="71"/>
                    </a:lnTo>
                    <a:lnTo>
                      <a:pt x="737" y="71"/>
                    </a:lnTo>
                    <a:lnTo>
                      <a:pt x="740" y="74"/>
                    </a:lnTo>
                    <a:lnTo>
                      <a:pt x="740" y="74"/>
                    </a:lnTo>
                    <a:lnTo>
                      <a:pt x="740" y="76"/>
                    </a:lnTo>
                    <a:lnTo>
                      <a:pt x="742" y="74"/>
                    </a:lnTo>
                    <a:lnTo>
                      <a:pt x="744" y="76"/>
                    </a:lnTo>
                    <a:lnTo>
                      <a:pt x="744" y="76"/>
                    </a:lnTo>
                    <a:lnTo>
                      <a:pt x="744" y="76"/>
                    </a:lnTo>
                    <a:lnTo>
                      <a:pt x="744" y="76"/>
                    </a:lnTo>
                    <a:lnTo>
                      <a:pt x="747" y="78"/>
                    </a:lnTo>
                    <a:lnTo>
                      <a:pt x="749" y="78"/>
                    </a:lnTo>
                    <a:lnTo>
                      <a:pt x="751" y="78"/>
                    </a:lnTo>
                    <a:lnTo>
                      <a:pt x="754" y="78"/>
                    </a:lnTo>
                    <a:lnTo>
                      <a:pt x="754" y="81"/>
                    </a:lnTo>
                    <a:lnTo>
                      <a:pt x="756" y="81"/>
                    </a:lnTo>
                    <a:lnTo>
                      <a:pt x="754" y="83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8"/>
                    </a:lnTo>
                    <a:lnTo>
                      <a:pt x="754" y="88"/>
                    </a:lnTo>
                    <a:lnTo>
                      <a:pt x="751" y="90"/>
                    </a:lnTo>
                    <a:lnTo>
                      <a:pt x="754" y="93"/>
                    </a:lnTo>
                    <a:lnTo>
                      <a:pt x="754" y="95"/>
                    </a:lnTo>
                    <a:lnTo>
                      <a:pt x="754" y="95"/>
                    </a:lnTo>
                    <a:lnTo>
                      <a:pt x="754" y="97"/>
                    </a:lnTo>
                    <a:lnTo>
                      <a:pt x="754" y="97"/>
                    </a:lnTo>
                    <a:lnTo>
                      <a:pt x="751" y="97"/>
                    </a:lnTo>
                    <a:lnTo>
                      <a:pt x="751" y="100"/>
                    </a:lnTo>
                    <a:lnTo>
                      <a:pt x="751" y="100"/>
                    </a:lnTo>
                    <a:lnTo>
                      <a:pt x="749" y="100"/>
                    </a:lnTo>
                    <a:lnTo>
                      <a:pt x="747" y="100"/>
                    </a:lnTo>
                    <a:lnTo>
                      <a:pt x="747" y="100"/>
                    </a:lnTo>
                    <a:lnTo>
                      <a:pt x="744" y="100"/>
                    </a:lnTo>
                    <a:lnTo>
                      <a:pt x="744" y="102"/>
                    </a:lnTo>
                    <a:lnTo>
                      <a:pt x="747" y="104"/>
                    </a:lnTo>
                    <a:lnTo>
                      <a:pt x="747" y="107"/>
                    </a:lnTo>
                    <a:lnTo>
                      <a:pt x="747" y="107"/>
                    </a:lnTo>
                    <a:lnTo>
                      <a:pt x="744" y="109"/>
                    </a:lnTo>
                    <a:lnTo>
                      <a:pt x="747" y="112"/>
                    </a:lnTo>
                    <a:lnTo>
                      <a:pt x="747" y="114"/>
                    </a:lnTo>
                    <a:lnTo>
                      <a:pt x="747" y="114"/>
                    </a:lnTo>
                    <a:lnTo>
                      <a:pt x="744" y="114"/>
                    </a:lnTo>
                    <a:lnTo>
                      <a:pt x="744" y="114"/>
                    </a:lnTo>
                    <a:lnTo>
                      <a:pt x="744" y="116"/>
                    </a:lnTo>
                    <a:lnTo>
                      <a:pt x="742" y="119"/>
                    </a:lnTo>
                    <a:lnTo>
                      <a:pt x="742" y="121"/>
                    </a:lnTo>
                    <a:lnTo>
                      <a:pt x="744" y="119"/>
                    </a:lnTo>
                    <a:lnTo>
                      <a:pt x="749" y="119"/>
                    </a:lnTo>
                    <a:lnTo>
                      <a:pt x="749" y="121"/>
                    </a:lnTo>
                    <a:lnTo>
                      <a:pt x="754" y="123"/>
                    </a:lnTo>
                    <a:lnTo>
                      <a:pt x="759" y="123"/>
                    </a:lnTo>
                    <a:lnTo>
                      <a:pt x="761" y="123"/>
                    </a:lnTo>
                    <a:lnTo>
                      <a:pt x="766" y="123"/>
                    </a:lnTo>
                    <a:lnTo>
                      <a:pt x="768" y="123"/>
                    </a:lnTo>
                    <a:lnTo>
                      <a:pt x="768" y="123"/>
                    </a:lnTo>
                    <a:lnTo>
                      <a:pt x="768" y="121"/>
                    </a:lnTo>
                    <a:lnTo>
                      <a:pt x="770" y="121"/>
                    </a:lnTo>
                    <a:lnTo>
                      <a:pt x="770" y="121"/>
                    </a:lnTo>
                    <a:lnTo>
                      <a:pt x="773" y="116"/>
                    </a:lnTo>
                    <a:lnTo>
                      <a:pt x="773" y="116"/>
                    </a:lnTo>
                    <a:lnTo>
                      <a:pt x="775" y="114"/>
                    </a:lnTo>
                    <a:lnTo>
                      <a:pt x="777" y="114"/>
                    </a:lnTo>
                    <a:lnTo>
                      <a:pt x="777" y="114"/>
                    </a:lnTo>
                    <a:lnTo>
                      <a:pt x="780" y="116"/>
                    </a:lnTo>
                    <a:lnTo>
                      <a:pt x="780" y="116"/>
                    </a:lnTo>
                    <a:lnTo>
                      <a:pt x="782" y="114"/>
                    </a:lnTo>
                    <a:lnTo>
                      <a:pt x="785" y="109"/>
                    </a:lnTo>
                    <a:lnTo>
                      <a:pt x="787" y="107"/>
                    </a:lnTo>
                    <a:lnTo>
                      <a:pt x="789" y="107"/>
                    </a:lnTo>
                    <a:lnTo>
                      <a:pt x="792" y="109"/>
                    </a:lnTo>
                    <a:lnTo>
                      <a:pt x="794" y="109"/>
                    </a:lnTo>
                    <a:lnTo>
                      <a:pt x="794" y="109"/>
                    </a:lnTo>
                    <a:lnTo>
                      <a:pt x="799" y="107"/>
                    </a:lnTo>
                    <a:lnTo>
                      <a:pt x="799" y="104"/>
                    </a:lnTo>
                    <a:lnTo>
                      <a:pt x="799" y="104"/>
                    </a:lnTo>
                    <a:lnTo>
                      <a:pt x="799" y="97"/>
                    </a:lnTo>
                    <a:lnTo>
                      <a:pt x="801" y="97"/>
                    </a:lnTo>
                    <a:lnTo>
                      <a:pt x="803" y="88"/>
                    </a:lnTo>
                    <a:lnTo>
                      <a:pt x="803" y="86"/>
                    </a:lnTo>
                    <a:lnTo>
                      <a:pt x="803" y="81"/>
                    </a:lnTo>
                    <a:lnTo>
                      <a:pt x="803" y="76"/>
                    </a:lnTo>
                    <a:lnTo>
                      <a:pt x="806" y="71"/>
                    </a:lnTo>
                    <a:lnTo>
                      <a:pt x="808" y="69"/>
                    </a:lnTo>
                    <a:lnTo>
                      <a:pt x="808" y="69"/>
                    </a:lnTo>
                    <a:lnTo>
                      <a:pt x="811" y="69"/>
                    </a:lnTo>
                    <a:lnTo>
                      <a:pt x="813" y="69"/>
                    </a:lnTo>
                    <a:lnTo>
                      <a:pt x="813" y="69"/>
                    </a:lnTo>
                    <a:lnTo>
                      <a:pt x="813" y="69"/>
                    </a:lnTo>
                    <a:lnTo>
                      <a:pt x="815" y="71"/>
                    </a:lnTo>
                    <a:lnTo>
                      <a:pt x="818" y="74"/>
                    </a:lnTo>
                    <a:lnTo>
                      <a:pt x="820" y="76"/>
                    </a:lnTo>
                    <a:lnTo>
                      <a:pt x="822" y="76"/>
                    </a:lnTo>
                    <a:lnTo>
                      <a:pt x="825" y="76"/>
                    </a:lnTo>
                    <a:lnTo>
                      <a:pt x="829" y="71"/>
                    </a:lnTo>
                    <a:lnTo>
                      <a:pt x="832" y="71"/>
                    </a:lnTo>
                    <a:lnTo>
                      <a:pt x="832" y="69"/>
                    </a:lnTo>
                    <a:lnTo>
                      <a:pt x="837" y="69"/>
                    </a:lnTo>
                    <a:lnTo>
                      <a:pt x="841" y="69"/>
                    </a:lnTo>
                    <a:lnTo>
                      <a:pt x="841" y="69"/>
                    </a:lnTo>
                    <a:lnTo>
                      <a:pt x="844" y="69"/>
                    </a:lnTo>
                    <a:lnTo>
                      <a:pt x="846" y="67"/>
                    </a:lnTo>
                    <a:lnTo>
                      <a:pt x="851" y="62"/>
                    </a:lnTo>
                    <a:lnTo>
                      <a:pt x="851" y="60"/>
                    </a:lnTo>
                    <a:lnTo>
                      <a:pt x="853" y="57"/>
                    </a:lnTo>
                    <a:lnTo>
                      <a:pt x="853" y="57"/>
                    </a:lnTo>
                    <a:lnTo>
                      <a:pt x="855" y="52"/>
                    </a:lnTo>
                    <a:lnTo>
                      <a:pt x="855" y="48"/>
                    </a:lnTo>
                    <a:lnTo>
                      <a:pt x="853" y="43"/>
                    </a:lnTo>
                    <a:lnTo>
                      <a:pt x="853" y="43"/>
                    </a:lnTo>
                    <a:lnTo>
                      <a:pt x="853" y="41"/>
                    </a:lnTo>
                    <a:lnTo>
                      <a:pt x="853" y="41"/>
                    </a:lnTo>
                    <a:lnTo>
                      <a:pt x="853" y="38"/>
                    </a:lnTo>
                    <a:lnTo>
                      <a:pt x="855" y="38"/>
                    </a:lnTo>
                    <a:lnTo>
                      <a:pt x="863" y="36"/>
                    </a:lnTo>
                    <a:lnTo>
                      <a:pt x="865" y="38"/>
                    </a:lnTo>
                    <a:lnTo>
                      <a:pt x="867" y="38"/>
                    </a:lnTo>
                    <a:lnTo>
                      <a:pt x="872" y="34"/>
                    </a:lnTo>
                    <a:lnTo>
                      <a:pt x="879" y="34"/>
                    </a:lnTo>
                    <a:lnTo>
                      <a:pt x="879" y="34"/>
                    </a:lnTo>
                    <a:lnTo>
                      <a:pt x="881" y="34"/>
                    </a:lnTo>
                    <a:lnTo>
                      <a:pt x="881" y="34"/>
                    </a:lnTo>
                    <a:lnTo>
                      <a:pt x="881" y="31"/>
                    </a:lnTo>
                    <a:lnTo>
                      <a:pt x="881" y="29"/>
                    </a:lnTo>
                    <a:lnTo>
                      <a:pt x="881" y="29"/>
                    </a:lnTo>
                    <a:lnTo>
                      <a:pt x="881" y="26"/>
                    </a:lnTo>
                    <a:lnTo>
                      <a:pt x="881" y="22"/>
                    </a:lnTo>
                    <a:lnTo>
                      <a:pt x="879" y="19"/>
                    </a:lnTo>
                    <a:lnTo>
                      <a:pt x="879" y="17"/>
                    </a:lnTo>
                    <a:lnTo>
                      <a:pt x="884" y="17"/>
                    </a:lnTo>
                    <a:lnTo>
                      <a:pt x="886" y="17"/>
                    </a:lnTo>
                    <a:lnTo>
                      <a:pt x="889" y="15"/>
                    </a:lnTo>
                    <a:lnTo>
                      <a:pt x="891" y="15"/>
                    </a:lnTo>
                    <a:lnTo>
                      <a:pt x="896" y="15"/>
                    </a:lnTo>
                    <a:lnTo>
                      <a:pt x="896" y="12"/>
                    </a:lnTo>
                    <a:lnTo>
                      <a:pt x="896" y="12"/>
                    </a:lnTo>
                    <a:lnTo>
                      <a:pt x="898" y="12"/>
                    </a:lnTo>
                    <a:lnTo>
                      <a:pt x="900" y="10"/>
                    </a:lnTo>
                    <a:lnTo>
                      <a:pt x="900" y="10"/>
                    </a:lnTo>
                    <a:lnTo>
                      <a:pt x="907" y="8"/>
                    </a:lnTo>
                    <a:lnTo>
                      <a:pt x="910" y="5"/>
                    </a:lnTo>
                    <a:lnTo>
                      <a:pt x="910" y="5"/>
                    </a:lnTo>
                    <a:lnTo>
                      <a:pt x="910" y="3"/>
                    </a:lnTo>
                    <a:lnTo>
                      <a:pt x="912" y="3"/>
                    </a:lnTo>
                    <a:lnTo>
                      <a:pt x="914" y="3"/>
                    </a:lnTo>
                    <a:lnTo>
                      <a:pt x="914" y="0"/>
                    </a:lnTo>
                    <a:lnTo>
                      <a:pt x="914" y="0"/>
                    </a:lnTo>
                    <a:lnTo>
                      <a:pt x="919" y="0"/>
                    </a:lnTo>
                    <a:lnTo>
                      <a:pt x="919" y="0"/>
                    </a:lnTo>
                    <a:lnTo>
                      <a:pt x="919" y="0"/>
                    </a:lnTo>
                    <a:lnTo>
                      <a:pt x="922" y="0"/>
                    </a:lnTo>
                    <a:lnTo>
                      <a:pt x="922" y="3"/>
                    </a:lnTo>
                    <a:lnTo>
                      <a:pt x="924" y="3"/>
                    </a:lnTo>
                    <a:lnTo>
                      <a:pt x="926" y="3"/>
                    </a:lnTo>
                    <a:lnTo>
                      <a:pt x="929" y="3"/>
                    </a:lnTo>
                    <a:lnTo>
                      <a:pt x="931" y="3"/>
                    </a:lnTo>
                    <a:lnTo>
                      <a:pt x="931" y="5"/>
                    </a:lnTo>
                    <a:lnTo>
                      <a:pt x="933" y="5"/>
                    </a:lnTo>
                    <a:lnTo>
                      <a:pt x="933" y="8"/>
                    </a:lnTo>
                    <a:lnTo>
                      <a:pt x="933" y="8"/>
                    </a:lnTo>
                    <a:lnTo>
                      <a:pt x="933" y="10"/>
                    </a:lnTo>
                    <a:lnTo>
                      <a:pt x="936" y="12"/>
                    </a:lnTo>
                    <a:lnTo>
                      <a:pt x="936" y="12"/>
                    </a:lnTo>
                    <a:lnTo>
                      <a:pt x="936" y="15"/>
                    </a:lnTo>
                    <a:lnTo>
                      <a:pt x="936" y="15"/>
                    </a:lnTo>
                    <a:lnTo>
                      <a:pt x="936" y="19"/>
                    </a:lnTo>
                    <a:lnTo>
                      <a:pt x="936" y="19"/>
                    </a:lnTo>
                    <a:lnTo>
                      <a:pt x="936" y="22"/>
                    </a:lnTo>
                    <a:lnTo>
                      <a:pt x="938" y="22"/>
                    </a:lnTo>
                    <a:lnTo>
                      <a:pt x="938" y="24"/>
                    </a:lnTo>
                    <a:lnTo>
                      <a:pt x="938" y="24"/>
                    </a:lnTo>
                    <a:lnTo>
                      <a:pt x="938" y="22"/>
                    </a:lnTo>
                    <a:lnTo>
                      <a:pt x="943" y="24"/>
                    </a:lnTo>
                    <a:lnTo>
                      <a:pt x="945" y="22"/>
                    </a:lnTo>
                    <a:lnTo>
                      <a:pt x="945" y="22"/>
                    </a:lnTo>
                    <a:lnTo>
                      <a:pt x="945" y="22"/>
                    </a:lnTo>
                    <a:lnTo>
                      <a:pt x="948" y="22"/>
                    </a:lnTo>
                    <a:lnTo>
                      <a:pt x="948" y="24"/>
                    </a:lnTo>
                    <a:lnTo>
                      <a:pt x="952" y="24"/>
                    </a:lnTo>
                    <a:lnTo>
                      <a:pt x="955" y="24"/>
                    </a:lnTo>
                    <a:lnTo>
                      <a:pt x="959" y="26"/>
                    </a:lnTo>
                    <a:lnTo>
                      <a:pt x="962" y="26"/>
                    </a:lnTo>
                    <a:lnTo>
                      <a:pt x="964" y="26"/>
                    </a:lnTo>
                    <a:lnTo>
                      <a:pt x="964" y="29"/>
                    </a:lnTo>
                    <a:lnTo>
                      <a:pt x="969" y="31"/>
                    </a:lnTo>
                    <a:lnTo>
                      <a:pt x="971" y="34"/>
                    </a:lnTo>
                    <a:lnTo>
                      <a:pt x="971" y="34"/>
                    </a:lnTo>
                    <a:lnTo>
                      <a:pt x="974" y="36"/>
                    </a:lnTo>
                    <a:lnTo>
                      <a:pt x="974" y="36"/>
                    </a:lnTo>
                    <a:lnTo>
                      <a:pt x="974" y="36"/>
                    </a:lnTo>
                    <a:lnTo>
                      <a:pt x="978" y="34"/>
                    </a:lnTo>
                    <a:lnTo>
                      <a:pt x="983" y="34"/>
                    </a:lnTo>
                    <a:lnTo>
                      <a:pt x="983" y="34"/>
                    </a:lnTo>
                    <a:lnTo>
                      <a:pt x="985" y="34"/>
                    </a:lnTo>
                    <a:lnTo>
                      <a:pt x="992" y="34"/>
                    </a:lnTo>
                    <a:lnTo>
                      <a:pt x="992" y="34"/>
                    </a:lnTo>
                    <a:lnTo>
                      <a:pt x="992" y="34"/>
                    </a:lnTo>
                    <a:lnTo>
                      <a:pt x="997" y="38"/>
                    </a:lnTo>
                    <a:lnTo>
                      <a:pt x="1000" y="41"/>
                    </a:lnTo>
                    <a:lnTo>
                      <a:pt x="1002" y="41"/>
                    </a:lnTo>
                    <a:lnTo>
                      <a:pt x="1004" y="43"/>
                    </a:lnTo>
                    <a:lnTo>
                      <a:pt x="1007" y="45"/>
                    </a:lnTo>
                    <a:lnTo>
                      <a:pt x="1007" y="50"/>
                    </a:lnTo>
                    <a:lnTo>
                      <a:pt x="1007" y="52"/>
                    </a:lnTo>
                    <a:lnTo>
                      <a:pt x="1007" y="55"/>
                    </a:lnTo>
                    <a:lnTo>
                      <a:pt x="1009" y="57"/>
                    </a:lnTo>
                    <a:lnTo>
                      <a:pt x="1011" y="60"/>
                    </a:lnTo>
                    <a:lnTo>
                      <a:pt x="1014" y="60"/>
                    </a:lnTo>
                    <a:lnTo>
                      <a:pt x="1016" y="60"/>
                    </a:lnTo>
                    <a:lnTo>
                      <a:pt x="1016" y="55"/>
                    </a:lnTo>
                    <a:lnTo>
                      <a:pt x="1016" y="48"/>
                    </a:lnTo>
                    <a:lnTo>
                      <a:pt x="1018" y="45"/>
                    </a:lnTo>
                    <a:lnTo>
                      <a:pt x="1021" y="38"/>
                    </a:lnTo>
                    <a:lnTo>
                      <a:pt x="1026" y="38"/>
                    </a:lnTo>
                    <a:lnTo>
                      <a:pt x="1030" y="38"/>
                    </a:lnTo>
                    <a:lnTo>
                      <a:pt x="1033" y="41"/>
                    </a:lnTo>
                    <a:lnTo>
                      <a:pt x="1035" y="43"/>
                    </a:lnTo>
                    <a:lnTo>
                      <a:pt x="1035" y="48"/>
                    </a:lnTo>
                    <a:lnTo>
                      <a:pt x="1033" y="48"/>
                    </a:lnTo>
                    <a:lnTo>
                      <a:pt x="1030" y="50"/>
                    </a:lnTo>
                    <a:lnTo>
                      <a:pt x="1028" y="52"/>
                    </a:lnTo>
                    <a:lnTo>
                      <a:pt x="1028" y="52"/>
                    </a:lnTo>
                    <a:lnTo>
                      <a:pt x="1028" y="52"/>
                    </a:lnTo>
                    <a:lnTo>
                      <a:pt x="1028" y="55"/>
                    </a:lnTo>
                    <a:lnTo>
                      <a:pt x="1028" y="57"/>
                    </a:lnTo>
                    <a:lnTo>
                      <a:pt x="1030" y="60"/>
                    </a:lnTo>
                    <a:lnTo>
                      <a:pt x="1033" y="62"/>
                    </a:lnTo>
                    <a:lnTo>
                      <a:pt x="1037" y="64"/>
                    </a:lnTo>
                    <a:lnTo>
                      <a:pt x="1037" y="64"/>
                    </a:lnTo>
                    <a:lnTo>
                      <a:pt x="1040" y="67"/>
                    </a:lnTo>
                    <a:lnTo>
                      <a:pt x="1042" y="67"/>
                    </a:lnTo>
                    <a:lnTo>
                      <a:pt x="1044" y="64"/>
                    </a:lnTo>
                    <a:lnTo>
                      <a:pt x="1049" y="60"/>
                    </a:lnTo>
                    <a:lnTo>
                      <a:pt x="1049" y="60"/>
                    </a:lnTo>
                    <a:lnTo>
                      <a:pt x="1052" y="60"/>
                    </a:lnTo>
                    <a:lnTo>
                      <a:pt x="1054" y="60"/>
                    </a:lnTo>
                    <a:lnTo>
                      <a:pt x="1054" y="62"/>
                    </a:lnTo>
                    <a:lnTo>
                      <a:pt x="1056" y="64"/>
                    </a:lnTo>
                    <a:lnTo>
                      <a:pt x="1056" y="67"/>
                    </a:lnTo>
                    <a:lnTo>
                      <a:pt x="1056" y="67"/>
                    </a:lnTo>
                    <a:lnTo>
                      <a:pt x="1056" y="69"/>
                    </a:lnTo>
                    <a:lnTo>
                      <a:pt x="1054" y="69"/>
                    </a:lnTo>
                    <a:lnTo>
                      <a:pt x="1054" y="71"/>
                    </a:lnTo>
                    <a:lnTo>
                      <a:pt x="1054" y="74"/>
                    </a:lnTo>
                    <a:lnTo>
                      <a:pt x="1056" y="74"/>
                    </a:lnTo>
                    <a:lnTo>
                      <a:pt x="1054" y="76"/>
                    </a:lnTo>
                    <a:lnTo>
                      <a:pt x="1054" y="78"/>
                    </a:lnTo>
                    <a:lnTo>
                      <a:pt x="1054" y="81"/>
                    </a:lnTo>
                    <a:lnTo>
                      <a:pt x="1056" y="81"/>
                    </a:lnTo>
                    <a:lnTo>
                      <a:pt x="1056" y="83"/>
                    </a:lnTo>
                    <a:lnTo>
                      <a:pt x="1059" y="88"/>
                    </a:lnTo>
                    <a:lnTo>
                      <a:pt x="1059" y="90"/>
                    </a:lnTo>
                    <a:lnTo>
                      <a:pt x="1063" y="100"/>
                    </a:lnTo>
                    <a:lnTo>
                      <a:pt x="1063" y="104"/>
                    </a:lnTo>
                    <a:lnTo>
                      <a:pt x="1068" y="107"/>
                    </a:lnTo>
                    <a:lnTo>
                      <a:pt x="1068" y="109"/>
                    </a:lnTo>
                    <a:lnTo>
                      <a:pt x="1070" y="112"/>
                    </a:lnTo>
                    <a:lnTo>
                      <a:pt x="1070" y="114"/>
                    </a:lnTo>
                    <a:lnTo>
                      <a:pt x="1068" y="114"/>
                    </a:lnTo>
                    <a:lnTo>
                      <a:pt x="1068" y="116"/>
                    </a:lnTo>
                    <a:lnTo>
                      <a:pt x="1070" y="116"/>
                    </a:lnTo>
                    <a:lnTo>
                      <a:pt x="1073" y="116"/>
                    </a:lnTo>
                    <a:lnTo>
                      <a:pt x="1075" y="119"/>
                    </a:lnTo>
                    <a:lnTo>
                      <a:pt x="1075" y="119"/>
                    </a:lnTo>
                    <a:lnTo>
                      <a:pt x="1080" y="119"/>
                    </a:lnTo>
                    <a:lnTo>
                      <a:pt x="1080" y="119"/>
                    </a:lnTo>
                    <a:lnTo>
                      <a:pt x="1080" y="119"/>
                    </a:lnTo>
                    <a:lnTo>
                      <a:pt x="1085" y="119"/>
                    </a:lnTo>
                    <a:lnTo>
                      <a:pt x="1085" y="119"/>
                    </a:lnTo>
                    <a:lnTo>
                      <a:pt x="1085" y="121"/>
                    </a:lnTo>
                    <a:lnTo>
                      <a:pt x="1085" y="121"/>
                    </a:lnTo>
                    <a:lnTo>
                      <a:pt x="1087" y="121"/>
                    </a:lnTo>
                    <a:lnTo>
                      <a:pt x="1089" y="123"/>
                    </a:lnTo>
                    <a:lnTo>
                      <a:pt x="1089" y="123"/>
                    </a:lnTo>
                    <a:lnTo>
                      <a:pt x="1092" y="123"/>
                    </a:lnTo>
                    <a:lnTo>
                      <a:pt x="1092" y="123"/>
                    </a:lnTo>
                    <a:lnTo>
                      <a:pt x="1094" y="126"/>
                    </a:lnTo>
                    <a:lnTo>
                      <a:pt x="1094" y="128"/>
                    </a:lnTo>
                    <a:lnTo>
                      <a:pt x="1092" y="130"/>
                    </a:lnTo>
                    <a:lnTo>
                      <a:pt x="1092" y="130"/>
                    </a:lnTo>
                    <a:lnTo>
                      <a:pt x="1092" y="133"/>
                    </a:lnTo>
                    <a:lnTo>
                      <a:pt x="1092" y="133"/>
                    </a:lnTo>
                    <a:lnTo>
                      <a:pt x="1092" y="133"/>
                    </a:lnTo>
                    <a:lnTo>
                      <a:pt x="1092" y="135"/>
                    </a:lnTo>
                    <a:lnTo>
                      <a:pt x="1092" y="135"/>
                    </a:lnTo>
                    <a:lnTo>
                      <a:pt x="1092" y="135"/>
                    </a:lnTo>
                    <a:lnTo>
                      <a:pt x="1089" y="135"/>
                    </a:lnTo>
                    <a:lnTo>
                      <a:pt x="1089" y="135"/>
                    </a:lnTo>
                    <a:lnTo>
                      <a:pt x="1089" y="137"/>
                    </a:lnTo>
                    <a:lnTo>
                      <a:pt x="1089" y="140"/>
                    </a:lnTo>
                    <a:lnTo>
                      <a:pt x="1089" y="142"/>
                    </a:lnTo>
                    <a:lnTo>
                      <a:pt x="1092" y="142"/>
                    </a:lnTo>
                    <a:lnTo>
                      <a:pt x="1092" y="142"/>
                    </a:lnTo>
                    <a:lnTo>
                      <a:pt x="1094" y="145"/>
                    </a:lnTo>
                    <a:lnTo>
                      <a:pt x="1094" y="145"/>
                    </a:lnTo>
                    <a:lnTo>
                      <a:pt x="1096" y="145"/>
                    </a:lnTo>
                    <a:lnTo>
                      <a:pt x="1094" y="147"/>
                    </a:lnTo>
                    <a:lnTo>
                      <a:pt x="1094" y="147"/>
                    </a:lnTo>
                    <a:lnTo>
                      <a:pt x="1094" y="147"/>
                    </a:lnTo>
                    <a:lnTo>
                      <a:pt x="1092" y="149"/>
                    </a:lnTo>
                    <a:lnTo>
                      <a:pt x="1092" y="149"/>
                    </a:lnTo>
                    <a:lnTo>
                      <a:pt x="1089" y="152"/>
                    </a:lnTo>
                    <a:lnTo>
                      <a:pt x="1089" y="152"/>
                    </a:lnTo>
                    <a:lnTo>
                      <a:pt x="1089" y="152"/>
                    </a:lnTo>
                    <a:lnTo>
                      <a:pt x="1089" y="154"/>
                    </a:lnTo>
                    <a:lnTo>
                      <a:pt x="1089" y="156"/>
                    </a:lnTo>
                    <a:lnTo>
                      <a:pt x="1089" y="159"/>
                    </a:lnTo>
                    <a:lnTo>
                      <a:pt x="1092" y="163"/>
                    </a:lnTo>
                    <a:lnTo>
                      <a:pt x="1092" y="163"/>
                    </a:lnTo>
                    <a:lnTo>
                      <a:pt x="1092" y="163"/>
                    </a:lnTo>
                    <a:lnTo>
                      <a:pt x="1094" y="166"/>
                    </a:lnTo>
                    <a:lnTo>
                      <a:pt x="1096" y="168"/>
                    </a:lnTo>
                    <a:lnTo>
                      <a:pt x="1099" y="168"/>
                    </a:lnTo>
                    <a:lnTo>
                      <a:pt x="1099" y="168"/>
                    </a:lnTo>
                    <a:lnTo>
                      <a:pt x="1099" y="171"/>
                    </a:lnTo>
                    <a:lnTo>
                      <a:pt x="1096" y="171"/>
                    </a:lnTo>
                    <a:lnTo>
                      <a:pt x="1099" y="173"/>
                    </a:lnTo>
                    <a:lnTo>
                      <a:pt x="1099" y="173"/>
                    </a:lnTo>
                    <a:lnTo>
                      <a:pt x="1096" y="175"/>
                    </a:lnTo>
                    <a:lnTo>
                      <a:pt x="1096" y="178"/>
                    </a:lnTo>
                    <a:lnTo>
                      <a:pt x="1094" y="180"/>
                    </a:lnTo>
                    <a:lnTo>
                      <a:pt x="1094" y="180"/>
                    </a:lnTo>
                    <a:lnTo>
                      <a:pt x="1096" y="182"/>
                    </a:lnTo>
                    <a:lnTo>
                      <a:pt x="1099" y="187"/>
                    </a:lnTo>
                    <a:lnTo>
                      <a:pt x="1099" y="187"/>
                    </a:lnTo>
                    <a:lnTo>
                      <a:pt x="1101" y="187"/>
                    </a:lnTo>
                    <a:lnTo>
                      <a:pt x="1101" y="187"/>
                    </a:lnTo>
                    <a:lnTo>
                      <a:pt x="1103" y="187"/>
                    </a:lnTo>
                    <a:lnTo>
                      <a:pt x="1103" y="189"/>
                    </a:lnTo>
                    <a:lnTo>
                      <a:pt x="1103" y="189"/>
                    </a:lnTo>
                    <a:lnTo>
                      <a:pt x="1106" y="189"/>
                    </a:lnTo>
                    <a:lnTo>
                      <a:pt x="1108" y="189"/>
                    </a:lnTo>
                    <a:lnTo>
                      <a:pt x="1111" y="189"/>
                    </a:lnTo>
                    <a:lnTo>
                      <a:pt x="1115" y="192"/>
                    </a:lnTo>
                    <a:lnTo>
                      <a:pt x="1118" y="194"/>
                    </a:lnTo>
                    <a:lnTo>
                      <a:pt x="1118" y="197"/>
                    </a:lnTo>
                    <a:lnTo>
                      <a:pt x="1118" y="197"/>
                    </a:lnTo>
                    <a:lnTo>
                      <a:pt x="1118" y="199"/>
                    </a:lnTo>
                    <a:lnTo>
                      <a:pt x="1120" y="206"/>
                    </a:lnTo>
                    <a:lnTo>
                      <a:pt x="1122" y="208"/>
                    </a:lnTo>
                    <a:lnTo>
                      <a:pt x="1122" y="211"/>
                    </a:lnTo>
                    <a:lnTo>
                      <a:pt x="1122" y="215"/>
                    </a:lnTo>
                    <a:lnTo>
                      <a:pt x="1122" y="215"/>
                    </a:lnTo>
                    <a:lnTo>
                      <a:pt x="1125" y="218"/>
                    </a:lnTo>
                    <a:lnTo>
                      <a:pt x="1127" y="234"/>
                    </a:lnTo>
                    <a:lnTo>
                      <a:pt x="1127" y="234"/>
                    </a:lnTo>
                    <a:lnTo>
                      <a:pt x="1127" y="234"/>
                    </a:lnTo>
                    <a:lnTo>
                      <a:pt x="1125" y="237"/>
                    </a:lnTo>
                    <a:lnTo>
                      <a:pt x="1122" y="237"/>
                    </a:lnTo>
                    <a:lnTo>
                      <a:pt x="1120" y="237"/>
                    </a:lnTo>
                    <a:lnTo>
                      <a:pt x="1118" y="239"/>
                    </a:lnTo>
                    <a:lnTo>
                      <a:pt x="1118" y="239"/>
                    </a:lnTo>
                    <a:lnTo>
                      <a:pt x="1118" y="241"/>
                    </a:lnTo>
                    <a:lnTo>
                      <a:pt x="1118" y="241"/>
                    </a:lnTo>
                    <a:lnTo>
                      <a:pt x="1115" y="241"/>
                    </a:lnTo>
                    <a:lnTo>
                      <a:pt x="1115" y="241"/>
                    </a:lnTo>
                    <a:lnTo>
                      <a:pt x="1115" y="241"/>
                    </a:lnTo>
                    <a:lnTo>
                      <a:pt x="1113" y="244"/>
                    </a:lnTo>
                    <a:lnTo>
                      <a:pt x="1113" y="244"/>
                    </a:lnTo>
                    <a:lnTo>
                      <a:pt x="1115" y="244"/>
                    </a:lnTo>
                    <a:lnTo>
                      <a:pt x="1113" y="244"/>
                    </a:lnTo>
                    <a:lnTo>
                      <a:pt x="1113" y="246"/>
                    </a:lnTo>
                    <a:lnTo>
                      <a:pt x="1113" y="246"/>
                    </a:lnTo>
                    <a:lnTo>
                      <a:pt x="1118" y="256"/>
                    </a:lnTo>
                    <a:lnTo>
                      <a:pt x="1118" y="258"/>
                    </a:lnTo>
                    <a:lnTo>
                      <a:pt x="1118" y="258"/>
                    </a:lnTo>
                    <a:lnTo>
                      <a:pt x="1118" y="260"/>
                    </a:lnTo>
                    <a:lnTo>
                      <a:pt x="1118" y="260"/>
                    </a:lnTo>
                    <a:lnTo>
                      <a:pt x="1118" y="263"/>
                    </a:lnTo>
                    <a:lnTo>
                      <a:pt x="1118" y="263"/>
                    </a:lnTo>
                    <a:lnTo>
                      <a:pt x="1115" y="263"/>
                    </a:lnTo>
                    <a:lnTo>
                      <a:pt x="1115" y="263"/>
                    </a:lnTo>
                    <a:lnTo>
                      <a:pt x="1113" y="263"/>
                    </a:lnTo>
                    <a:lnTo>
                      <a:pt x="1113" y="265"/>
                    </a:lnTo>
                    <a:lnTo>
                      <a:pt x="1115" y="265"/>
                    </a:lnTo>
                    <a:lnTo>
                      <a:pt x="1115" y="265"/>
                    </a:lnTo>
                    <a:lnTo>
                      <a:pt x="1115" y="267"/>
                    </a:lnTo>
                    <a:lnTo>
                      <a:pt x="1115" y="267"/>
                    </a:lnTo>
                    <a:lnTo>
                      <a:pt x="1118" y="282"/>
                    </a:lnTo>
                    <a:lnTo>
                      <a:pt x="1101" y="289"/>
                    </a:lnTo>
                    <a:lnTo>
                      <a:pt x="1099" y="291"/>
                    </a:lnTo>
                    <a:lnTo>
                      <a:pt x="1094" y="291"/>
                    </a:lnTo>
                    <a:lnTo>
                      <a:pt x="1092" y="291"/>
                    </a:lnTo>
                    <a:lnTo>
                      <a:pt x="1092" y="289"/>
                    </a:lnTo>
                    <a:lnTo>
                      <a:pt x="1092" y="289"/>
                    </a:lnTo>
                    <a:lnTo>
                      <a:pt x="1089" y="286"/>
                    </a:lnTo>
                    <a:lnTo>
                      <a:pt x="1089" y="286"/>
                    </a:lnTo>
                    <a:lnTo>
                      <a:pt x="1087" y="284"/>
                    </a:lnTo>
                    <a:lnTo>
                      <a:pt x="1087" y="284"/>
                    </a:lnTo>
                    <a:lnTo>
                      <a:pt x="1085" y="286"/>
                    </a:lnTo>
                    <a:lnTo>
                      <a:pt x="1082" y="284"/>
                    </a:lnTo>
                    <a:lnTo>
                      <a:pt x="1082" y="284"/>
                    </a:lnTo>
                    <a:lnTo>
                      <a:pt x="1080" y="286"/>
                    </a:lnTo>
                    <a:lnTo>
                      <a:pt x="1080" y="284"/>
                    </a:lnTo>
                    <a:lnTo>
                      <a:pt x="1077" y="286"/>
                    </a:lnTo>
                    <a:lnTo>
                      <a:pt x="1075" y="286"/>
                    </a:lnTo>
                    <a:lnTo>
                      <a:pt x="1075" y="286"/>
                    </a:lnTo>
                    <a:lnTo>
                      <a:pt x="1073" y="286"/>
                    </a:lnTo>
                    <a:lnTo>
                      <a:pt x="1073" y="286"/>
                    </a:lnTo>
                    <a:lnTo>
                      <a:pt x="1070" y="284"/>
                    </a:lnTo>
                    <a:lnTo>
                      <a:pt x="1068" y="284"/>
                    </a:lnTo>
                    <a:lnTo>
                      <a:pt x="1068" y="284"/>
                    </a:lnTo>
                    <a:lnTo>
                      <a:pt x="1066" y="286"/>
                    </a:lnTo>
                    <a:lnTo>
                      <a:pt x="1066" y="289"/>
                    </a:lnTo>
                    <a:lnTo>
                      <a:pt x="1066" y="289"/>
                    </a:lnTo>
                    <a:lnTo>
                      <a:pt x="1066" y="291"/>
                    </a:lnTo>
                    <a:lnTo>
                      <a:pt x="1066" y="293"/>
                    </a:lnTo>
                    <a:lnTo>
                      <a:pt x="1066" y="296"/>
                    </a:lnTo>
                    <a:lnTo>
                      <a:pt x="1063" y="296"/>
                    </a:lnTo>
                    <a:lnTo>
                      <a:pt x="1063" y="296"/>
                    </a:lnTo>
                    <a:lnTo>
                      <a:pt x="1063" y="298"/>
                    </a:lnTo>
                    <a:lnTo>
                      <a:pt x="1063" y="300"/>
                    </a:lnTo>
                    <a:lnTo>
                      <a:pt x="1063" y="300"/>
                    </a:lnTo>
                    <a:lnTo>
                      <a:pt x="1066" y="303"/>
                    </a:lnTo>
                    <a:lnTo>
                      <a:pt x="1063" y="303"/>
                    </a:lnTo>
                    <a:lnTo>
                      <a:pt x="1063" y="305"/>
                    </a:lnTo>
                    <a:lnTo>
                      <a:pt x="1063" y="308"/>
                    </a:lnTo>
                    <a:lnTo>
                      <a:pt x="1066" y="310"/>
                    </a:lnTo>
                    <a:lnTo>
                      <a:pt x="1066" y="312"/>
                    </a:lnTo>
                    <a:lnTo>
                      <a:pt x="1066" y="312"/>
                    </a:lnTo>
                    <a:lnTo>
                      <a:pt x="1066" y="315"/>
                    </a:lnTo>
                    <a:lnTo>
                      <a:pt x="1068" y="312"/>
                    </a:lnTo>
                    <a:lnTo>
                      <a:pt x="1068" y="312"/>
                    </a:lnTo>
                    <a:lnTo>
                      <a:pt x="1068" y="315"/>
                    </a:lnTo>
                    <a:lnTo>
                      <a:pt x="1070" y="315"/>
                    </a:lnTo>
                    <a:lnTo>
                      <a:pt x="1070" y="317"/>
                    </a:lnTo>
                    <a:lnTo>
                      <a:pt x="1070" y="317"/>
                    </a:lnTo>
                    <a:lnTo>
                      <a:pt x="1070" y="319"/>
                    </a:lnTo>
                    <a:lnTo>
                      <a:pt x="1073" y="319"/>
                    </a:lnTo>
                    <a:lnTo>
                      <a:pt x="1075" y="322"/>
                    </a:lnTo>
                    <a:lnTo>
                      <a:pt x="1075" y="324"/>
                    </a:lnTo>
                    <a:lnTo>
                      <a:pt x="1077" y="324"/>
                    </a:lnTo>
                    <a:lnTo>
                      <a:pt x="1077" y="324"/>
                    </a:lnTo>
                    <a:lnTo>
                      <a:pt x="1077" y="324"/>
                    </a:lnTo>
                    <a:lnTo>
                      <a:pt x="1080" y="324"/>
                    </a:lnTo>
                    <a:lnTo>
                      <a:pt x="1080" y="324"/>
                    </a:lnTo>
                    <a:lnTo>
                      <a:pt x="1080" y="326"/>
                    </a:lnTo>
                    <a:lnTo>
                      <a:pt x="1082" y="326"/>
                    </a:lnTo>
                    <a:lnTo>
                      <a:pt x="1080" y="326"/>
                    </a:lnTo>
                    <a:lnTo>
                      <a:pt x="1080" y="329"/>
                    </a:lnTo>
                    <a:lnTo>
                      <a:pt x="1082" y="329"/>
                    </a:lnTo>
                    <a:lnTo>
                      <a:pt x="1082" y="329"/>
                    </a:lnTo>
                    <a:lnTo>
                      <a:pt x="1082" y="329"/>
                    </a:lnTo>
                    <a:lnTo>
                      <a:pt x="1082" y="329"/>
                    </a:lnTo>
                    <a:lnTo>
                      <a:pt x="1082" y="331"/>
                    </a:lnTo>
                    <a:lnTo>
                      <a:pt x="1085" y="331"/>
                    </a:lnTo>
                    <a:lnTo>
                      <a:pt x="1085" y="334"/>
                    </a:lnTo>
                    <a:lnTo>
                      <a:pt x="1082" y="336"/>
                    </a:lnTo>
                    <a:lnTo>
                      <a:pt x="1082" y="336"/>
                    </a:lnTo>
                    <a:lnTo>
                      <a:pt x="1082" y="336"/>
                    </a:lnTo>
                    <a:lnTo>
                      <a:pt x="1082" y="338"/>
                    </a:lnTo>
                    <a:lnTo>
                      <a:pt x="1085" y="338"/>
                    </a:lnTo>
                    <a:lnTo>
                      <a:pt x="1085" y="338"/>
                    </a:lnTo>
                    <a:lnTo>
                      <a:pt x="1085" y="338"/>
                    </a:lnTo>
                    <a:lnTo>
                      <a:pt x="1085" y="341"/>
                    </a:lnTo>
                    <a:lnTo>
                      <a:pt x="1085" y="343"/>
                    </a:lnTo>
                    <a:lnTo>
                      <a:pt x="1085" y="343"/>
                    </a:lnTo>
                    <a:lnTo>
                      <a:pt x="1087" y="343"/>
                    </a:lnTo>
                    <a:lnTo>
                      <a:pt x="1089" y="345"/>
                    </a:lnTo>
                    <a:lnTo>
                      <a:pt x="1089" y="345"/>
                    </a:lnTo>
                    <a:lnTo>
                      <a:pt x="1092" y="345"/>
                    </a:lnTo>
                    <a:lnTo>
                      <a:pt x="1094" y="348"/>
                    </a:lnTo>
                    <a:lnTo>
                      <a:pt x="1094" y="348"/>
                    </a:lnTo>
                    <a:lnTo>
                      <a:pt x="1096" y="348"/>
                    </a:lnTo>
                    <a:lnTo>
                      <a:pt x="1096" y="348"/>
                    </a:lnTo>
                    <a:lnTo>
                      <a:pt x="1099" y="348"/>
                    </a:lnTo>
                    <a:lnTo>
                      <a:pt x="1096" y="348"/>
                    </a:lnTo>
                    <a:lnTo>
                      <a:pt x="1096" y="350"/>
                    </a:lnTo>
                    <a:lnTo>
                      <a:pt x="1096" y="350"/>
                    </a:lnTo>
                    <a:lnTo>
                      <a:pt x="1096" y="352"/>
                    </a:lnTo>
                    <a:lnTo>
                      <a:pt x="1096" y="352"/>
                    </a:lnTo>
                    <a:lnTo>
                      <a:pt x="1094" y="352"/>
                    </a:lnTo>
                    <a:lnTo>
                      <a:pt x="1096" y="355"/>
                    </a:lnTo>
                    <a:lnTo>
                      <a:pt x="1094" y="355"/>
                    </a:lnTo>
                    <a:lnTo>
                      <a:pt x="1094" y="355"/>
                    </a:lnTo>
                    <a:lnTo>
                      <a:pt x="1096" y="355"/>
                    </a:lnTo>
                    <a:lnTo>
                      <a:pt x="1096" y="355"/>
                    </a:lnTo>
                    <a:lnTo>
                      <a:pt x="1094" y="357"/>
                    </a:lnTo>
                    <a:lnTo>
                      <a:pt x="1096" y="357"/>
                    </a:lnTo>
                    <a:lnTo>
                      <a:pt x="1094" y="357"/>
                    </a:lnTo>
                    <a:lnTo>
                      <a:pt x="1094" y="360"/>
                    </a:lnTo>
                    <a:lnTo>
                      <a:pt x="1094" y="360"/>
                    </a:lnTo>
                    <a:lnTo>
                      <a:pt x="1094" y="362"/>
                    </a:lnTo>
                    <a:lnTo>
                      <a:pt x="1094" y="364"/>
                    </a:lnTo>
                    <a:lnTo>
                      <a:pt x="1094" y="364"/>
                    </a:lnTo>
                    <a:lnTo>
                      <a:pt x="1094" y="364"/>
                    </a:lnTo>
                    <a:lnTo>
                      <a:pt x="1096" y="367"/>
                    </a:lnTo>
                    <a:lnTo>
                      <a:pt x="1094" y="367"/>
                    </a:lnTo>
                    <a:lnTo>
                      <a:pt x="1094" y="367"/>
                    </a:lnTo>
                    <a:lnTo>
                      <a:pt x="1094" y="369"/>
                    </a:lnTo>
                    <a:lnTo>
                      <a:pt x="1096" y="367"/>
                    </a:lnTo>
                    <a:lnTo>
                      <a:pt x="1096" y="369"/>
                    </a:lnTo>
                    <a:lnTo>
                      <a:pt x="1096" y="371"/>
                    </a:lnTo>
                    <a:lnTo>
                      <a:pt x="1099" y="371"/>
                    </a:lnTo>
                    <a:lnTo>
                      <a:pt x="1099" y="371"/>
                    </a:lnTo>
                    <a:lnTo>
                      <a:pt x="1096" y="374"/>
                    </a:lnTo>
                    <a:lnTo>
                      <a:pt x="1096" y="374"/>
                    </a:lnTo>
                    <a:lnTo>
                      <a:pt x="1099" y="374"/>
                    </a:lnTo>
                    <a:lnTo>
                      <a:pt x="1099" y="376"/>
                    </a:lnTo>
                    <a:lnTo>
                      <a:pt x="1099" y="374"/>
                    </a:lnTo>
                    <a:lnTo>
                      <a:pt x="1101" y="374"/>
                    </a:lnTo>
                    <a:lnTo>
                      <a:pt x="1101" y="376"/>
                    </a:lnTo>
                    <a:lnTo>
                      <a:pt x="1099" y="376"/>
                    </a:lnTo>
                    <a:lnTo>
                      <a:pt x="1101" y="376"/>
                    </a:lnTo>
                    <a:lnTo>
                      <a:pt x="1101" y="378"/>
                    </a:lnTo>
                    <a:lnTo>
                      <a:pt x="1101" y="378"/>
                    </a:lnTo>
                    <a:lnTo>
                      <a:pt x="1101" y="378"/>
                    </a:lnTo>
                    <a:lnTo>
                      <a:pt x="1101" y="376"/>
                    </a:lnTo>
                    <a:lnTo>
                      <a:pt x="1103" y="376"/>
                    </a:lnTo>
                    <a:lnTo>
                      <a:pt x="1103" y="376"/>
                    </a:lnTo>
                    <a:lnTo>
                      <a:pt x="1103" y="376"/>
                    </a:lnTo>
                    <a:lnTo>
                      <a:pt x="1106" y="376"/>
                    </a:lnTo>
                    <a:lnTo>
                      <a:pt x="1106" y="376"/>
                    </a:lnTo>
                    <a:lnTo>
                      <a:pt x="1106" y="378"/>
                    </a:lnTo>
                    <a:lnTo>
                      <a:pt x="1106" y="378"/>
                    </a:lnTo>
                    <a:lnTo>
                      <a:pt x="1108" y="381"/>
                    </a:lnTo>
                    <a:lnTo>
                      <a:pt x="1108" y="378"/>
                    </a:lnTo>
                    <a:lnTo>
                      <a:pt x="1108" y="381"/>
                    </a:lnTo>
                    <a:lnTo>
                      <a:pt x="1108" y="378"/>
                    </a:lnTo>
                    <a:lnTo>
                      <a:pt x="1111" y="378"/>
                    </a:lnTo>
                    <a:lnTo>
                      <a:pt x="1111" y="378"/>
                    </a:lnTo>
                    <a:lnTo>
                      <a:pt x="1111" y="378"/>
                    </a:lnTo>
                    <a:lnTo>
                      <a:pt x="1108" y="378"/>
                    </a:lnTo>
                    <a:lnTo>
                      <a:pt x="1111" y="381"/>
                    </a:lnTo>
                    <a:lnTo>
                      <a:pt x="1111" y="381"/>
                    </a:lnTo>
                    <a:lnTo>
                      <a:pt x="1113" y="381"/>
                    </a:lnTo>
                    <a:lnTo>
                      <a:pt x="1113" y="381"/>
                    </a:lnTo>
                    <a:lnTo>
                      <a:pt x="1113" y="381"/>
                    </a:lnTo>
                    <a:lnTo>
                      <a:pt x="1113" y="381"/>
                    </a:lnTo>
                    <a:lnTo>
                      <a:pt x="1111" y="381"/>
                    </a:lnTo>
                    <a:lnTo>
                      <a:pt x="1111" y="383"/>
                    </a:lnTo>
                    <a:lnTo>
                      <a:pt x="1111" y="383"/>
                    </a:lnTo>
                    <a:lnTo>
                      <a:pt x="1113" y="383"/>
                    </a:lnTo>
                    <a:lnTo>
                      <a:pt x="1113" y="383"/>
                    </a:lnTo>
                    <a:lnTo>
                      <a:pt x="1113" y="386"/>
                    </a:lnTo>
                    <a:lnTo>
                      <a:pt x="1115" y="386"/>
                    </a:lnTo>
                    <a:lnTo>
                      <a:pt x="1118" y="388"/>
                    </a:lnTo>
                    <a:lnTo>
                      <a:pt x="1118" y="388"/>
                    </a:lnTo>
                    <a:lnTo>
                      <a:pt x="1118" y="388"/>
                    </a:lnTo>
                    <a:lnTo>
                      <a:pt x="1118" y="388"/>
                    </a:lnTo>
                    <a:lnTo>
                      <a:pt x="1118" y="390"/>
                    </a:lnTo>
                    <a:lnTo>
                      <a:pt x="1120" y="390"/>
                    </a:lnTo>
                    <a:lnTo>
                      <a:pt x="1120" y="390"/>
                    </a:lnTo>
                    <a:lnTo>
                      <a:pt x="1120" y="390"/>
                    </a:lnTo>
                    <a:lnTo>
                      <a:pt x="1122" y="390"/>
                    </a:lnTo>
                    <a:lnTo>
                      <a:pt x="1125" y="393"/>
                    </a:lnTo>
                    <a:lnTo>
                      <a:pt x="1125" y="390"/>
                    </a:lnTo>
                    <a:lnTo>
                      <a:pt x="1127" y="393"/>
                    </a:lnTo>
                    <a:lnTo>
                      <a:pt x="1129" y="393"/>
                    </a:lnTo>
                    <a:lnTo>
                      <a:pt x="1129" y="395"/>
                    </a:lnTo>
                    <a:lnTo>
                      <a:pt x="1129" y="395"/>
                    </a:lnTo>
                    <a:lnTo>
                      <a:pt x="1129" y="395"/>
                    </a:lnTo>
                    <a:lnTo>
                      <a:pt x="1132" y="393"/>
                    </a:lnTo>
                    <a:lnTo>
                      <a:pt x="1134" y="393"/>
                    </a:lnTo>
                    <a:lnTo>
                      <a:pt x="1132" y="397"/>
                    </a:lnTo>
                    <a:lnTo>
                      <a:pt x="1134" y="397"/>
                    </a:lnTo>
                    <a:lnTo>
                      <a:pt x="1137" y="397"/>
                    </a:lnTo>
                    <a:lnTo>
                      <a:pt x="1137" y="397"/>
                    </a:lnTo>
                    <a:lnTo>
                      <a:pt x="1137" y="395"/>
                    </a:lnTo>
                    <a:lnTo>
                      <a:pt x="1137" y="393"/>
                    </a:lnTo>
                    <a:lnTo>
                      <a:pt x="1137" y="393"/>
                    </a:lnTo>
                    <a:lnTo>
                      <a:pt x="1137" y="393"/>
                    </a:lnTo>
                    <a:lnTo>
                      <a:pt x="1139" y="393"/>
                    </a:lnTo>
                    <a:lnTo>
                      <a:pt x="1139" y="390"/>
                    </a:lnTo>
                    <a:lnTo>
                      <a:pt x="1139" y="390"/>
                    </a:lnTo>
                    <a:lnTo>
                      <a:pt x="1139" y="390"/>
                    </a:lnTo>
                    <a:lnTo>
                      <a:pt x="1141" y="390"/>
                    </a:lnTo>
                    <a:lnTo>
                      <a:pt x="1141" y="393"/>
                    </a:lnTo>
                    <a:lnTo>
                      <a:pt x="1144" y="393"/>
                    </a:lnTo>
                    <a:lnTo>
                      <a:pt x="1144" y="393"/>
                    </a:lnTo>
                    <a:lnTo>
                      <a:pt x="1144" y="393"/>
                    </a:lnTo>
                    <a:lnTo>
                      <a:pt x="1146" y="393"/>
                    </a:lnTo>
                    <a:lnTo>
                      <a:pt x="1146" y="393"/>
                    </a:lnTo>
                    <a:lnTo>
                      <a:pt x="1148" y="393"/>
                    </a:lnTo>
                    <a:lnTo>
                      <a:pt x="1146" y="393"/>
                    </a:lnTo>
                    <a:lnTo>
                      <a:pt x="1148" y="395"/>
                    </a:lnTo>
                    <a:lnTo>
                      <a:pt x="1148" y="395"/>
                    </a:lnTo>
                    <a:lnTo>
                      <a:pt x="1148" y="393"/>
                    </a:lnTo>
                    <a:lnTo>
                      <a:pt x="1148" y="393"/>
                    </a:lnTo>
                    <a:lnTo>
                      <a:pt x="1148" y="393"/>
                    </a:lnTo>
                    <a:lnTo>
                      <a:pt x="1151" y="395"/>
                    </a:lnTo>
                    <a:lnTo>
                      <a:pt x="1151" y="395"/>
                    </a:lnTo>
                    <a:lnTo>
                      <a:pt x="1155" y="395"/>
                    </a:lnTo>
                    <a:lnTo>
                      <a:pt x="1155" y="393"/>
                    </a:lnTo>
                    <a:lnTo>
                      <a:pt x="1158" y="390"/>
                    </a:lnTo>
                    <a:lnTo>
                      <a:pt x="1158" y="390"/>
                    </a:lnTo>
                    <a:lnTo>
                      <a:pt x="1163" y="390"/>
                    </a:lnTo>
                    <a:lnTo>
                      <a:pt x="1163" y="390"/>
                    </a:lnTo>
                    <a:lnTo>
                      <a:pt x="1165" y="390"/>
                    </a:lnTo>
                    <a:lnTo>
                      <a:pt x="1167" y="388"/>
                    </a:lnTo>
                    <a:lnTo>
                      <a:pt x="1172" y="386"/>
                    </a:lnTo>
                    <a:lnTo>
                      <a:pt x="1174" y="383"/>
                    </a:lnTo>
                    <a:lnTo>
                      <a:pt x="1174" y="383"/>
                    </a:lnTo>
                    <a:lnTo>
                      <a:pt x="1174" y="381"/>
                    </a:lnTo>
                    <a:lnTo>
                      <a:pt x="1177" y="381"/>
                    </a:lnTo>
                    <a:lnTo>
                      <a:pt x="1177" y="381"/>
                    </a:lnTo>
                    <a:lnTo>
                      <a:pt x="1177" y="381"/>
                    </a:lnTo>
                    <a:lnTo>
                      <a:pt x="1177" y="381"/>
                    </a:lnTo>
                    <a:lnTo>
                      <a:pt x="1177" y="383"/>
                    </a:lnTo>
                    <a:lnTo>
                      <a:pt x="1172" y="388"/>
                    </a:lnTo>
                    <a:lnTo>
                      <a:pt x="1167" y="393"/>
                    </a:lnTo>
                    <a:lnTo>
                      <a:pt x="1158" y="414"/>
                    </a:lnTo>
                    <a:lnTo>
                      <a:pt x="1155" y="419"/>
                    </a:lnTo>
                    <a:lnTo>
                      <a:pt x="1148" y="435"/>
                    </a:lnTo>
                    <a:lnTo>
                      <a:pt x="1144" y="449"/>
                    </a:lnTo>
                    <a:lnTo>
                      <a:pt x="1141" y="454"/>
                    </a:lnTo>
                    <a:lnTo>
                      <a:pt x="1139" y="459"/>
                    </a:lnTo>
                    <a:lnTo>
                      <a:pt x="1137" y="463"/>
                    </a:lnTo>
                    <a:lnTo>
                      <a:pt x="1134" y="466"/>
                    </a:lnTo>
                    <a:lnTo>
                      <a:pt x="1134" y="468"/>
                    </a:lnTo>
                    <a:lnTo>
                      <a:pt x="1132" y="471"/>
                    </a:lnTo>
                    <a:lnTo>
                      <a:pt x="1125" y="482"/>
                    </a:lnTo>
                    <a:lnTo>
                      <a:pt x="1122" y="485"/>
                    </a:lnTo>
                    <a:lnTo>
                      <a:pt x="1115" y="494"/>
                    </a:lnTo>
                    <a:lnTo>
                      <a:pt x="1111" y="504"/>
                    </a:lnTo>
                    <a:lnTo>
                      <a:pt x="1108" y="504"/>
                    </a:lnTo>
                    <a:lnTo>
                      <a:pt x="1108" y="504"/>
                    </a:lnTo>
                    <a:lnTo>
                      <a:pt x="1108" y="506"/>
                    </a:lnTo>
                    <a:lnTo>
                      <a:pt x="1108" y="506"/>
                    </a:lnTo>
                    <a:lnTo>
                      <a:pt x="1103" y="511"/>
                    </a:lnTo>
                    <a:lnTo>
                      <a:pt x="1101" y="515"/>
                    </a:lnTo>
                    <a:lnTo>
                      <a:pt x="1099" y="518"/>
                    </a:lnTo>
                    <a:lnTo>
                      <a:pt x="1099" y="520"/>
                    </a:lnTo>
                    <a:lnTo>
                      <a:pt x="1096" y="525"/>
                    </a:lnTo>
                    <a:lnTo>
                      <a:pt x="1094" y="530"/>
                    </a:lnTo>
                    <a:lnTo>
                      <a:pt x="1092" y="530"/>
                    </a:lnTo>
                    <a:lnTo>
                      <a:pt x="1089" y="532"/>
                    </a:lnTo>
                    <a:lnTo>
                      <a:pt x="1089" y="534"/>
                    </a:lnTo>
                    <a:lnTo>
                      <a:pt x="1089" y="537"/>
                    </a:lnTo>
                    <a:lnTo>
                      <a:pt x="1089" y="537"/>
                    </a:lnTo>
                    <a:lnTo>
                      <a:pt x="1087" y="537"/>
                    </a:lnTo>
                    <a:lnTo>
                      <a:pt x="1085" y="539"/>
                    </a:lnTo>
                    <a:lnTo>
                      <a:pt x="1085" y="539"/>
                    </a:lnTo>
                    <a:lnTo>
                      <a:pt x="1082" y="541"/>
                    </a:lnTo>
                    <a:lnTo>
                      <a:pt x="1077" y="546"/>
                    </a:lnTo>
                    <a:lnTo>
                      <a:pt x="1073" y="556"/>
                    </a:lnTo>
                    <a:lnTo>
                      <a:pt x="1070" y="556"/>
                    </a:lnTo>
                    <a:lnTo>
                      <a:pt x="1066" y="560"/>
                    </a:lnTo>
                    <a:lnTo>
                      <a:pt x="1063" y="563"/>
                    </a:lnTo>
                    <a:lnTo>
                      <a:pt x="1063" y="565"/>
                    </a:lnTo>
                    <a:lnTo>
                      <a:pt x="1061" y="567"/>
                    </a:lnTo>
                    <a:lnTo>
                      <a:pt x="1059" y="567"/>
                    </a:lnTo>
                    <a:lnTo>
                      <a:pt x="1056" y="570"/>
                    </a:lnTo>
                    <a:lnTo>
                      <a:pt x="1054" y="574"/>
                    </a:lnTo>
                    <a:lnTo>
                      <a:pt x="1052" y="577"/>
                    </a:lnTo>
                    <a:lnTo>
                      <a:pt x="1049" y="577"/>
                    </a:lnTo>
                    <a:lnTo>
                      <a:pt x="1047" y="577"/>
                    </a:lnTo>
                    <a:lnTo>
                      <a:pt x="1047" y="577"/>
                    </a:lnTo>
                    <a:lnTo>
                      <a:pt x="1044" y="579"/>
                    </a:lnTo>
                    <a:lnTo>
                      <a:pt x="1040" y="582"/>
                    </a:lnTo>
                    <a:lnTo>
                      <a:pt x="1037" y="584"/>
                    </a:lnTo>
                    <a:lnTo>
                      <a:pt x="1035" y="586"/>
                    </a:lnTo>
                    <a:lnTo>
                      <a:pt x="1033" y="586"/>
                    </a:lnTo>
                    <a:lnTo>
                      <a:pt x="1030" y="584"/>
                    </a:lnTo>
                    <a:lnTo>
                      <a:pt x="1030" y="586"/>
                    </a:lnTo>
                    <a:lnTo>
                      <a:pt x="1026" y="584"/>
                    </a:lnTo>
                    <a:lnTo>
                      <a:pt x="1021" y="584"/>
                    </a:lnTo>
                    <a:lnTo>
                      <a:pt x="1023" y="577"/>
                    </a:lnTo>
                    <a:lnTo>
                      <a:pt x="1023" y="574"/>
                    </a:lnTo>
                    <a:lnTo>
                      <a:pt x="1023" y="574"/>
                    </a:lnTo>
                    <a:lnTo>
                      <a:pt x="1016" y="574"/>
                    </a:lnTo>
                    <a:lnTo>
                      <a:pt x="1018" y="579"/>
                    </a:lnTo>
                    <a:lnTo>
                      <a:pt x="1016" y="582"/>
                    </a:lnTo>
                    <a:lnTo>
                      <a:pt x="1016" y="582"/>
                    </a:lnTo>
                    <a:lnTo>
                      <a:pt x="1016" y="582"/>
                    </a:lnTo>
                    <a:lnTo>
                      <a:pt x="1014" y="584"/>
                    </a:lnTo>
                    <a:lnTo>
                      <a:pt x="1011" y="586"/>
                    </a:lnTo>
                    <a:lnTo>
                      <a:pt x="1011" y="589"/>
                    </a:lnTo>
                    <a:lnTo>
                      <a:pt x="1009" y="589"/>
                    </a:lnTo>
                    <a:lnTo>
                      <a:pt x="1009" y="589"/>
                    </a:lnTo>
                    <a:lnTo>
                      <a:pt x="1007" y="591"/>
                    </a:lnTo>
                    <a:lnTo>
                      <a:pt x="1004" y="591"/>
                    </a:lnTo>
                    <a:lnTo>
                      <a:pt x="1002" y="593"/>
                    </a:lnTo>
                    <a:lnTo>
                      <a:pt x="1002" y="596"/>
                    </a:lnTo>
                    <a:lnTo>
                      <a:pt x="1000" y="596"/>
                    </a:lnTo>
                    <a:lnTo>
                      <a:pt x="1000" y="596"/>
                    </a:lnTo>
                    <a:lnTo>
                      <a:pt x="1000" y="596"/>
                    </a:lnTo>
                    <a:lnTo>
                      <a:pt x="997" y="600"/>
                    </a:lnTo>
                    <a:lnTo>
                      <a:pt x="997" y="600"/>
                    </a:lnTo>
                    <a:lnTo>
                      <a:pt x="995" y="600"/>
                    </a:lnTo>
                    <a:lnTo>
                      <a:pt x="992" y="603"/>
                    </a:lnTo>
                    <a:lnTo>
                      <a:pt x="992" y="603"/>
                    </a:lnTo>
                    <a:lnTo>
                      <a:pt x="992" y="603"/>
                    </a:lnTo>
                    <a:lnTo>
                      <a:pt x="990" y="603"/>
                    </a:lnTo>
                    <a:lnTo>
                      <a:pt x="988" y="605"/>
                    </a:lnTo>
                    <a:lnTo>
                      <a:pt x="985" y="605"/>
                    </a:lnTo>
                    <a:lnTo>
                      <a:pt x="983" y="608"/>
                    </a:lnTo>
                    <a:lnTo>
                      <a:pt x="981" y="610"/>
                    </a:lnTo>
                    <a:lnTo>
                      <a:pt x="978" y="610"/>
                    </a:lnTo>
                    <a:lnTo>
                      <a:pt x="978" y="612"/>
                    </a:lnTo>
                    <a:lnTo>
                      <a:pt x="978" y="612"/>
                    </a:lnTo>
                    <a:lnTo>
                      <a:pt x="976" y="612"/>
                    </a:lnTo>
                    <a:lnTo>
                      <a:pt x="974" y="615"/>
                    </a:lnTo>
                    <a:lnTo>
                      <a:pt x="971" y="622"/>
                    </a:lnTo>
                    <a:lnTo>
                      <a:pt x="971" y="622"/>
                    </a:lnTo>
                    <a:lnTo>
                      <a:pt x="971" y="629"/>
                    </a:lnTo>
                    <a:lnTo>
                      <a:pt x="971" y="631"/>
                    </a:lnTo>
                    <a:lnTo>
                      <a:pt x="974" y="636"/>
                    </a:lnTo>
                    <a:lnTo>
                      <a:pt x="974" y="636"/>
                    </a:lnTo>
                    <a:lnTo>
                      <a:pt x="978" y="634"/>
                    </a:lnTo>
                    <a:lnTo>
                      <a:pt x="978" y="634"/>
                    </a:lnTo>
                    <a:lnTo>
                      <a:pt x="981" y="636"/>
                    </a:lnTo>
                    <a:lnTo>
                      <a:pt x="978" y="636"/>
                    </a:lnTo>
                    <a:lnTo>
                      <a:pt x="981" y="636"/>
                    </a:lnTo>
                    <a:lnTo>
                      <a:pt x="981" y="638"/>
                    </a:lnTo>
                    <a:lnTo>
                      <a:pt x="981" y="641"/>
                    </a:lnTo>
                    <a:lnTo>
                      <a:pt x="981" y="641"/>
                    </a:lnTo>
                    <a:lnTo>
                      <a:pt x="981" y="643"/>
                    </a:lnTo>
                    <a:lnTo>
                      <a:pt x="981" y="643"/>
                    </a:lnTo>
                    <a:lnTo>
                      <a:pt x="981" y="645"/>
                    </a:lnTo>
                    <a:lnTo>
                      <a:pt x="981" y="648"/>
                    </a:lnTo>
                    <a:lnTo>
                      <a:pt x="978" y="645"/>
                    </a:lnTo>
                    <a:lnTo>
                      <a:pt x="978" y="648"/>
                    </a:lnTo>
                    <a:lnTo>
                      <a:pt x="978" y="648"/>
                    </a:lnTo>
                    <a:lnTo>
                      <a:pt x="981" y="648"/>
                    </a:lnTo>
                    <a:lnTo>
                      <a:pt x="978" y="648"/>
                    </a:lnTo>
                    <a:lnTo>
                      <a:pt x="978" y="650"/>
                    </a:lnTo>
                    <a:lnTo>
                      <a:pt x="976" y="650"/>
                    </a:lnTo>
                    <a:lnTo>
                      <a:pt x="976" y="652"/>
                    </a:lnTo>
                    <a:lnTo>
                      <a:pt x="976" y="657"/>
                    </a:lnTo>
                    <a:lnTo>
                      <a:pt x="976" y="660"/>
                    </a:lnTo>
                    <a:lnTo>
                      <a:pt x="976" y="660"/>
                    </a:lnTo>
                    <a:lnTo>
                      <a:pt x="978" y="660"/>
                    </a:lnTo>
                    <a:lnTo>
                      <a:pt x="978" y="660"/>
                    </a:lnTo>
                    <a:lnTo>
                      <a:pt x="978" y="662"/>
                    </a:lnTo>
                    <a:lnTo>
                      <a:pt x="981" y="662"/>
                    </a:lnTo>
                    <a:lnTo>
                      <a:pt x="978" y="664"/>
                    </a:lnTo>
                    <a:lnTo>
                      <a:pt x="978" y="667"/>
                    </a:lnTo>
                    <a:lnTo>
                      <a:pt x="981" y="667"/>
                    </a:lnTo>
                    <a:lnTo>
                      <a:pt x="981" y="664"/>
                    </a:lnTo>
                    <a:lnTo>
                      <a:pt x="981" y="667"/>
                    </a:lnTo>
                    <a:lnTo>
                      <a:pt x="981" y="669"/>
                    </a:lnTo>
                    <a:lnTo>
                      <a:pt x="981" y="669"/>
                    </a:lnTo>
                    <a:lnTo>
                      <a:pt x="978" y="674"/>
                    </a:lnTo>
                    <a:lnTo>
                      <a:pt x="978" y="671"/>
                    </a:lnTo>
                    <a:lnTo>
                      <a:pt x="978" y="669"/>
                    </a:lnTo>
                    <a:lnTo>
                      <a:pt x="976" y="669"/>
                    </a:lnTo>
                    <a:lnTo>
                      <a:pt x="974" y="671"/>
                    </a:lnTo>
                    <a:lnTo>
                      <a:pt x="971" y="671"/>
                    </a:lnTo>
                    <a:lnTo>
                      <a:pt x="971" y="674"/>
                    </a:lnTo>
                    <a:lnTo>
                      <a:pt x="971" y="674"/>
                    </a:lnTo>
                    <a:lnTo>
                      <a:pt x="971" y="676"/>
                    </a:lnTo>
                    <a:lnTo>
                      <a:pt x="969" y="678"/>
                    </a:lnTo>
                    <a:lnTo>
                      <a:pt x="969" y="681"/>
                    </a:lnTo>
                    <a:lnTo>
                      <a:pt x="969" y="686"/>
                    </a:lnTo>
                    <a:lnTo>
                      <a:pt x="969" y="693"/>
                    </a:lnTo>
                    <a:lnTo>
                      <a:pt x="971" y="695"/>
                    </a:lnTo>
                    <a:lnTo>
                      <a:pt x="974" y="697"/>
                    </a:lnTo>
                    <a:lnTo>
                      <a:pt x="974" y="700"/>
                    </a:lnTo>
                    <a:lnTo>
                      <a:pt x="976" y="700"/>
                    </a:lnTo>
                    <a:lnTo>
                      <a:pt x="976" y="702"/>
                    </a:lnTo>
                    <a:lnTo>
                      <a:pt x="976" y="707"/>
                    </a:lnTo>
                    <a:lnTo>
                      <a:pt x="976" y="707"/>
                    </a:lnTo>
                    <a:lnTo>
                      <a:pt x="974" y="714"/>
                    </a:lnTo>
                    <a:lnTo>
                      <a:pt x="974" y="716"/>
                    </a:lnTo>
                    <a:lnTo>
                      <a:pt x="974" y="721"/>
                    </a:lnTo>
                    <a:lnTo>
                      <a:pt x="974" y="723"/>
                    </a:lnTo>
                    <a:lnTo>
                      <a:pt x="974" y="726"/>
                    </a:lnTo>
                    <a:lnTo>
                      <a:pt x="971" y="733"/>
                    </a:lnTo>
                    <a:lnTo>
                      <a:pt x="969" y="737"/>
                    </a:lnTo>
                    <a:lnTo>
                      <a:pt x="969" y="740"/>
                    </a:lnTo>
                    <a:lnTo>
                      <a:pt x="969" y="742"/>
                    </a:lnTo>
                    <a:lnTo>
                      <a:pt x="969" y="742"/>
                    </a:lnTo>
                    <a:lnTo>
                      <a:pt x="969" y="749"/>
                    </a:lnTo>
                    <a:lnTo>
                      <a:pt x="969" y="752"/>
                    </a:lnTo>
                    <a:lnTo>
                      <a:pt x="969" y="749"/>
                    </a:lnTo>
                    <a:lnTo>
                      <a:pt x="969" y="752"/>
                    </a:lnTo>
                    <a:lnTo>
                      <a:pt x="969" y="752"/>
                    </a:lnTo>
                    <a:lnTo>
                      <a:pt x="969" y="754"/>
                    </a:lnTo>
                    <a:lnTo>
                      <a:pt x="969" y="754"/>
                    </a:lnTo>
                    <a:lnTo>
                      <a:pt x="969" y="756"/>
                    </a:lnTo>
                    <a:lnTo>
                      <a:pt x="969" y="756"/>
                    </a:lnTo>
                    <a:lnTo>
                      <a:pt x="966" y="759"/>
                    </a:lnTo>
                    <a:lnTo>
                      <a:pt x="966" y="763"/>
                    </a:lnTo>
                    <a:lnTo>
                      <a:pt x="964" y="771"/>
                    </a:lnTo>
                    <a:lnTo>
                      <a:pt x="964" y="778"/>
                    </a:lnTo>
                    <a:lnTo>
                      <a:pt x="962" y="780"/>
                    </a:lnTo>
                    <a:lnTo>
                      <a:pt x="962" y="785"/>
                    </a:lnTo>
                    <a:lnTo>
                      <a:pt x="962" y="787"/>
                    </a:lnTo>
                    <a:lnTo>
                      <a:pt x="962" y="789"/>
                    </a:lnTo>
                    <a:lnTo>
                      <a:pt x="959" y="799"/>
                    </a:lnTo>
                    <a:lnTo>
                      <a:pt x="959" y="804"/>
                    </a:lnTo>
                    <a:lnTo>
                      <a:pt x="959" y="806"/>
                    </a:lnTo>
                    <a:lnTo>
                      <a:pt x="959" y="813"/>
                    </a:lnTo>
                    <a:lnTo>
                      <a:pt x="962" y="815"/>
                    </a:lnTo>
                    <a:lnTo>
                      <a:pt x="962" y="818"/>
                    </a:lnTo>
                    <a:lnTo>
                      <a:pt x="964" y="818"/>
                    </a:lnTo>
                    <a:lnTo>
                      <a:pt x="964" y="815"/>
                    </a:lnTo>
                    <a:lnTo>
                      <a:pt x="964" y="818"/>
                    </a:lnTo>
                    <a:lnTo>
                      <a:pt x="964" y="818"/>
                    </a:lnTo>
                    <a:lnTo>
                      <a:pt x="964" y="820"/>
                    </a:lnTo>
                    <a:lnTo>
                      <a:pt x="962" y="820"/>
                    </a:lnTo>
                    <a:lnTo>
                      <a:pt x="964" y="820"/>
                    </a:lnTo>
                    <a:lnTo>
                      <a:pt x="964" y="820"/>
                    </a:lnTo>
                    <a:lnTo>
                      <a:pt x="964" y="820"/>
                    </a:lnTo>
                    <a:lnTo>
                      <a:pt x="964" y="825"/>
                    </a:lnTo>
                    <a:lnTo>
                      <a:pt x="964" y="830"/>
                    </a:lnTo>
                    <a:lnTo>
                      <a:pt x="964" y="834"/>
                    </a:lnTo>
                    <a:lnTo>
                      <a:pt x="966" y="839"/>
                    </a:lnTo>
                    <a:lnTo>
                      <a:pt x="966" y="839"/>
                    </a:lnTo>
                    <a:lnTo>
                      <a:pt x="969" y="844"/>
                    </a:lnTo>
                    <a:lnTo>
                      <a:pt x="969" y="858"/>
                    </a:lnTo>
                    <a:lnTo>
                      <a:pt x="969" y="872"/>
                    </a:lnTo>
                    <a:lnTo>
                      <a:pt x="969" y="877"/>
                    </a:lnTo>
                    <a:lnTo>
                      <a:pt x="969" y="879"/>
                    </a:lnTo>
                    <a:lnTo>
                      <a:pt x="969" y="884"/>
                    </a:lnTo>
                    <a:lnTo>
                      <a:pt x="969" y="884"/>
                    </a:lnTo>
                    <a:lnTo>
                      <a:pt x="969" y="886"/>
                    </a:lnTo>
                    <a:lnTo>
                      <a:pt x="971" y="896"/>
                    </a:lnTo>
                    <a:lnTo>
                      <a:pt x="974" y="905"/>
                    </a:lnTo>
                    <a:lnTo>
                      <a:pt x="974" y="908"/>
                    </a:lnTo>
                    <a:lnTo>
                      <a:pt x="974" y="908"/>
                    </a:lnTo>
                    <a:lnTo>
                      <a:pt x="974" y="915"/>
                    </a:lnTo>
                    <a:lnTo>
                      <a:pt x="974" y="924"/>
                    </a:lnTo>
                    <a:lnTo>
                      <a:pt x="976" y="931"/>
                    </a:lnTo>
                    <a:lnTo>
                      <a:pt x="978" y="938"/>
                    </a:lnTo>
                    <a:lnTo>
                      <a:pt x="978" y="938"/>
                    </a:lnTo>
                    <a:lnTo>
                      <a:pt x="981" y="945"/>
                    </a:lnTo>
                    <a:lnTo>
                      <a:pt x="981" y="945"/>
                    </a:lnTo>
                    <a:lnTo>
                      <a:pt x="981" y="945"/>
                    </a:lnTo>
                    <a:lnTo>
                      <a:pt x="983" y="952"/>
                    </a:lnTo>
                    <a:lnTo>
                      <a:pt x="985" y="955"/>
                    </a:lnTo>
                    <a:lnTo>
                      <a:pt x="985" y="955"/>
                    </a:lnTo>
                    <a:lnTo>
                      <a:pt x="983" y="955"/>
                    </a:lnTo>
                    <a:lnTo>
                      <a:pt x="983" y="957"/>
                    </a:lnTo>
                    <a:lnTo>
                      <a:pt x="985" y="957"/>
                    </a:lnTo>
                    <a:lnTo>
                      <a:pt x="985" y="960"/>
                    </a:lnTo>
                    <a:lnTo>
                      <a:pt x="985" y="960"/>
                    </a:lnTo>
                    <a:lnTo>
                      <a:pt x="983" y="962"/>
                    </a:lnTo>
                    <a:lnTo>
                      <a:pt x="981" y="967"/>
                    </a:lnTo>
                    <a:lnTo>
                      <a:pt x="978" y="978"/>
                    </a:lnTo>
                    <a:lnTo>
                      <a:pt x="976" y="983"/>
                    </a:lnTo>
                    <a:lnTo>
                      <a:pt x="974" y="988"/>
                    </a:lnTo>
                    <a:lnTo>
                      <a:pt x="974" y="990"/>
                    </a:lnTo>
                    <a:lnTo>
                      <a:pt x="974" y="993"/>
                    </a:lnTo>
                    <a:lnTo>
                      <a:pt x="974" y="995"/>
                    </a:lnTo>
                    <a:lnTo>
                      <a:pt x="974" y="997"/>
                    </a:lnTo>
                    <a:lnTo>
                      <a:pt x="974" y="997"/>
                    </a:lnTo>
                    <a:lnTo>
                      <a:pt x="971" y="1000"/>
                    </a:lnTo>
                    <a:lnTo>
                      <a:pt x="971" y="1002"/>
                    </a:lnTo>
                    <a:lnTo>
                      <a:pt x="971" y="1004"/>
                    </a:lnTo>
                    <a:lnTo>
                      <a:pt x="969" y="1004"/>
                    </a:lnTo>
                    <a:lnTo>
                      <a:pt x="966" y="1009"/>
                    </a:lnTo>
                    <a:lnTo>
                      <a:pt x="966" y="1009"/>
                    </a:lnTo>
                    <a:lnTo>
                      <a:pt x="964" y="1009"/>
                    </a:lnTo>
                    <a:lnTo>
                      <a:pt x="964" y="1014"/>
                    </a:lnTo>
                    <a:lnTo>
                      <a:pt x="964" y="1014"/>
                    </a:lnTo>
                    <a:lnTo>
                      <a:pt x="966" y="1011"/>
                    </a:lnTo>
                    <a:lnTo>
                      <a:pt x="964" y="1016"/>
                    </a:lnTo>
                    <a:lnTo>
                      <a:pt x="964" y="1019"/>
                    </a:lnTo>
                    <a:lnTo>
                      <a:pt x="966" y="1019"/>
                    </a:lnTo>
                    <a:lnTo>
                      <a:pt x="966" y="1019"/>
                    </a:lnTo>
                    <a:lnTo>
                      <a:pt x="966" y="1021"/>
                    </a:lnTo>
                    <a:lnTo>
                      <a:pt x="966" y="1023"/>
                    </a:lnTo>
                    <a:lnTo>
                      <a:pt x="966" y="1026"/>
                    </a:lnTo>
                    <a:lnTo>
                      <a:pt x="964" y="1026"/>
                    </a:lnTo>
                    <a:lnTo>
                      <a:pt x="962" y="1028"/>
                    </a:lnTo>
                    <a:lnTo>
                      <a:pt x="959" y="1033"/>
                    </a:lnTo>
                    <a:lnTo>
                      <a:pt x="959" y="1035"/>
                    </a:lnTo>
                    <a:lnTo>
                      <a:pt x="959" y="1035"/>
                    </a:lnTo>
                    <a:lnTo>
                      <a:pt x="959" y="1037"/>
                    </a:lnTo>
                    <a:lnTo>
                      <a:pt x="959" y="1035"/>
                    </a:lnTo>
                    <a:lnTo>
                      <a:pt x="959" y="1037"/>
                    </a:lnTo>
                    <a:lnTo>
                      <a:pt x="959" y="1037"/>
                    </a:lnTo>
                    <a:lnTo>
                      <a:pt x="959" y="1040"/>
                    </a:lnTo>
                    <a:lnTo>
                      <a:pt x="959" y="1042"/>
                    </a:lnTo>
                    <a:lnTo>
                      <a:pt x="957" y="1047"/>
                    </a:lnTo>
                    <a:lnTo>
                      <a:pt x="957" y="1049"/>
                    </a:lnTo>
                    <a:lnTo>
                      <a:pt x="955" y="1054"/>
                    </a:lnTo>
                    <a:lnTo>
                      <a:pt x="955" y="1056"/>
                    </a:lnTo>
                    <a:lnTo>
                      <a:pt x="955" y="1059"/>
                    </a:lnTo>
                    <a:lnTo>
                      <a:pt x="955" y="1061"/>
                    </a:lnTo>
                    <a:lnTo>
                      <a:pt x="955" y="1061"/>
                    </a:lnTo>
                    <a:lnTo>
                      <a:pt x="955" y="1063"/>
                    </a:lnTo>
                    <a:lnTo>
                      <a:pt x="955" y="1068"/>
                    </a:lnTo>
                    <a:lnTo>
                      <a:pt x="955" y="1071"/>
                    </a:lnTo>
                    <a:lnTo>
                      <a:pt x="952" y="1071"/>
                    </a:lnTo>
                    <a:lnTo>
                      <a:pt x="952" y="1071"/>
                    </a:lnTo>
                    <a:lnTo>
                      <a:pt x="952" y="1073"/>
                    </a:lnTo>
                    <a:lnTo>
                      <a:pt x="952" y="1073"/>
                    </a:lnTo>
                    <a:lnTo>
                      <a:pt x="950" y="1075"/>
                    </a:lnTo>
                    <a:lnTo>
                      <a:pt x="950" y="1075"/>
                    </a:lnTo>
                    <a:lnTo>
                      <a:pt x="950" y="1075"/>
                    </a:lnTo>
                    <a:lnTo>
                      <a:pt x="950" y="1080"/>
                    </a:lnTo>
                    <a:lnTo>
                      <a:pt x="950" y="1089"/>
                    </a:lnTo>
                    <a:lnTo>
                      <a:pt x="952" y="1092"/>
                    </a:lnTo>
                    <a:lnTo>
                      <a:pt x="952" y="1094"/>
                    </a:lnTo>
                    <a:lnTo>
                      <a:pt x="952" y="1094"/>
                    </a:lnTo>
                    <a:lnTo>
                      <a:pt x="948" y="1099"/>
                    </a:lnTo>
                    <a:lnTo>
                      <a:pt x="948" y="1106"/>
                    </a:lnTo>
                    <a:lnTo>
                      <a:pt x="945" y="1108"/>
                    </a:lnTo>
                    <a:lnTo>
                      <a:pt x="945" y="1115"/>
                    </a:lnTo>
                    <a:lnTo>
                      <a:pt x="945" y="1115"/>
                    </a:lnTo>
                    <a:lnTo>
                      <a:pt x="945" y="1115"/>
                    </a:lnTo>
                    <a:lnTo>
                      <a:pt x="945" y="1118"/>
                    </a:lnTo>
                    <a:lnTo>
                      <a:pt x="945" y="1120"/>
                    </a:lnTo>
                    <a:lnTo>
                      <a:pt x="943" y="1123"/>
                    </a:lnTo>
                    <a:lnTo>
                      <a:pt x="943" y="1125"/>
                    </a:lnTo>
                    <a:lnTo>
                      <a:pt x="940" y="1125"/>
                    </a:lnTo>
                    <a:lnTo>
                      <a:pt x="940" y="1130"/>
                    </a:lnTo>
                    <a:lnTo>
                      <a:pt x="940" y="1139"/>
                    </a:lnTo>
                    <a:lnTo>
                      <a:pt x="940" y="1141"/>
                    </a:lnTo>
                    <a:lnTo>
                      <a:pt x="938" y="1144"/>
                    </a:lnTo>
                    <a:lnTo>
                      <a:pt x="940" y="1151"/>
                    </a:lnTo>
                    <a:lnTo>
                      <a:pt x="940" y="1153"/>
                    </a:lnTo>
                    <a:lnTo>
                      <a:pt x="940" y="1160"/>
                    </a:lnTo>
                    <a:lnTo>
                      <a:pt x="943" y="1165"/>
                    </a:lnTo>
                    <a:lnTo>
                      <a:pt x="943" y="1174"/>
                    </a:lnTo>
                    <a:lnTo>
                      <a:pt x="943" y="1182"/>
                    </a:lnTo>
                    <a:lnTo>
                      <a:pt x="943" y="1182"/>
                    </a:lnTo>
                    <a:lnTo>
                      <a:pt x="943" y="1184"/>
                    </a:lnTo>
                    <a:lnTo>
                      <a:pt x="943" y="1189"/>
                    </a:lnTo>
                    <a:lnTo>
                      <a:pt x="950" y="1198"/>
                    </a:lnTo>
                    <a:lnTo>
                      <a:pt x="950" y="1198"/>
                    </a:lnTo>
                    <a:lnTo>
                      <a:pt x="950" y="1198"/>
                    </a:lnTo>
                    <a:lnTo>
                      <a:pt x="943" y="1203"/>
                    </a:lnTo>
                    <a:lnTo>
                      <a:pt x="945" y="1205"/>
                    </a:lnTo>
                    <a:lnTo>
                      <a:pt x="943" y="1208"/>
                    </a:lnTo>
                    <a:lnTo>
                      <a:pt x="940" y="1210"/>
                    </a:lnTo>
                    <a:lnTo>
                      <a:pt x="933" y="1217"/>
                    </a:lnTo>
                    <a:lnTo>
                      <a:pt x="933" y="1217"/>
                    </a:lnTo>
                    <a:lnTo>
                      <a:pt x="933" y="1219"/>
                    </a:lnTo>
                    <a:lnTo>
                      <a:pt x="933" y="1219"/>
                    </a:lnTo>
                    <a:lnTo>
                      <a:pt x="933" y="1222"/>
                    </a:lnTo>
                    <a:lnTo>
                      <a:pt x="926" y="1224"/>
                    </a:lnTo>
                    <a:lnTo>
                      <a:pt x="924" y="1224"/>
                    </a:lnTo>
                    <a:lnTo>
                      <a:pt x="924" y="1224"/>
                    </a:lnTo>
                    <a:lnTo>
                      <a:pt x="922" y="1224"/>
                    </a:lnTo>
                    <a:lnTo>
                      <a:pt x="919" y="1226"/>
                    </a:lnTo>
                    <a:lnTo>
                      <a:pt x="919" y="1226"/>
                    </a:lnTo>
                    <a:lnTo>
                      <a:pt x="917" y="1226"/>
                    </a:lnTo>
                    <a:lnTo>
                      <a:pt x="910" y="1231"/>
                    </a:lnTo>
                    <a:lnTo>
                      <a:pt x="907" y="1234"/>
                    </a:lnTo>
                    <a:lnTo>
                      <a:pt x="905" y="1238"/>
                    </a:lnTo>
                    <a:lnTo>
                      <a:pt x="900" y="1243"/>
                    </a:lnTo>
                    <a:lnTo>
                      <a:pt x="898" y="1250"/>
                    </a:lnTo>
                    <a:lnTo>
                      <a:pt x="898" y="1250"/>
                    </a:lnTo>
                    <a:lnTo>
                      <a:pt x="896" y="1250"/>
                    </a:lnTo>
                    <a:lnTo>
                      <a:pt x="896" y="1250"/>
                    </a:lnTo>
                    <a:lnTo>
                      <a:pt x="896" y="1248"/>
                    </a:lnTo>
                    <a:lnTo>
                      <a:pt x="893" y="1248"/>
                    </a:lnTo>
                    <a:lnTo>
                      <a:pt x="896" y="1250"/>
                    </a:lnTo>
                    <a:lnTo>
                      <a:pt x="896" y="1250"/>
                    </a:lnTo>
                    <a:lnTo>
                      <a:pt x="896" y="1250"/>
                    </a:lnTo>
                    <a:lnTo>
                      <a:pt x="896" y="1252"/>
                    </a:lnTo>
                    <a:lnTo>
                      <a:pt x="898" y="1252"/>
                    </a:lnTo>
                    <a:lnTo>
                      <a:pt x="893" y="1257"/>
                    </a:lnTo>
                    <a:lnTo>
                      <a:pt x="886" y="1269"/>
                    </a:lnTo>
                    <a:lnTo>
                      <a:pt x="886" y="1271"/>
                    </a:lnTo>
                    <a:lnTo>
                      <a:pt x="884" y="1276"/>
                    </a:lnTo>
                    <a:lnTo>
                      <a:pt x="884" y="1276"/>
                    </a:lnTo>
                    <a:lnTo>
                      <a:pt x="884" y="1281"/>
                    </a:lnTo>
                    <a:lnTo>
                      <a:pt x="884" y="1281"/>
                    </a:lnTo>
                    <a:lnTo>
                      <a:pt x="881" y="1283"/>
                    </a:lnTo>
                    <a:lnTo>
                      <a:pt x="881" y="1283"/>
                    </a:lnTo>
                    <a:lnTo>
                      <a:pt x="881" y="1281"/>
                    </a:lnTo>
                    <a:lnTo>
                      <a:pt x="881" y="1281"/>
                    </a:lnTo>
                    <a:lnTo>
                      <a:pt x="879" y="1281"/>
                    </a:lnTo>
                    <a:lnTo>
                      <a:pt x="851" y="1262"/>
                    </a:lnTo>
                    <a:lnTo>
                      <a:pt x="851" y="1262"/>
                    </a:lnTo>
                    <a:lnTo>
                      <a:pt x="846" y="1257"/>
                    </a:lnTo>
                    <a:lnTo>
                      <a:pt x="832" y="1248"/>
                    </a:lnTo>
                    <a:lnTo>
                      <a:pt x="813" y="1236"/>
                    </a:lnTo>
                    <a:lnTo>
                      <a:pt x="813" y="1234"/>
                    </a:lnTo>
                    <a:lnTo>
                      <a:pt x="811" y="1231"/>
                    </a:lnTo>
                    <a:lnTo>
                      <a:pt x="808" y="1229"/>
                    </a:lnTo>
                    <a:lnTo>
                      <a:pt x="806" y="1229"/>
                    </a:lnTo>
                    <a:lnTo>
                      <a:pt x="806" y="1229"/>
                    </a:lnTo>
                    <a:lnTo>
                      <a:pt x="813" y="1224"/>
                    </a:lnTo>
                    <a:lnTo>
                      <a:pt x="818" y="1219"/>
                    </a:lnTo>
                    <a:lnTo>
                      <a:pt x="818" y="1217"/>
                    </a:lnTo>
                    <a:lnTo>
                      <a:pt x="818" y="1217"/>
                    </a:lnTo>
                    <a:lnTo>
                      <a:pt x="815" y="1215"/>
                    </a:lnTo>
                    <a:lnTo>
                      <a:pt x="815" y="1217"/>
                    </a:lnTo>
                    <a:lnTo>
                      <a:pt x="815" y="1215"/>
                    </a:lnTo>
                    <a:lnTo>
                      <a:pt x="815" y="1212"/>
                    </a:lnTo>
                    <a:lnTo>
                      <a:pt x="813" y="1210"/>
                    </a:lnTo>
                    <a:lnTo>
                      <a:pt x="813" y="1210"/>
                    </a:lnTo>
                    <a:lnTo>
                      <a:pt x="813" y="1208"/>
                    </a:lnTo>
                    <a:lnTo>
                      <a:pt x="813" y="1205"/>
                    </a:lnTo>
                    <a:lnTo>
                      <a:pt x="813" y="1203"/>
                    </a:lnTo>
                    <a:lnTo>
                      <a:pt x="811" y="1203"/>
                    </a:lnTo>
                    <a:lnTo>
                      <a:pt x="808" y="1203"/>
                    </a:lnTo>
                    <a:lnTo>
                      <a:pt x="808" y="1200"/>
                    </a:lnTo>
                    <a:lnTo>
                      <a:pt x="806" y="1203"/>
                    </a:lnTo>
                    <a:lnTo>
                      <a:pt x="806" y="1200"/>
                    </a:lnTo>
                    <a:lnTo>
                      <a:pt x="803" y="1198"/>
                    </a:lnTo>
                    <a:lnTo>
                      <a:pt x="803" y="1198"/>
                    </a:lnTo>
                    <a:lnTo>
                      <a:pt x="803" y="1198"/>
                    </a:lnTo>
                    <a:lnTo>
                      <a:pt x="803" y="1196"/>
                    </a:lnTo>
                    <a:lnTo>
                      <a:pt x="801" y="1193"/>
                    </a:lnTo>
                    <a:lnTo>
                      <a:pt x="799" y="1193"/>
                    </a:lnTo>
                    <a:lnTo>
                      <a:pt x="799" y="1193"/>
                    </a:lnTo>
                    <a:lnTo>
                      <a:pt x="799" y="1191"/>
                    </a:lnTo>
                    <a:lnTo>
                      <a:pt x="799" y="1191"/>
                    </a:lnTo>
                    <a:lnTo>
                      <a:pt x="796" y="1189"/>
                    </a:lnTo>
                    <a:lnTo>
                      <a:pt x="796" y="1189"/>
                    </a:lnTo>
                    <a:lnTo>
                      <a:pt x="796" y="1189"/>
                    </a:lnTo>
                    <a:lnTo>
                      <a:pt x="796" y="1191"/>
                    </a:lnTo>
                    <a:lnTo>
                      <a:pt x="794" y="1191"/>
                    </a:lnTo>
                    <a:lnTo>
                      <a:pt x="794" y="1189"/>
                    </a:lnTo>
                    <a:lnTo>
                      <a:pt x="792" y="1189"/>
                    </a:lnTo>
                    <a:lnTo>
                      <a:pt x="789" y="1189"/>
                    </a:lnTo>
                    <a:lnTo>
                      <a:pt x="789" y="1189"/>
                    </a:lnTo>
                    <a:lnTo>
                      <a:pt x="787" y="1186"/>
                    </a:lnTo>
                    <a:lnTo>
                      <a:pt x="787" y="1184"/>
                    </a:lnTo>
                    <a:lnTo>
                      <a:pt x="787" y="1184"/>
                    </a:lnTo>
                    <a:lnTo>
                      <a:pt x="789" y="1184"/>
                    </a:lnTo>
                    <a:lnTo>
                      <a:pt x="787" y="1182"/>
                    </a:lnTo>
                    <a:lnTo>
                      <a:pt x="789" y="1182"/>
                    </a:lnTo>
                    <a:lnTo>
                      <a:pt x="787" y="1182"/>
                    </a:lnTo>
                    <a:lnTo>
                      <a:pt x="785" y="1184"/>
                    </a:lnTo>
                    <a:lnTo>
                      <a:pt x="782" y="1182"/>
                    </a:lnTo>
                    <a:lnTo>
                      <a:pt x="780" y="1177"/>
                    </a:lnTo>
                    <a:lnTo>
                      <a:pt x="780" y="1177"/>
                    </a:lnTo>
                    <a:lnTo>
                      <a:pt x="777" y="1174"/>
                    </a:lnTo>
                    <a:lnTo>
                      <a:pt x="780" y="1174"/>
                    </a:lnTo>
                    <a:lnTo>
                      <a:pt x="780" y="1172"/>
                    </a:lnTo>
                    <a:lnTo>
                      <a:pt x="777" y="1172"/>
                    </a:lnTo>
                    <a:lnTo>
                      <a:pt x="777" y="1170"/>
                    </a:lnTo>
                    <a:lnTo>
                      <a:pt x="777" y="1170"/>
                    </a:lnTo>
                    <a:lnTo>
                      <a:pt x="775" y="1167"/>
                    </a:lnTo>
                    <a:lnTo>
                      <a:pt x="775" y="1165"/>
                    </a:lnTo>
                    <a:lnTo>
                      <a:pt x="775" y="1165"/>
                    </a:lnTo>
                    <a:lnTo>
                      <a:pt x="770" y="1165"/>
                    </a:lnTo>
                    <a:lnTo>
                      <a:pt x="768" y="1163"/>
                    </a:lnTo>
                    <a:lnTo>
                      <a:pt x="768" y="1163"/>
                    </a:lnTo>
                    <a:lnTo>
                      <a:pt x="763" y="1163"/>
                    </a:lnTo>
                    <a:lnTo>
                      <a:pt x="763" y="1163"/>
                    </a:lnTo>
                    <a:lnTo>
                      <a:pt x="761" y="1160"/>
                    </a:lnTo>
                    <a:lnTo>
                      <a:pt x="763" y="1158"/>
                    </a:lnTo>
                    <a:lnTo>
                      <a:pt x="763" y="1158"/>
                    </a:lnTo>
                    <a:lnTo>
                      <a:pt x="763" y="1156"/>
                    </a:lnTo>
                    <a:lnTo>
                      <a:pt x="763" y="1156"/>
                    </a:lnTo>
                    <a:lnTo>
                      <a:pt x="763" y="1153"/>
                    </a:lnTo>
                    <a:lnTo>
                      <a:pt x="766" y="1153"/>
                    </a:lnTo>
                    <a:lnTo>
                      <a:pt x="763" y="1151"/>
                    </a:lnTo>
                    <a:lnTo>
                      <a:pt x="763" y="1151"/>
                    </a:lnTo>
                    <a:lnTo>
                      <a:pt x="766" y="1151"/>
                    </a:lnTo>
                    <a:lnTo>
                      <a:pt x="766" y="1148"/>
                    </a:lnTo>
                    <a:lnTo>
                      <a:pt x="766" y="1148"/>
                    </a:lnTo>
                    <a:lnTo>
                      <a:pt x="768" y="1146"/>
                    </a:lnTo>
                    <a:lnTo>
                      <a:pt x="770" y="1144"/>
                    </a:lnTo>
                    <a:lnTo>
                      <a:pt x="768" y="1144"/>
                    </a:lnTo>
                    <a:lnTo>
                      <a:pt x="768" y="1141"/>
                    </a:lnTo>
                    <a:lnTo>
                      <a:pt x="768" y="1141"/>
                    </a:lnTo>
                    <a:lnTo>
                      <a:pt x="768" y="1139"/>
                    </a:lnTo>
                    <a:lnTo>
                      <a:pt x="768" y="1139"/>
                    </a:lnTo>
                    <a:lnTo>
                      <a:pt x="770" y="1137"/>
                    </a:lnTo>
                    <a:lnTo>
                      <a:pt x="768" y="1134"/>
                    </a:lnTo>
                    <a:lnTo>
                      <a:pt x="770" y="1134"/>
                    </a:lnTo>
                    <a:lnTo>
                      <a:pt x="770" y="1132"/>
                    </a:lnTo>
                    <a:lnTo>
                      <a:pt x="768" y="1130"/>
                    </a:lnTo>
                    <a:lnTo>
                      <a:pt x="768" y="1127"/>
                    </a:lnTo>
                    <a:lnTo>
                      <a:pt x="768" y="1125"/>
                    </a:lnTo>
                    <a:lnTo>
                      <a:pt x="770" y="1118"/>
                    </a:lnTo>
                    <a:lnTo>
                      <a:pt x="770" y="1118"/>
                    </a:lnTo>
                    <a:lnTo>
                      <a:pt x="768" y="1118"/>
                    </a:lnTo>
                    <a:lnTo>
                      <a:pt x="768" y="1118"/>
                    </a:lnTo>
                    <a:lnTo>
                      <a:pt x="768" y="1115"/>
                    </a:lnTo>
                    <a:lnTo>
                      <a:pt x="770" y="1111"/>
                    </a:lnTo>
                    <a:lnTo>
                      <a:pt x="770" y="1108"/>
                    </a:lnTo>
                    <a:lnTo>
                      <a:pt x="770" y="1108"/>
                    </a:lnTo>
                    <a:lnTo>
                      <a:pt x="770" y="1106"/>
                    </a:lnTo>
                    <a:lnTo>
                      <a:pt x="773" y="1106"/>
                    </a:lnTo>
                    <a:lnTo>
                      <a:pt x="775" y="1101"/>
                    </a:lnTo>
                    <a:lnTo>
                      <a:pt x="777" y="1099"/>
                    </a:lnTo>
                    <a:lnTo>
                      <a:pt x="777" y="1094"/>
                    </a:lnTo>
                    <a:lnTo>
                      <a:pt x="777" y="1092"/>
                    </a:lnTo>
                    <a:lnTo>
                      <a:pt x="780" y="1092"/>
                    </a:lnTo>
                    <a:lnTo>
                      <a:pt x="782" y="1092"/>
                    </a:lnTo>
                    <a:lnTo>
                      <a:pt x="782" y="1092"/>
                    </a:lnTo>
                    <a:lnTo>
                      <a:pt x="785" y="1092"/>
                    </a:lnTo>
                    <a:lnTo>
                      <a:pt x="785" y="1092"/>
                    </a:lnTo>
                    <a:lnTo>
                      <a:pt x="787" y="1092"/>
                    </a:lnTo>
                    <a:lnTo>
                      <a:pt x="787" y="1094"/>
                    </a:lnTo>
                    <a:lnTo>
                      <a:pt x="789" y="1094"/>
                    </a:lnTo>
                    <a:lnTo>
                      <a:pt x="789" y="1092"/>
                    </a:lnTo>
                    <a:lnTo>
                      <a:pt x="789" y="1092"/>
                    </a:lnTo>
                    <a:lnTo>
                      <a:pt x="794" y="1092"/>
                    </a:lnTo>
                    <a:lnTo>
                      <a:pt x="794" y="1092"/>
                    </a:lnTo>
                    <a:lnTo>
                      <a:pt x="796" y="1092"/>
                    </a:lnTo>
                    <a:lnTo>
                      <a:pt x="796" y="1094"/>
                    </a:lnTo>
                    <a:lnTo>
                      <a:pt x="796" y="1094"/>
                    </a:lnTo>
                    <a:lnTo>
                      <a:pt x="799" y="1097"/>
                    </a:lnTo>
                    <a:lnTo>
                      <a:pt x="799" y="1094"/>
                    </a:lnTo>
                    <a:lnTo>
                      <a:pt x="801" y="1094"/>
                    </a:lnTo>
                    <a:lnTo>
                      <a:pt x="803" y="1092"/>
                    </a:lnTo>
                    <a:lnTo>
                      <a:pt x="803" y="1094"/>
                    </a:lnTo>
                    <a:lnTo>
                      <a:pt x="806" y="1094"/>
                    </a:lnTo>
                    <a:lnTo>
                      <a:pt x="806" y="1092"/>
                    </a:lnTo>
                    <a:lnTo>
                      <a:pt x="806" y="1089"/>
                    </a:lnTo>
                    <a:lnTo>
                      <a:pt x="806" y="1089"/>
                    </a:lnTo>
                    <a:lnTo>
                      <a:pt x="806" y="1089"/>
                    </a:lnTo>
                    <a:lnTo>
                      <a:pt x="808" y="1089"/>
                    </a:lnTo>
                    <a:lnTo>
                      <a:pt x="808" y="1087"/>
                    </a:lnTo>
                    <a:lnTo>
                      <a:pt x="808" y="1087"/>
                    </a:lnTo>
                    <a:lnTo>
                      <a:pt x="808" y="1087"/>
                    </a:lnTo>
                    <a:lnTo>
                      <a:pt x="808" y="1085"/>
                    </a:lnTo>
                    <a:lnTo>
                      <a:pt x="808" y="1082"/>
                    </a:lnTo>
                    <a:lnTo>
                      <a:pt x="808" y="1082"/>
                    </a:lnTo>
                    <a:lnTo>
                      <a:pt x="806" y="1080"/>
                    </a:lnTo>
                    <a:lnTo>
                      <a:pt x="803" y="1082"/>
                    </a:lnTo>
                    <a:lnTo>
                      <a:pt x="803" y="1080"/>
                    </a:lnTo>
                    <a:lnTo>
                      <a:pt x="799" y="1080"/>
                    </a:lnTo>
                    <a:lnTo>
                      <a:pt x="799" y="1080"/>
                    </a:lnTo>
                    <a:lnTo>
                      <a:pt x="796" y="1080"/>
                    </a:lnTo>
                    <a:lnTo>
                      <a:pt x="799" y="1078"/>
                    </a:lnTo>
                    <a:lnTo>
                      <a:pt x="799" y="1073"/>
                    </a:lnTo>
                    <a:lnTo>
                      <a:pt x="801" y="1073"/>
                    </a:lnTo>
                    <a:lnTo>
                      <a:pt x="801" y="1071"/>
                    </a:lnTo>
                    <a:lnTo>
                      <a:pt x="803" y="1068"/>
                    </a:lnTo>
                    <a:lnTo>
                      <a:pt x="801" y="1068"/>
                    </a:lnTo>
                    <a:lnTo>
                      <a:pt x="801" y="1068"/>
                    </a:lnTo>
                    <a:lnTo>
                      <a:pt x="801" y="1066"/>
                    </a:lnTo>
                    <a:lnTo>
                      <a:pt x="803" y="1061"/>
                    </a:lnTo>
                    <a:lnTo>
                      <a:pt x="803" y="1059"/>
                    </a:lnTo>
                    <a:lnTo>
                      <a:pt x="803" y="1056"/>
                    </a:lnTo>
                    <a:lnTo>
                      <a:pt x="803" y="1054"/>
                    </a:lnTo>
                    <a:lnTo>
                      <a:pt x="806" y="1052"/>
                    </a:lnTo>
                    <a:lnTo>
                      <a:pt x="808" y="1052"/>
                    </a:lnTo>
                    <a:lnTo>
                      <a:pt x="808" y="1052"/>
                    </a:lnTo>
                    <a:lnTo>
                      <a:pt x="808" y="1052"/>
                    </a:lnTo>
                    <a:lnTo>
                      <a:pt x="808" y="1052"/>
                    </a:lnTo>
                    <a:lnTo>
                      <a:pt x="811" y="1049"/>
                    </a:lnTo>
                    <a:lnTo>
                      <a:pt x="811" y="1049"/>
                    </a:lnTo>
                    <a:lnTo>
                      <a:pt x="813" y="1052"/>
                    </a:lnTo>
                    <a:lnTo>
                      <a:pt x="815" y="1052"/>
                    </a:lnTo>
                    <a:lnTo>
                      <a:pt x="815" y="1052"/>
                    </a:lnTo>
                    <a:lnTo>
                      <a:pt x="815" y="1052"/>
                    </a:lnTo>
                    <a:lnTo>
                      <a:pt x="818" y="1052"/>
                    </a:lnTo>
                    <a:lnTo>
                      <a:pt x="820" y="1052"/>
                    </a:lnTo>
                    <a:lnTo>
                      <a:pt x="820" y="1052"/>
                    </a:lnTo>
                    <a:lnTo>
                      <a:pt x="820" y="1049"/>
                    </a:lnTo>
                    <a:lnTo>
                      <a:pt x="820" y="1049"/>
                    </a:lnTo>
                    <a:lnTo>
                      <a:pt x="820" y="1047"/>
                    </a:lnTo>
                    <a:lnTo>
                      <a:pt x="818" y="1047"/>
                    </a:lnTo>
                    <a:lnTo>
                      <a:pt x="818" y="1047"/>
                    </a:lnTo>
                    <a:lnTo>
                      <a:pt x="818" y="1047"/>
                    </a:lnTo>
                    <a:lnTo>
                      <a:pt x="818" y="1045"/>
                    </a:lnTo>
                    <a:lnTo>
                      <a:pt x="820" y="1045"/>
                    </a:lnTo>
                    <a:lnTo>
                      <a:pt x="820" y="1045"/>
                    </a:lnTo>
                    <a:lnTo>
                      <a:pt x="822" y="1042"/>
                    </a:lnTo>
                    <a:lnTo>
                      <a:pt x="825" y="1037"/>
                    </a:lnTo>
                    <a:lnTo>
                      <a:pt x="825" y="1037"/>
                    </a:lnTo>
                    <a:lnTo>
                      <a:pt x="827" y="1035"/>
                    </a:lnTo>
                    <a:lnTo>
                      <a:pt x="827" y="1033"/>
                    </a:lnTo>
                    <a:lnTo>
                      <a:pt x="827" y="1033"/>
                    </a:lnTo>
                    <a:lnTo>
                      <a:pt x="829" y="1033"/>
                    </a:lnTo>
                    <a:lnTo>
                      <a:pt x="827" y="1035"/>
                    </a:lnTo>
                    <a:lnTo>
                      <a:pt x="829" y="1035"/>
                    </a:lnTo>
                    <a:lnTo>
                      <a:pt x="829" y="1037"/>
                    </a:lnTo>
                    <a:lnTo>
                      <a:pt x="832" y="1035"/>
                    </a:lnTo>
                    <a:lnTo>
                      <a:pt x="832" y="1035"/>
                    </a:lnTo>
                    <a:lnTo>
                      <a:pt x="832" y="1033"/>
                    </a:lnTo>
                    <a:lnTo>
                      <a:pt x="834" y="1033"/>
                    </a:lnTo>
                    <a:lnTo>
                      <a:pt x="834" y="1030"/>
                    </a:lnTo>
                    <a:lnTo>
                      <a:pt x="834" y="1028"/>
                    </a:lnTo>
                    <a:lnTo>
                      <a:pt x="837" y="1028"/>
                    </a:lnTo>
                    <a:lnTo>
                      <a:pt x="837" y="1023"/>
                    </a:lnTo>
                    <a:lnTo>
                      <a:pt x="839" y="1023"/>
                    </a:lnTo>
                    <a:lnTo>
                      <a:pt x="839" y="1021"/>
                    </a:lnTo>
                    <a:lnTo>
                      <a:pt x="839" y="1021"/>
                    </a:lnTo>
                    <a:lnTo>
                      <a:pt x="841" y="1019"/>
                    </a:lnTo>
                    <a:lnTo>
                      <a:pt x="841" y="1019"/>
                    </a:lnTo>
                    <a:lnTo>
                      <a:pt x="841" y="1016"/>
                    </a:lnTo>
                    <a:lnTo>
                      <a:pt x="844" y="1016"/>
                    </a:lnTo>
                    <a:lnTo>
                      <a:pt x="844" y="1019"/>
                    </a:lnTo>
                    <a:lnTo>
                      <a:pt x="844" y="1019"/>
                    </a:lnTo>
                    <a:lnTo>
                      <a:pt x="844" y="1019"/>
                    </a:lnTo>
                    <a:lnTo>
                      <a:pt x="846" y="1019"/>
                    </a:lnTo>
                    <a:lnTo>
                      <a:pt x="846" y="1016"/>
                    </a:lnTo>
                    <a:lnTo>
                      <a:pt x="848" y="1014"/>
                    </a:lnTo>
                    <a:lnTo>
                      <a:pt x="848" y="1014"/>
                    </a:lnTo>
                    <a:lnTo>
                      <a:pt x="851" y="1014"/>
                    </a:lnTo>
                    <a:lnTo>
                      <a:pt x="851" y="1011"/>
                    </a:lnTo>
                    <a:lnTo>
                      <a:pt x="851" y="1009"/>
                    </a:lnTo>
                    <a:lnTo>
                      <a:pt x="848" y="1009"/>
                    </a:lnTo>
                    <a:lnTo>
                      <a:pt x="851" y="1004"/>
                    </a:lnTo>
                    <a:lnTo>
                      <a:pt x="851" y="1004"/>
                    </a:lnTo>
                    <a:lnTo>
                      <a:pt x="853" y="1004"/>
                    </a:lnTo>
                    <a:lnTo>
                      <a:pt x="853" y="1002"/>
                    </a:lnTo>
                    <a:lnTo>
                      <a:pt x="855" y="1002"/>
                    </a:lnTo>
                    <a:lnTo>
                      <a:pt x="855" y="997"/>
                    </a:lnTo>
                    <a:lnTo>
                      <a:pt x="855" y="997"/>
                    </a:lnTo>
                    <a:lnTo>
                      <a:pt x="853" y="997"/>
                    </a:lnTo>
                    <a:lnTo>
                      <a:pt x="853" y="995"/>
                    </a:lnTo>
                    <a:lnTo>
                      <a:pt x="853" y="995"/>
                    </a:lnTo>
                    <a:lnTo>
                      <a:pt x="855" y="995"/>
                    </a:lnTo>
                    <a:lnTo>
                      <a:pt x="855" y="995"/>
                    </a:lnTo>
                    <a:lnTo>
                      <a:pt x="855" y="995"/>
                    </a:lnTo>
                    <a:lnTo>
                      <a:pt x="858" y="993"/>
                    </a:lnTo>
                    <a:lnTo>
                      <a:pt x="858" y="990"/>
                    </a:lnTo>
                    <a:lnTo>
                      <a:pt x="858" y="990"/>
                    </a:lnTo>
                    <a:lnTo>
                      <a:pt x="858" y="988"/>
                    </a:lnTo>
                    <a:lnTo>
                      <a:pt x="855" y="988"/>
                    </a:lnTo>
                    <a:lnTo>
                      <a:pt x="855" y="988"/>
                    </a:lnTo>
                    <a:lnTo>
                      <a:pt x="855" y="986"/>
                    </a:lnTo>
                    <a:lnTo>
                      <a:pt x="853" y="986"/>
                    </a:lnTo>
                    <a:lnTo>
                      <a:pt x="853" y="983"/>
                    </a:lnTo>
                    <a:lnTo>
                      <a:pt x="851" y="981"/>
                    </a:lnTo>
                    <a:lnTo>
                      <a:pt x="848" y="981"/>
                    </a:lnTo>
                    <a:lnTo>
                      <a:pt x="848" y="978"/>
                    </a:lnTo>
                    <a:lnTo>
                      <a:pt x="851" y="976"/>
                    </a:lnTo>
                    <a:lnTo>
                      <a:pt x="851" y="976"/>
                    </a:lnTo>
                    <a:lnTo>
                      <a:pt x="851" y="976"/>
                    </a:lnTo>
                    <a:lnTo>
                      <a:pt x="851" y="976"/>
                    </a:lnTo>
                    <a:lnTo>
                      <a:pt x="846" y="976"/>
                    </a:lnTo>
                    <a:lnTo>
                      <a:pt x="846" y="976"/>
                    </a:lnTo>
                    <a:lnTo>
                      <a:pt x="846" y="978"/>
                    </a:lnTo>
                    <a:lnTo>
                      <a:pt x="844" y="978"/>
                    </a:lnTo>
                    <a:lnTo>
                      <a:pt x="844" y="976"/>
                    </a:lnTo>
                    <a:lnTo>
                      <a:pt x="841" y="976"/>
                    </a:lnTo>
                    <a:lnTo>
                      <a:pt x="841" y="976"/>
                    </a:lnTo>
                    <a:lnTo>
                      <a:pt x="841" y="976"/>
                    </a:lnTo>
                    <a:lnTo>
                      <a:pt x="841" y="976"/>
                    </a:lnTo>
                    <a:lnTo>
                      <a:pt x="839" y="976"/>
                    </a:lnTo>
                    <a:lnTo>
                      <a:pt x="839" y="974"/>
                    </a:lnTo>
                    <a:lnTo>
                      <a:pt x="837" y="974"/>
                    </a:lnTo>
                    <a:lnTo>
                      <a:pt x="837" y="976"/>
                    </a:lnTo>
                    <a:lnTo>
                      <a:pt x="837" y="976"/>
                    </a:lnTo>
                    <a:lnTo>
                      <a:pt x="837" y="974"/>
                    </a:lnTo>
                    <a:lnTo>
                      <a:pt x="837" y="974"/>
                    </a:lnTo>
                    <a:lnTo>
                      <a:pt x="837" y="974"/>
                    </a:lnTo>
                    <a:lnTo>
                      <a:pt x="837" y="974"/>
                    </a:lnTo>
                    <a:lnTo>
                      <a:pt x="834" y="974"/>
                    </a:lnTo>
                    <a:lnTo>
                      <a:pt x="834" y="971"/>
                    </a:lnTo>
                    <a:lnTo>
                      <a:pt x="834" y="971"/>
                    </a:lnTo>
                    <a:lnTo>
                      <a:pt x="834" y="971"/>
                    </a:lnTo>
                    <a:lnTo>
                      <a:pt x="832" y="971"/>
                    </a:lnTo>
                    <a:lnTo>
                      <a:pt x="832" y="971"/>
                    </a:lnTo>
                    <a:lnTo>
                      <a:pt x="834" y="971"/>
                    </a:lnTo>
                    <a:lnTo>
                      <a:pt x="832" y="969"/>
                    </a:lnTo>
                    <a:lnTo>
                      <a:pt x="832" y="969"/>
                    </a:lnTo>
                    <a:lnTo>
                      <a:pt x="832" y="969"/>
                    </a:lnTo>
                    <a:lnTo>
                      <a:pt x="832" y="969"/>
                    </a:lnTo>
                    <a:lnTo>
                      <a:pt x="832" y="969"/>
                    </a:lnTo>
                    <a:lnTo>
                      <a:pt x="832" y="969"/>
                    </a:lnTo>
                    <a:lnTo>
                      <a:pt x="832" y="967"/>
                    </a:lnTo>
                    <a:lnTo>
                      <a:pt x="832" y="967"/>
                    </a:lnTo>
                    <a:lnTo>
                      <a:pt x="832" y="964"/>
                    </a:lnTo>
                    <a:lnTo>
                      <a:pt x="832" y="964"/>
                    </a:lnTo>
                    <a:lnTo>
                      <a:pt x="832" y="967"/>
                    </a:lnTo>
                    <a:lnTo>
                      <a:pt x="829" y="967"/>
                    </a:lnTo>
                    <a:lnTo>
                      <a:pt x="829" y="967"/>
                    </a:lnTo>
                    <a:lnTo>
                      <a:pt x="829" y="964"/>
                    </a:lnTo>
                    <a:lnTo>
                      <a:pt x="829" y="962"/>
                    </a:lnTo>
                    <a:lnTo>
                      <a:pt x="827" y="964"/>
                    </a:lnTo>
                    <a:lnTo>
                      <a:pt x="827" y="964"/>
                    </a:lnTo>
                    <a:lnTo>
                      <a:pt x="827" y="964"/>
                    </a:lnTo>
                    <a:lnTo>
                      <a:pt x="827" y="964"/>
                    </a:lnTo>
                    <a:lnTo>
                      <a:pt x="825" y="964"/>
                    </a:lnTo>
                    <a:lnTo>
                      <a:pt x="825" y="964"/>
                    </a:lnTo>
                    <a:lnTo>
                      <a:pt x="822" y="964"/>
                    </a:lnTo>
                    <a:lnTo>
                      <a:pt x="822" y="962"/>
                    </a:lnTo>
                    <a:lnTo>
                      <a:pt x="822" y="964"/>
                    </a:lnTo>
                    <a:lnTo>
                      <a:pt x="822" y="964"/>
                    </a:lnTo>
                    <a:lnTo>
                      <a:pt x="820" y="964"/>
                    </a:lnTo>
                    <a:lnTo>
                      <a:pt x="820" y="964"/>
                    </a:lnTo>
                    <a:lnTo>
                      <a:pt x="820" y="964"/>
                    </a:lnTo>
                    <a:lnTo>
                      <a:pt x="820" y="964"/>
                    </a:lnTo>
                    <a:lnTo>
                      <a:pt x="818" y="964"/>
                    </a:lnTo>
                    <a:lnTo>
                      <a:pt x="818" y="964"/>
                    </a:lnTo>
                    <a:lnTo>
                      <a:pt x="820" y="962"/>
                    </a:lnTo>
                    <a:lnTo>
                      <a:pt x="820" y="960"/>
                    </a:lnTo>
                    <a:lnTo>
                      <a:pt x="818" y="960"/>
                    </a:lnTo>
                    <a:lnTo>
                      <a:pt x="815" y="957"/>
                    </a:lnTo>
                    <a:lnTo>
                      <a:pt x="815" y="960"/>
                    </a:lnTo>
                    <a:lnTo>
                      <a:pt x="815" y="957"/>
                    </a:lnTo>
                    <a:lnTo>
                      <a:pt x="815" y="957"/>
                    </a:lnTo>
                    <a:lnTo>
                      <a:pt x="815" y="955"/>
                    </a:lnTo>
                    <a:lnTo>
                      <a:pt x="813" y="955"/>
                    </a:lnTo>
                    <a:lnTo>
                      <a:pt x="813" y="955"/>
                    </a:lnTo>
                    <a:lnTo>
                      <a:pt x="813" y="955"/>
                    </a:lnTo>
                    <a:lnTo>
                      <a:pt x="813" y="952"/>
                    </a:lnTo>
                    <a:lnTo>
                      <a:pt x="813" y="952"/>
                    </a:lnTo>
                    <a:lnTo>
                      <a:pt x="813" y="952"/>
                    </a:lnTo>
                    <a:lnTo>
                      <a:pt x="811" y="950"/>
                    </a:lnTo>
                    <a:lnTo>
                      <a:pt x="811" y="950"/>
                    </a:lnTo>
                    <a:lnTo>
                      <a:pt x="808" y="952"/>
                    </a:lnTo>
                    <a:lnTo>
                      <a:pt x="808" y="952"/>
                    </a:lnTo>
                    <a:lnTo>
                      <a:pt x="806" y="952"/>
                    </a:lnTo>
                    <a:lnTo>
                      <a:pt x="806" y="952"/>
                    </a:lnTo>
                    <a:lnTo>
                      <a:pt x="806" y="952"/>
                    </a:lnTo>
                    <a:lnTo>
                      <a:pt x="803" y="952"/>
                    </a:lnTo>
                    <a:lnTo>
                      <a:pt x="801" y="952"/>
                    </a:lnTo>
                    <a:lnTo>
                      <a:pt x="799" y="952"/>
                    </a:lnTo>
                    <a:lnTo>
                      <a:pt x="799" y="952"/>
                    </a:lnTo>
                    <a:lnTo>
                      <a:pt x="799" y="952"/>
                    </a:lnTo>
                    <a:lnTo>
                      <a:pt x="796" y="952"/>
                    </a:lnTo>
                    <a:lnTo>
                      <a:pt x="796" y="952"/>
                    </a:lnTo>
                    <a:lnTo>
                      <a:pt x="796" y="952"/>
                    </a:lnTo>
                    <a:lnTo>
                      <a:pt x="794" y="952"/>
                    </a:lnTo>
                    <a:lnTo>
                      <a:pt x="794" y="952"/>
                    </a:lnTo>
                    <a:lnTo>
                      <a:pt x="792" y="952"/>
                    </a:lnTo>
                    <a:lnTo>
                      <a:pt x="789" y="952"/>
                    </a:lnTo>
                    <a:lnTo>
                      <a:pt x="789" y="952"/>
                    </a:lnTo>
                    <a:lnTo>
                      <a:pt x="789" y="952"/>
                    </a:lnTo>
                    <a:lnTo>
                      <a:pt x="787" y="950"/>
                    </a:lnTo>
                    <a:lnTo>
                      <a:pt x="787" y="952"/>
                    </a:lnTo>
                    <a:lnTo>
                      <a:pt x="787" y="950"/>
                    </a:lnTo>
                    <a:lnTo>
                      <a:pt x="787" y="948"/>
                    </a:lnTo>
                    <a:lnTo>
                      <a:pt x="785" y="945"/>
                    </a:lnTo>
                    <a:lnTo>
                      <a:pt x="782" y="945"/>
                    </a:lnTo>
                    <a:lnTo>
                      <a:pt x="782" y="943"/>
                    </a:lnTo>
                    <a:lnTo>
                      <a:pt x="780" y="945"/>
                    </a:lnTo>
                    <a:lnTo>
                      <a:pt x="780" y="948"/>
                    </a:lnTo>
                    <a:lnTo>
                      <a:pt x="777" y="945"/>
                    </a:lnTo>
                    <a:lnTo>
                      <a:pt x="777" y="945"/>
                    </a:lnTo>
                    <a:lnTo>
                      <a:pt x="775" y="945"/>
                    </a:lnTo>
                    <a:lnTo>
                      <a:pt x="775" y="948"/>
                    </a:lnTo>
                    <a:lnTo>
                      <a:pt x="775" y="950"/>
                    </a:lnTo>
                    <a:lnTo>
                      <a:pt x="773" y="950"/>
                    </a:lnTo>
                    <a:lnTo>
                      <a:pt x="770" y="950"/>
                    </a:lnTo>
                    <a:lnTo>
                      <a:pt x="768" y="950"/>
                    </a:lnTo>
                    <a:lnTo>
                      <a:pt x="768" y="950"/>
                    </a:lnTo>
                    <a:lnTo>
                      <a:pt x="768" y="948"/>
                    </a:lnTo>
                    <a:lnTo>
                      <a:pt x="766" y="945"/>
                    </a:lnTo>
                    <a:lnTo>
                      <a:pt x="766" y="945"/>
                    </a:lnTo>
                    <a:lnTo>
                      <a:pt x="763" y="945"/>
                    </a:lnTo>
                    <a:lnTo>
                      <a:pt x="763" y="943"/>
                    </a:lnTo>
                    <a:lnTo>
                      <a:pt x="763" y="943"/>
                    </a:lnTo>
                    <a:lnTo>
                      <a:pt x="763" y="943"/>
                    </a:lnTo>
                    <a:lnTo>
                      <a:pt x="763" y="943"/>
                    </a:lnTo>
                    <a:lnTo>
                      <a:pt x="761" y="941"/>
                    </a:lnTo>
                    <a:lnTo>
                      <a:pt x="761" y="941"/>
                    </a:lnTo>
                    <a:lnTo>
                      <a:pt x="759" y="941"/>
                    </a:lnTo>
                    <a:lnTo>
                      <a:pt x="759" y="941"/>
                    </a:lnTo>
                    <a:lnTo>
                      <a:pt x="756" y="938"/>
                    </a:lnTo>
                    <a:lnTo>
                      <a:pt x="754" y="936"/>
                    </a:lnTo>
                    <a:lnTo>
                      <a:pt x="754" y="936"/>
                    </a:lnTo>
                    <a:lnTo>
                      <a:pt x="751" y="934"/>
                    </a:lnTo>
                    <a:lnTo>
                      <a:pt x="751" y="934"/>
                    </a:lnTo>
                    <a:lnTo>
                      <a:pt x="751" y="934"/>
                    </a:lnTo>
                    <a:lnTo>
                      <a:pt x="751" y="934"/>
                    </a:lnTo>
                    <a:lnTo>
                      <a:pt x="749" y="934"/>
                    </a:lnTo>
                    <a:lnTo>
                      <a:pt x="747" y="934"/>
                    </a:lnTo>
                    <a:lnTo>
                      <a:pt x="747" y="936"/>
                    </a:lnTo>
                    <a:lnTo>
                      <a:pt x="747" y="936"/>
                    </a:lnTo>
                    <a:lnTo>
                      <a:pt x="747" y="936"/>
                    </a:lnTo>
                    <a:lnTo>
                      <a:pt x="744" y="938"/>
                    </a:lnTo>
                    <a:lnTo>
                      <a:pt x="742" y="938"/>
                    </a:lnTo>
                    <a:lnTo>
                      <a:pt x="742" y="938"/>
                    </a:lnTo>
                    <a:lnTo>
                      <a:pt x="740" y="936"/>
                    </a:lnTo>
                    <a:lnTo>
                      <a:pt x="742" y="934"/>
                    </a:lnTo>
                    <a:lnTo>
                      <a:pt x="740" y="934"/>
                    </a:lnTo>
                    <a:lnTo>
                      <a:pt x="737" y="931"/>
                    </a:lnTo>
                    <a:lnTo>
                      <a:pt x="737" y="931"/>
                    </a:lnTo>
                    <a:lnTo>
                      <a:pt x="735" y="931"/>
                    </a:lnTo>
                    <a:lnTo>
                      <a:pt x="735" y="931"/>
                    </a:lnTo>
                    <a:lnTo>
                      <a:pt x="735" y="934"/>
                    </a:lnTo>
                    <a:lnTo>
                      <a:pt x="735" y="934"/>
                    </a:lnTo>
                    <a:lnTo>
                      <a:pt x="733" y="936"/>
                    </a:lnTo>
                    <a:lnTo>
                      <a:pt x="733" y="934"/>
                    </a:lnTo>
                    <a:lnTo>
                      <a:pt x="733" y="936"/>
                    </a:lnTo>
                    <a:lnTo>
                      <a:pt x="728" y="936"/>
                    </a:lnTo>
                    <a:lnTo>
                      <a:pt x="728" y="936"/>
                    </a:lnTo>
                    <a:lnTo>
                      <a:pt x="726" y="936"/>
                    </a:lnTo>
                    <a:lnTo>
                      <a:pt x="726" y="931"/>
                    </a:lnTo>
                    <a:lnTo>
                      <a:pt x="723" y="931"/>
                    </a:lnTo>
                    <a:lnTo>
                      <a:pt x="723" y="931"/>
                    </a:lnTo>
                    <a:lnTo>
                      <a:pt x="721" y="931"/>
                    </a:lnTo>
                    <a:lnTo>
                      <a:pt x="721" y="931"/>
                    </a:lnTo>
                    <a:lnTo>
                      <a:pt x="718" y="931"/>
                    </a:lnTo>
                    <a:lnTo>
                      <a:pt x="718" y="931"/>
                    </a:lnTo>
                    <a:lnTo>
                      <a:pt x="716" y="934"/>
                    </a:lnTo>
                    <a:lnTo>
                      <a:pt x="716" y="934"/>
                    </a:lnTo>
                    <a:lnTo>
                      <a:pt x="716" y="936"/>
                    </a:lnTo>
                    <a:lnTo>
                      <a:pt x="716" y="936"/>
                    </a:lnTo>
                    <a:lnTo>
                      <a:pt x="714" y="938"/>
                    </a:lnTo>
                    <a:lnTo>
                      <a:pt x="709" y="938"/>
                    </a:lnTo>
                    <a:lnTo>
                      <a:pt x="707" y="941"/>
                    </a:lnTo>
                    <a:lnTo>
                      <a:pt x="704" y="941"/>
                    </a:lnTo>
                    <a:lnTo>
                      <a:pt x="702" y="943"/>
                    </a:lnTo>
                    <a:lnTo>
                      <a:pt x="697" y="943"/>
                    </a:lnTo>
                    <a:lnTo>
                      <a:pt x="697" y="943"/>
                    </a:lnTo>
                    <a:lnTo>
                      <a:pt x="697" y="945"/>
                    </a:lnTo>
                    <a:lnTo>
                      <a:pt x="695" y="945"/>
                    </a:lnTo>
                    <a:lnTo>
                      <a:pt x="695" y="945"/>
                    </a:lnTo>
                    <a:lnTo>
                      <a:pt x="692" y="945"/>
                    </a:lnTo>
                    <a:lnTo>
                      <a:pt x="690" y="943"/>
                    </a:lnTo>
                    <a:lnTo>
                      <a:pt x="688" y="943"/>
                    </a:lnTo>
                    <a:lnTo>
                      <a:pt x="685" y="943"/>
                    </a:lnTo>
                    <a:lnTo>
                      <a:pt x="683" y="943"/>
                    </a:lnTo>
                    <a:lnTo>
                      <a:pt x="681" y="943"/>
                    </a:lnTo>
                    <a:lnTo>
                      <a:pt x="678" y="943"/>
                    </a:lnTo>
                    <a:lnTo>
                      <a:pt x="678" y="943"/>
                    </a:lnTo>
                    <a:lnTo>
                      <a:pt x="676" y="943"/>
                    </a:lnTo>
                    <a:lnTo>
                      <a:pt x="676" y="943"/>
                    </a:lnTo>
                    <a:lnTo>
                      <a:pt x="671" y="943"/>
                    </a:lnTo>
                    <a:lnTo>
                      <a:pt x="671" y="943"/>
                    </a:lnTo>
                    <a:lnTo>
                      <a:pt x="671" y="929"/>
                    </a:lnTo>
                    <a:lnTo>
                      <a:pt x="669" y="912"/>
                    </a:lnTo>
                    <a:lnTo>
                      <a:pt x="669" y="910"/>
                    </a:lnTo>
                    <a:lnTo>
                      <a:pt x="664" y="908"/>
                    </a:lnTo>
                    <a:lnTo>
                      <a:pt x="655" y="898"/>
                    </a:lnTo>
                    <a:lnTo>
                      <a:pt x="643" y="886"/>
                    </a:lnTo>
                    <a:lnTo>
                      <a:pt x="612" y="858"/>
                    </a:lnTo>
                    <a:lnTo>
                      <a:pt x="612" y="858"/>
                    </a:lnTo>
                    <a:lnTo>
                      <a:pt x="610" y="860"/>
                    </a:lnTo>
                    <a:lnTo>
                      <a:pt x="607" y="860"/>
                    </a:lnTo>
                    <a:lnTo>
                      <a:pt x="605" y="860"/>
                    </a:lnTo>
                    <a:lnTo>
                      <a:pt x="603" y="860"/>
                    </a:lnTo>
                    <a:lnTo>
                      <a:pt x="603" y="863"/>
                    </a:lnTo>
                    <a:lnTo>
                      <a:pt x="600" y="865"/>
                    </a:lnTo>
                    <a:lnTo>
                      <a:pt x="600" y="865"/>
                    </a:lnTo>
                    <a:lnTo>
                      <a:pt x="598" y="865"/>
                    </a:lnTo>
                    <a:lnTo>
                      <a:pt x="598" y="867"/>
                    </a:lnTo>
                    <a:lnTo>
                      <a:pt x="596" y="867"/>
                    </a:lnTo>
                    <a:lnTo>
                      <a:pt x="596" y="867"/>
                    </a:lnTo>
                    <a:lnTo>
                      <a:pt x="593" y="870"/>
                    </a:lnTo>
                    <a:lnTo>
                      <a:pt x="588" y="867"/>
                    </a:lnTo>
                    <a:lnTo>
                      <a:pt x="588" y="867"/>
                    </a:lnTo>
                    <a:lnTo>
                      <a:pt x="586" y="867"/>
                    </a:lnTo>
                    <a:lnTo>
                      <a:pt x="584" y="867"/>
                    </a:lnTo>
                    <a:lnTo>
                      <a:pt x="577" y="870"/>
                    </a:lnTo>
                    <a:lnTo>
                      <a:pt x="577" y="870"/>
                    </a:lnTo>
                    <a:lnTo>
                      <a:pt x="574" y="870"/>
                    </a:lnTo>
                    <a:lnTo>
                      <a:pt x="574" y="870"/>
                    </a:lnTo>
                    <a:lnTo>
                      <a:pt x="574" y="867"/>
                    </a:lnTo>
                    <a:lnTo>
                      <a:pt x="574" y="867"/>
                    </a:lnTo>
                    <a:lnTo>
                      <a:pt x="572" y="865"/>
                    </a:lnTo>
                    <a:lnTo>
                      <a:pt x="570" y="863"/>
                    </a:lnTo>
                    <a:lnTo>
                      <a:pt x="570" y="863"/>
                    </a:lnTo>
                    <a:lnTo>
                      <a:pt x="567" y="860"/>
                    </a:lnTo>
                    <a:lnTo>
                      <a:pt x="567" y="860"/>
                    </a:lnTo>
                    <a:lnTo>
                      <a:pt x="567" y="858"/>
                    </a:lnTo>
                    <a:lnTo>
                      <a:pt x="565" y="858"/>
                    </a:lnTo>
                    <a:lnTo>
                      <a:pt x="565" y="858"/>
                    </a:lnTo>
                    <a:lnTo>
                      <a:pt x="565" y="858"/>
                    </a:lnTo>
                    <a:lnTo>
                      <a:pt x="565" y="858"/>
                    </a:lnTo>
                    <a:lnTo>
                      <a:pt x="563" y="860"/>
                    </a:lnTo>
                    <a:lnTo>
                      <a:pt x="560" y="858"/>
                    </a:lnTo>
                    <a:lnTo>
                      <a:pt x="560" y="860"/>
                    </a:lnTo>
                    <a:lnTo>
                      <a:pt x="558" y="858"/>
                    </a:lnTo>
                    <a:lnTo>
                      <a:pt x="555" y="860"/>
                    </a:lnTo>
                    <a:lnTo>
                      <a:pt x="553" y="863"/>
                    </a:lnTo>
                    <a:lnTo>
                      <a:pt x="551" y="860"/>
                    </a:lnTo>
                    <a:lnTo>
                      <a:pt x="551" y="860"/>
                    </a:lnTo>
                    <a:lnTo>
                      <a:pt x="551" y="860"/>
                    </a:lnTo>
                    <a:lnTo>
                      <a:pt x="546" y="858"/>
                    </a:lnTo>
                    <a:lnTo>
                      <a:pt x="546" y="858"/>
                    </a:lnTo>
                    <a:lnTo>
                      <a:pt x="546" y="856"/>
                    </a:lnTo>
                    <a:lnTo>
                      <a:pt x="544" y="856"/>
                    </a:lnTo>
                    <a:lnTo>
                      <a:pt x="541" y="858"/>
                    </a:lnTo>
                    <a:lnTo>
                      <a:pt x="539" y="856"/>
                    </a:lnTo>
                    <a:lnTo>
                      <a:pt x="539" y="856"/>
                    </a:lnTo>
                    <a:lnTo>
                      <a:pt x="537" y="856"/>
                    </a:lnTo>
                    <a:lnTo>
                      <a:pt x="534" y="853"/>
                    </a:lnTo>
                    <a:lnTo>
                      <a:pt x="529" y="853"/>
                    </a:lnTo>
                    <a:lnTo>
                      <a:pt x="532" y="851"/>
                    </a:lnTo>
                    <a:lnTo>
                      <a:pt x="532" y="849"/>
                    </a:lnTo>
                    <a:lnTo>
                      <a:pt x="527" y="849"/>
                    </a:lnTo>
                    <a:lnTo>
                      <a:pt x="525" y="844"/>
                    </a:lnTo>
                    <a:lnTo>
                      <a:pt x="522" y="844"/>
                    </a:lnTo>
                    <a:lnTo>
                      <a:pt x="520" y="844"/>
                    </a:lnTo>
                    <a:lnTo>
                      <a:pt x="520" y="844"/>
                    </a:lnTo>
                    <a:lnTo>
                      <a:pt x="520" y="841"/>
                    </a:lnTo>
                    <a:lnTo>
                      <a:pt x="518" y="841"/>
                    </a:lnTo>
                    <a:lnTo>
                      <a:pt x="515" y="841"/>
                    </a:lnTo>
                    <a:lnTo>
                      <a:pt x="513" y="839"/>
                    </a:lnTo>
                    <a:lnTo>
                      <a:pt x="513" y="837"/>
                    </a:lnTo>
                    <a:lnTo>
                      <a:pt x="513" y="837"/>
                    </a:lnTo>
                    <a:lnTo>
                      <a:pt x="511" y="834"/>
                    </a:lnTo>
                    <a:lnTo>
                      <a:pt x="508" y="837"/>
                    </a:lnTo>
                    <a:lnTo>
                      <a:pt x="508" y="839"/>
                    </a:lnTo>
                    <a:lnTo>
                      <a:pt x="506" y="837"/>
                    </a:lnTo>
                    <a:lnTo>
                      <a:pt x="503" y="834"/>
                    </a:lnTo>
                    <a:lnTo>
                      <a:pt x="503" y="834"/>
                    </a:lnTo>
                    <a:lnTo>
                      <a:pt x="503" y="834"/>
                    </a:lnTo>
                    <a:lnTo>
                      <a:pt x="503" y="834"/>
                    </a:lnTo>
                    <a:lnTo>
                      <a:pt x="503" y="834"/>
                    </a:lnTo>
                    <a:lnTo>
                      <a:pt x="501" y="832"/>
                    </a:lnTo>
                    <a:lnTo>
                      <a:pt x="501" y="834"/>
                    </a:lnTo>
                    <a:lnTo>
                      <a:pt x="499" y="832"/>
                    </a:lnTo>
                    <a:lnTo>
                      <a:pt x="496" y="832"/>
                    </a:lnTo>
                    <a:lnTo>
                      <a:pt x="499" y="832"/>
                    </a:lnTo>
                    <a:lnTo>
                      <a:pt x="496" y="832"/>
                    </a:lnTo>
                    <a:lnTo>
                      <a:pt x="496" y="830"/>
                    </a:lnTo>
                    <a:lnTo>
                      <a:pt x="496" y="830"/>
                    </a:lnTo>
                    <a:lnTo>
                      <a:pt x="496" y="830"/>
                    </a:lnTo>
                    <a:lnTo>
                      <a:pt x="494" y="832"/>
                    </a:lnTo>
                    <a:lnTo>
                      <a:pt x="494" y="830"/>
                    </a:lnTo>
                    <a:lnTo>
                      <a:pt x="494" y="830"/>
                    </a:lnTo>
                    <a:lnTo>
                      <a:pt x="492" y="827"/>
                    </a:lnTo>
                    <a:lnTo>
                      <a:pt x="492" y="825"/>
                    </a:lnTo>
                    <a:lnTo>
                      <a:pt x="487" y="825"/>
                    </a:lnTo>
                    <a:lnTo>
                      <a:pt x="485" y="823"/>
                    </a:lnTo>
                    <a:lnTo>
                      <a:pt x="482" y="820"/>
                    </a:lnTo>
                    <a:lnTo>
                      <a:pt x="480" y="820"/>
                    </a:lnTo>
                    <a:lnTo>
                      <a:pt x="480" y="820"/>
                    </a:lnTo>
                    <a:lnTo>
                      <a:pt x="477" y="820"/>
                    </a:lnTo>
                    <a:lnTo>
                      <a:pt x="477" y="818"/>
                    </a:lnTo>
                    <a:lnTo>
                      <a:pt x="475" y="815"/>
                    </a:lnTo>
                    <a:lnTo>
                      <a:pt x="475" y="815"/>
                    </a:lnTo>
                    <a:lnTo>
                      <a:pt x="477" y="815"/>
                    </a:lnTo>
                    <a:lnTo>
                      <a:pt x="475" y="815"/>
                    </a:lnTo>
                    <a:lnTo>
                      <a:pt x="475" y="815"/>
                    </a:lnTo>
                    <a:lnTo>
                      <a:pt x="475" y="815"/>
                    </a:lnTo>
                    <a:lnTo>
                      <a:pt x="473" y="815"/>
                    </a:lnTo>
                    <a:lnTo>
                      <a:pt x="473" y="813"/>
                    </a:lnTo>
                    <a:lnTo>
                      <a:pt x="473" y="815"/>
                    </a:lnTo>
                    <a:lnTo>
                      <a:pt x="473" y="815"/>
                    </a:lnTo>
                    <a:lnTo>
                      <a:pt x="470" y="813"/>
                    </a:lnTo>
                    <a:lnTo>
                      <a:pt x="470" y="813"/>
                    </a:lnTo>
                    <a:lnTo>
                      <a:pt x="470" y="813"/>
                    </a:lnTo>
                    <a:lnTo>
                      <a:pt x="468" y="813"/>
                    </a:lnTo>
                    <a:lnTo>
                      <a:pt x="468" y="811"/>
                    </a:lnTo>
                    <a:lnTo>
                      <a:pt x="468" y="808"/>
                    </a:lnTo>
                    <a:lnTo>
                      <a:pt x="468" y="808"/>
                    </a:lnTo>
                    <a:lnTo>
                      <a:pt x="466" y="808"/>
                    </a:lnTo>
                    <a:lnTo>
                      <a:pt x="463" y="806"/>
                    </a:lnTo>
                    <a:lnTo>
                      <a:pt x="463" y="806"/>
                    </a:lnTo>
                    <a:lnTo>
                      <a:pt x="459" y="806"/>
                    </a:lnTo>
                    <a:lnTo>
                      <a:pt x="459" y="806"/>
                    </a:lnTo>
                    <a:lnTo>
                      <a:pt x="456" y="806"/>
                    </a:lnTo>
                    <a:lnTo>
                      <a:pt x="456" y="804"/>
                    </a:lnTo>
                    <a:lnTo>
                      <a:pt x="456" y="804"/>
                    </a:lnTo>
                    <a:lnTo>
                      <a:pt x="454" y="806"/>
                    </a:lnTo>
                    <a:lnTo>
                      <a:pt x="454" y="806"/>
                    </a:lnTo>
                    <a:lnTo>
                      <a:pt x="451" y="804"/>
                    </a:lnTo>
                    <a:lnTo>
                      <a:pt x="451" y="806"/>
                    </a:lnTo>
                    <a:lnTo>
                      <a:pt x="449" y="806"/>
                    </a:lnTo>
                    <a:lnTo>
                      <a:pt x="449" y="806"/>
                    </a:lnTo>
                    <a:lnTo>
                      <a:pt x="449" y="804"/>
                    </a:lnTo>
                    <a:lnTo>
                      <a:pt x="447" y="804"/>
                    </a:lnTo>
                    <a:lnTo>
                      <a:pt x="447" y="804"/>
                    </a:lnTo>
                    <a:lnTo>
                      <a:pt x="447" y="804"/>
                    </a:lnTo>
                    <a:lnTo>
                      <a:pt x="444" y="804"/>
                    </a:lnTo>
                    <a:lnTo>
                      <a:pt x="444" y="801"/>
                    </a:lnTo>
                    <a:lnTo>
                      <a:pt x="440" y="801"/>
                    </a:lnTo>
                    <a:lnTo>
                      <a:pt x="437" y="801"/>
                    </a:lnTo>
                    <a:lnTo>
                      <a:pt x="437" y="801"/>
                    </a:lnTo>
                    <a:lnTo>
                      <a:pt x="435" y="801"/>
                    </a:lnTo>
                    <a:lnTo>
                      <a:pt x="435" y="801"/>
                    </a:lnTo>
                    <a:lnTo>
                      <a:pt x="435" y="801"/>
                    </a:lnTo>
                    <a:lnTo>
                      <a:pt x="430" y="801"/>
                    </a:lnTo>
                    <a:lnTo>
                      <a:pt x="430" y="801"/>
                    </a:lnTo>
                    <a:lnTo>
                      <a:pt x="423" y="801"/>
                    </a:lnTo>
                    <a:lnTo>
                      <a:pt x="423" y="804"/>
                    </a:lnTo>
                    <a:lnTo>
                      <a:pt x="423" y="804"/>
                    </a:lnTo>
                    <a:lnTo>
                      <a:pt x="421" y="804"/>
                    </a:lnTo>
                    <a:lnTo>
                      <a:pt x="421" y="804"/>
                    </a:lnTo>
                    <a:lnTo>
                      <a:pt x="418" y="804"/>
                    </a:lnTo>
                    <a:lnTo>
                      <a:pt x="418" y="804"/>
                    </a:lnTo>
                    <a:lnTo>
                      <a:pt x="418" y="804"/>
                    </a:lnTo>
                    <a:lnTo>
                      <a:pt x="416" y="806"/>
                    </a:lnTo>
                    <a:lnTo>
                      <a:pt x="414" y="806"/>
                    </a:lnTo>
                    <a:lnTo>
                      <a:pt x="414" y="806"/>
                    </a:lnTo>
                    <a:lnTo>
                      <a:pt x="409" y="808"/>
                    </a:lnTo>
                    <a:lnTo>
                      <a:pt x="407" y="811"/>
                    </a:lnTo>
                    <a:lnTo>
                      <a:pt x="407" y="808"/>
                    </a:lnTo>
                    <a:lnTo>
                      <a:pt x="404" y="811"/>
                    </a:lnTo>
                    <a:lnTo>
                      <a:pt x="404" y="811"/>
                    </a:lnTo>
                    <a:lnTo>
                      <a:pt x="404" y="811"/>
                    </a:lnTo>
                    <a:lnTo>
                      <a:pt x="404" y="811"/>
                    </a:lnTo>
                    <a:lnTo>
                      <a:pt x="402" y="811"/>
                    </a:lnTo>
                    <a:lnTo>
                      <a:pt x="402" y="813"/>
                    </a:lnTo>
                    <a:lnTo>
                      <a:pt x="402" y="813"/>
                    </a:lnTo>
                    <a:lnTo>
                      <a:pt x="402" y="815"/>
                    </a:lnTo>
                    <a:lnTo>
                      <a:pt x="400" y="815"/>
                    </a:lnTo>
                    <a:lnTo>
                      <a:pt x="400" y="815"/>
                    </a:lnTo>
                    <a:lnTo>
                      <a:pt x="400" y="818"/>
                    </a:lnTo>
                    <a:lnTo>
                      <a:pt x="400" y="818"/>
                    </a:lnTo>
                    <a:lnTo>
                      <a:pt x="400" y="818"/>
                    </a:lnTo>
                    <a:lnTo>
                      <a:pt x="400" y="818"/>
                    </a:lnTo>
                    <a:lnTo>
                      <a:pt x="397" y="818"/>
                    </a:lnTo>
                    <a:lnTo>
                      <a:pt x="397" y="820"/>
                    </a:lnTo>
                    <a:lnTo>
                      <a:pt x="395" y="820"/>
                    </a:lnTo>
                    <a:lnTo>
                      <a:pt x="395" y="820"/>
                    </a:lnTo>
                    <a:lnTo>
                      <a:pt x="395" y="820"/>
                    </a:lnTo>
                    <a:lnTo>
                      <a:pt x="392" y="823"/>
                    </a:lnTo>
                    <a:lnTo>
                      <a:pt x="392" y="823"/>
                    </a:lnTo>
                    <a:lnTo>
                      <a:pt x="392" y="820"/>
                    </a:lnTo>
                    <a:lnTo>
                      <a:pt x="392" y="818"/>
                    </a:lnTo>
                    <a:lnTo>
                      <a:pt x="392" y="818"/>
                    </a:lnTo>
                    <a:lnTo>
                      <a:pt x="392" y="818"/>
                    </a:lnTo>
                    <a:lnTo>
                      <a:pt x="388" y="815"/>
                    </a:lnTo>
                    <a:lnTo>
                      <a:pt x="385" y="813"/>
                    </a:lnTo>
                    <a:lnTo>
                      <a:pt x="385" y="813"/>
                    </a:lnTo>
                    <a:lnTo>
                      <a:pt x="383" y="813"/>
                    </a:lnTo>
                    <a:lnTo>
                      <a:pt x="383" y="813"/>
                    </a:lnTo>
                    <a:lnTo>
                      <a:pt x="381" y="813"/>
                    </a:lnTo>
                    <a:lnTo>
                      <a:pt x="376" y="813"/>
                    </a:lnTo>
                    <a:lnTo>
                      <a:pt x="376" y="811"/>
                    </a:lnTo>
                    <a:lnTo>
                      <a:pt x="374" y="811"/>
                    </a:lnTo>
                    <a:lnTo>
                      <a:pt x="374" y="811"/>
                    </a:lnTo>
                    <a:lnTo>
                      <a:pt x="374" y="811"/>
                    </a:lnTo>
                    <a:lnTo>
                      <a:pt x="374" y="811"/>
                    </a:lnTo>
                    <a:lnTo>
                      <a:pt x="371" y="811"/>
                    </a:lnTo>
                    <a:lnTo>
                      <a:pt x="371" y="811"/>
                    </a:lnTo>
                    <a:lnTo>
                      <a:pt x="369" y="811"/>
                    </a:lnTo>
                    <a:lnTo>
                      <a:pt x="369" y="811"/>
                    </a:lnTo>
                    <a:lnTo>
                      <a:pt x="369" y="808"/>
                    </a:lnTo>
                    <a:lnTo>
                      <a:pt x="369" y="808"/>
                    </a:lnTo>
                    <a:lnTo>
                      <a:pt x="369" y="806"/>
                    </a:lnTo>
                    <a:lnTo>
                      <a:pt x="366" y="806"/>
                    </a:lnTo>
                    <a:lnTo>
                      <a:pt x="364" y="806"/>
                    </a:lnTo>
                    <a:lnTo>
                      <a:pt x="364" y="806"/>
                    </a:lnTo>
                    <a:lnTo>
                      <a:pt x="362" y="806"/>
                    </a:lnTo>
                    <a:lnTo>
                      <a:pt x="362" y="806"/>
                    </a:lnTo>
                    <a:lnTo>
                      <a:pt x="362" y="804"/>
                    </a:lnTo>
                    <a:lnTo>
                      <a:pt x="357" y="804"/>
                    </a:lnTo>
                    <a:lnTo>
                      <a:pt x="352" y="804"/>
                    </a:lnTo>
                    <a:lnTo>
                      <a:pt x="352" y="804"/>
                    </a:lnTo>
                    <a:lnTo>
                      <a:pt x="350" y="801"/>
                    </a:lnTo>
                    <a:lnTo>
                      <a:pt x="350" y="801"/>
                    </a:lnTo>
                    <a:lnTo>
                      <a:pt x="350" y="801"/>
                    </a:lnTo>
                    <a:lnTo>
                      <a:pt x="348" y="801"/>
                    </a:lnTo>
                    <a:lnTo>
                      <a:pt x="348" y="801"/>
                    </a:lnTo>
                    <a:lnTo>
                      <a:pt x="348" y="801"/>
                    </a:lnTo>
                    <a:lnTo>
                      <a:pt x="348" y="799"/>
                    </a:lnTo>
                    <a:lnTo>
                      <a:pt x="348" y="799"/>
                    </a:lnTo>
                    <a:lnTo>
                      <a:pt x="348" y="799"/>
                    </a:lnTo>
                    <a:lnTo>
                      <a:pt x="348" y="799"/>
                    </a:lnTo>
                    <a:lnTo>
                      <a:pt x="350" y="799"/>
                    </a:lnTo>
                    <a:lnTo>
                      <a:pt x="348" y="797"/>
                    </a:lnTo>
                    <a:lnTo>
                      <a:pt x="350" y="797"/>
                    </a:lnTo>
                    <a:lnTo>
                      <a:pt x="350" y="794"/>
                    </a:lnTo>
                    <a:lnTo>
                      <a:pt x="348" y="794"/>
                    </a:lnTo>
                    <a:lnTo>
                      <a:pt x="348" y="792"/>
                    </a:lnTo>
                    <a:lnTo>
                      <a:pt x="348" y="794"/>
                    </a:lnTo>
                    <a:lnTo>
                      <a:pt x="348" y="792"/>
                    </a:lnTo>
                    <a:lnTo>
                      <a:pt x="348" y="792"/>
                    </a:lnTo>
                    <a:lnTo>
                      <a:pt x="348" y="789"/>
                    </a:lnTo>
                    <a:lnTo>
                      <a:pt x="348" y="787"/>
                    </a:lnTo>
                    <a:lnTo>
                      <a:pt x="350" y="782"/>
                    </a:lnTo>
                    <a:lnTo>
                      <a:pt x="352" y="775"/>
                    </a:lnTo>
                    <a:lnTo>
                      <a:pt x="355" y="775"/>
                    </a:lnTo>
                    <a:lnTo>
                      <a:pt x="355" y="771"/>
                    </a:lnTo>
                    <a:lnTo>
                      <a:pt x="357" y="766"/>
                    </a:lnTo>
                    <a:lnTo>
                      <a:pt x="357" y="763"/>
                    </a:lnTo>
                    <a:lnTo>
                      <a:pt x="357" y="763"/>
                    </a:lnTo>
                    <a:lnTo>
                      <a:pt x="362" y="759"/>
                    </a:lnTo>
                    <a:lnTo>
                      <a:pt x="359" y="759"/>
                    </a:lnTo>
                    <a:lnTo>
                      <a:pt x="357" y="759"/>
                    </a:lnTo>
                    <a:lnTo>
                      <a:pt x="357" y="756"/>
                    </a:lnTo>
                    <a:lnTo>
                      <a:pt x="357" y="759"/>
                    </a:lnTo>
                    <a:lnTo>
                      <a:pt x="357" y="756"/>
                    </a:lnTo>
                    <a:lnTo>
                      <a:pt x="355" y="756"/>
                    </a:lnTo>
                    <a:lnTo>
                      <a:pt x="357" y="756"/>
                    </a:lnTo>
                    <a:lnTo>
                      <a:pt x="355" y="756"/>
                    </a:lnTo>
                    <a:lnTo>
                      <a:pt x="355" y="756"/>
                    </a:lnTo>
                    <a:lnTo>
                      <a:pt x="352" y="756"/>
                    </a:lnTo>
                    <a:lnTo>
                      <a:pt x="352" y="756"/>
                    </a:lnTo>
                    <a:lnTo>
                      <a:pt x="352" y="756"/>
                    </a:lnTo>
                    <a:lnTo>
                      <a:pt x="352" y="756"/>
                    </a:lnTo>
                    <a:lnTo>
                      <a:pt x="352" y="756"/>
                    </a:lnTo>
                    <a:lnTo>
                      <a:pt x="352" y="756"/>
                    </a:lnTo>
                    <a:lnTo>
                      <a:pt x="350" y="756"/>
                    </a:lnTo>
                    <a:lnTo>
                      <a:pt x="350" y="756"/>
                    </a:lnTo>
                    <a:lnTo>
                      <a:pt x="350" y="756"/>
                    </a:lnTo>
                    <a:lnTo>
                      <a:pt x="348" y="756"/>
                    </a:lnTo>
                    <a:lnTo>
                      <a:pt x="348" y="756"/>
                    </a:lnTo>
                    <a:lnTo>
                      <a:pt x="348" y="754"/>
                    </a:lnTo>
                    <a:lnTo>
                      <a:pt x="348" y="754"/>
                    </a:lnTo>
                    <a:lnTo>
                      <a:pt x="345" y="754"/>
                    </a:lnTo>
                    <a:lnTo>
                      <a:pt x="345" y="754"/>
                    </a:lnTo>
                    <a:lnTo>
                      <a:pt x="345" y="754"/>
                    </a:lnTo>
                    <a:lnTo>
                      <a:pt x="345" y="754"/>
                    </a:lnTo>
                    <a:lnTo>
                      <a:pt x="345" y="754"/>
                    </a:lnTo>
                    <a:lnTo>
                      <a:pt x="343" y="754"/>
                    </a:lnTo>
                    <a:lnTo>
                      <a:pt x="343" y="754"/>
                    </a:lnTo>
                    <a:lnTo>
                      <a:pt x="343" y="754"/>
                    </a:lnTo>
                    <a:lnTo>
                      <a:pt x="340" y="754"/>
                    </a:lnTo>
                    <a:lnTo>
                      <a:pt x="340" y="754"/>
                    </a:lnTo>
                    <a:lnTo>
                      <a:pt x="340" y="752"/>
                    </a:lnTo>
                    <a:lnTo>
                      <a:pt x="338" y="752"/>
                    </a:lnTo>
                    <a:lnTo>
                      <a:pt x="338" y="754"/>
                    </a:lnTo>
                    <a:lnTo>
                      <a:pt x="338" y="752"/>
                    </a:lnTo>
                    <a:lnTo>
                      <a:pt x="338" y="752"/>
                    </a:lnTo>
                    <a:lnTo>
                      <a:pt x="338" y="752"/>
                    </a:lnTo>
                    <a:lnTo>
                      <a:pt x="336" y="752"/>
                    </a:lnTo>
                    <a:lnTo>
                      <a:pt x="336" y="752"/>
                    </a:lnTo>
                    <a:lnTo>
                      <a:pt x="336" y="752"/>
                    </a:lnTo>
                    <a:lnTo>
                      <a:pt x="333" y="749"/>
                    </a:lnTo>
                    <a:lnTo>
                      <a:pt x="336" y="749"/>
                    </a:lnTo>
                    <a:lnTo>
                      <a:pt x="331" y="749"/>
                    </a:lnTo>
                    <a:lnTo>
                      <a:pt x="331" y="749"/>
                    </a:lnTo>
                    <a:lnTo>
                      <a:pt x="331" y="752"/>
                    </a:lnTo>
                    <a:lnTo>
                      <a:pt x="329" y="752"/>
                    </a:lnTo>
                    <a:lnTo>
                      <a:pt x="329" y="752"/>
                    </a:lnTo>
                    <a:lnTo>
                      <a:pt x="329" y="752"/>
                    </a:lnTo>
                    <a:lnTo>
                      <a:pt x="329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24" y="752"/>
                    </a:lnTo>
                    <a:lnTo>
                      <a:pt x="324" y="752"/>
                    </a:lnTo>
                    <a:lnTo>
                      <a:pt x="324" y="752"/>
                    </a:lnTo>
                    <a:lnTo>
                      <a:pt x="324" y="749"/>
                    </a:lnTo>
                    <a:lnTo>
                      <a:pt x="322" y="749"/>
                    </a:lnTo>
                    <a:lnTo>
                      <a:pt x="322" y="752"/>
                    </a:lnTo>
                    <a:lnTo>
                      <a:pt x="322" y="752"/>
                    </a:lnTo>
                    <a:lnTo>
                      <a:pt x="322" y="749"/>
                    </a:lnTo>
                    <a:lnTo>
                      <a:pt x="322" y="752"/>
                    </a:lnTo>
                    <a:lnTo>
                      <a:pt x="319" y="752"/>
                    </a:lnTo>
                    <a:lnTo>
                      <a:pt x="319" y="749"/>
                    </a:lnTo>
                    <a:lnTo>
                      <a:pt x="319" y="749"/>
                    </a:lnTo>
                    <a:lnTo>
                      <a:pt x="319" y="749"/>
                    </a:lnTo>
                    <a:lnTo>
                      <a:pt x="317" y="752"/>
                    </a:lnTo>
                    <a:lnTo>
                      <a:pt x="317" y="752"/>
                    </a:lnTo>
                    <a:lnTo>
                      <a:pt x="314" y="752"/>
                    </a:lnTo>
                    <a:lnTo>
                      <a:pt x="317" y="752"/>
                    </a:lnTo>
                    <a:lnTo>
                      <a:pt x="317" y="749"/>
                    </a:lnTo>
                    <a:lnTo>
                      <a:pt x="312" y="749"/>
                    </a:lnTo>
                    <a:lnTo>
                      <a:pt x="312" y="749"/>
                    </a:lnTo>
                    <a:lnTo>
                      <a:pt x="312" y="749"/>
                    </a:lnTo>
                    <a:lnTo>
                      <a:pt x="310" y="749"/>
                    </a:lnTo>
                    <a:lnTo>
                      <a:pt x="307" y="749"/>
                    </a:lnTo>
                    <a:lnTo>
                      <a:pt x="307" y="747"/>
                    </a:lnTo>
                    <a:lnTo>
                      <a:pt x="307" y="747"/>
                    </a:lnTo>
                    <a:lnTo>
                      <a:pt x="307" y="747"/>
                    </a:lnTo>
                    <a:lnTo>
                      <a:pt x="305" y="745"/>
                    </a:lnTo>
                    <a:lnTo>
                      <a:pt x="305" y="747"/>
                    </a:lnTo>
                    <a:lnTo>
                      <a:pt x="305" y="747"/>
                    </a:lnTo>
                    <a:lnTo>
                      <a:pt x="303" y="747"/>
                    </a:lnTo>
                    <a:lnTo>
                      <a:pt x="303" y="747"/>
                    </a:lnTo>
                    <a:lnTo>
                      <a:pt x="303" y="749"/>
                    </a:lnTo>
                    <a:lnTo>
                      <a:pt x="303" y="747"/>
                    </a:lnTo>
                    <a:lnTo>
                      <a:pt x="300" y="749"/>
                    </a:lnTo>
                    <a:lnTo>
                      <a:pt x="303" y="749"/>
                    </a:lnTo>
                    <a:lnTo>
                      <a:pt x="303" y="749"/>
                    </a:lnTo>
                    <a:lnTo>
                      <a:pt x="300" y="747"/>
                    </a:lnTo>
                    <a:lnTo>
                      <a:pt x="298" y="747"/>
                    </a:lnTo>
                    <a:lnTo>
                      <a:pt x="298" y="747"/>
                    </a:lnTo>
                    <a:lnTo>
                      <a:pt x="298" y="747"/>
                    </a:lnTo>
                    <a:lnTo>
                      <a:pt x="296" y="747"/>
                    </a:lnTo>
                    <a:lnTo>
                      <a:pt x="296" y="749"/>
                    </a:lnTo>
                    <a:lnTo>
                      <a:pt x="293" y="747"/>
                    </a:lnTo>
                    <a:lnTo>
                      <a:pt x="291" y="747"/>
                    </a:lnTo>
                    <a:lnTo>
                      <a:pt x="291" y="749"/>
                    </a:lnTo>
                    <a:lnTo>
                      <a:pt x="288" y="749"/>
                    </a:lnTo>
                    <a:lnTo>
                      <a:pt x="288" y="749"/>
                    </a:lnTo>
                    <a:lnTo>
                      <a:pt x="288" y="749"/>
                    </a:lnTo>
                    <a:lnTo>
                      <a:pt x="288" y="749"/>
                    </a:lnTo>
                    <a:lnTo>
                      <a:pt x="286" y="749"/>
                    </a:lnTo>
                    <a:lnTo>
                      <a:pt x="286" y="752"/>
                    </a:lnTo>
                    <a:lnTo>
                      <a:pt x="284" y="749"/>
                    </a:lnTo>
                    <a:lnTo>
                      <a:pt x="284" y="752"/>
                    </a:lnTo>
                    <a:lnTo>
                      <a:pt x="284" y="752"/>
                    </a:lnTo>
                    <a:lnTo>
                      <a:pt x="284" y="752"/>
                    </a:lnTo>
                    <a:lnTo>
                      <a:pt x="284" y="752"/>
                    </a:lnTo>
                    <a:lnTo>
                      <a:pt x="281" y="752"/>
                    </a:lnTo>
                    <a:lnTo>
                      <a:pt x="281" y="752"/>
                    </a:lnTo>
                    <a:lnTo>
                      <a:pt x="279" y="752"/>
                    </a:lnTo>
                    <a:lnTo>
                      <a:pt x="277" y="754"/>
                    </a:lnTo>
                    <a:lnTo>
                      <a:pt x="274" y="756"/>
                    </a:lnTo>
                    <a:lnTo>
                      <a:pt x="274" y="756"/>
                    </a:lnTo>
                    <a:lnTo>
                      <a:pt x="274" y="756"/>
                    </a:lnTo>
                    <a:lnTo>
                      <a:pt x="274" y="756"/>
                    </a:lnTo>
                    <a:lnTo>
                      <a:pt x="272" y="756"/>
                    </a:lnTo>
                    <a:lnTo>
                      <a:pt x="272" y="756"/>
                    </a:lnTo>
                    <a:lnTo>
                      <a:pt x="272" y="759"/>
                    </a:lnTo>
                    <a:lnTo>
                      <a:pt x="270" y="759"/>
                    </a:lnTo>
                    <a:lnTo>
                      <a:pt x="270" y="756"/>
                    </a:lnTo>
                    <a:lnTo>
                      <a:pt x="270" y="759"/>
                    </a:lnTo>
                    <a:lnTo>
                      <a:pt x="270" y="756"/>
                    </a:lnTo>
                    <a:lnTo>
                      <a:pt x="267" y="759"/>
                    </a:lnTo>
                    <a:lnTo>
                      <a:pt x="265" y="759"/>
                    </a:lnTo>
                    <a:lnTo>
                      <a:pt x="265" y="759"/>
                    </a:lnTo>
                    <a:lnTo>
                      <a:pt x="265" y="759"/>
                    </a:lnTo>
                    <a:lnTo>
                      <a:pt x="263" y="759"/>
                    </a:lnTo>
                    <a:lnTo>
                      <a:pt x="263" y="759"/>
                    </a:lnTo>
                    <a:lnTo>
                      <a:pt x="263" y="759"/>
                    </a:lnTo>
                    <a:lnTo>
                      <a:pt x="263" y="761"/>
                    </a:lnTo>
                    <a:lnTo>
                      <a:pt x="260" y="761"/>
                    </a:lnTo>
                    <a:lnTo>
                      <a:pt x="260" y="761"/>
                    </a:lnTo>
                    <a:lnTo>
                      <a:pt x="260" y="761"/>
                    </a:lnTo>
                    <a:lnTo>
                      <a:pt x="260" y="761"/>
                    </a:lnTo>
                    <a:lnTo>
                      <a:pt x="258" y="761"/>
                    </a:lnTo>
                    <a:lnTo>
                      <a:pt x="258" y="763"/>
                    </a:lnTo>
                    <a:lnTo>
                      <a:pt x="255" y="763"/>
                    </a:lnTo>
                    <a:lnTo>
                      <a:pt x="255" y="763"/>
                    </a:lnTo>
                    <a:lnTo>
                      <a:pt x="255" y="763"/>
                    </a:lnTo>
                    <a:lnTo>
                      <a:pt x="253" y="763"/>
                    </a:lnTo>
                    <a:lnTo>
                      <a:pt x="253" y="766"/>
                    </a:lnTo>
                    <a:lnTo>
                      <a:pt x="253" y="766"/>
                    </a:lnTo>
                    <a:lnTo>
                      <a:pt x="251" y="766"/>
                    </a:lnTo>
                    <a:lnTo>
                      <a:pt x="253" y="766"/>
                    </a:lnTo>
                    <a:lnTo>
                      <a:pt x="251" y="768"/>
                    </a:lnTo>
                    <a:lnTo>
                      <a:pt x="251" y="766"/>
                    </a:lnTo>
                    <a:lnTo>
                      <a:pt x="248" y="766"/>
                    </a:lnTo>
                    <a:lnTo>
                      <a:pt x="248" y="768"/>
                    </a:lnTo>
                    <a:lnTo>
                      <a:pt x="248" y="768"/>
                    </a:lnTo>
                    <a:lnTo>
                      <a:pt x="248" y="771"/>
                    </a:lnTo>
                    <a:lnTo>
                      <a:pt x="248" y="768"/>
                    </a:lnTo>
                    <a:lnTo>
                      <a:pt x="248" y="771"/>
                    </a:lnTo>
                    <a:lnTo>
                      <a:pt x="246" y="768"/>
                    </a:lnTo>
                    <a:lnTo>
                      <a:pt x="246" y="771"/>
                    </a:lnTo>
                    <a:lnTo>
                      <a:pt x="246" y="771"/>
                    </a:lnTo>
                    <a:lnTo>
                      <a:pt x="246" y="771"/>
                    </a:lnTo>
                    <a:lnTo>
                      <a:pt x="244" y="771"/>
                    </a:lnTo>
                    <a:lnTo>
                      <a:pt x="244" y="773"/>
                    </a:lnTo>
                    <a:lnTo>
                      <a:pt x="244" y="773"/>
                    </a:lnTo>
                    <a:lnTo>
                      <a:pt x="244" y="773"/>
                    </a:lnTo>
                    <a:lnTo>
                      <a:pt x="244" y="773"/>
                    </a:lnTo>
                    <a:lnTo>
                      <a:pt x="241" y="775"/>
                    </a:lnTo>
                    <a:lnTo>
                      <a:pt x="241" y="773"/>
                    </a:lnTo>
                    <a:lnTo>
                      <a:pt x="241" y="775"/>
                    </a:lnTo>
                    <a:lnTo>
                      <a:pt x="239" y="775"/>
                    </a:lnTo>
                    <a:lnTo>
                      <a:pt x="239" y="775"/>
                    </a:lnTo>
                    <a:lnTo>
                      <a:pt x="239" y="778"/>
                    </a:lnTo>
                    <a:lnTo>
                      <a:pt x="237" y="778"/>
                    </a:lnTo>
                    <a:lnTo>
                      <a:pt x="237" y="778"/>
                    </a:lnTo>
                    <a:lnTo>
                      <a:pt x="237" y="778"/>
                    </a:lnTo>
                    <a:lnTo>
                      <a:pt x="237" y="778"/>
                    </a:lnTo>
                    <a:lnTo>
                      <a:pt x="234" y="778"/>
                    </a:lnTo>
                    <a:lnTo>
                      <a:pt x="234" y="778"/>
                    </a:lnTo>
                    <a:lnTo>
                      <a:pt x="232" y="778"/>
                    </a:lnTo>
                    <a:lnTo>
                      <a:pt x="232" y="780"/>
                    </a:lnTo>
                    <a:lnTo>
                      <a:pt x="232" y="780"/>
                    </a:lnTo>
                    <a:lnTo>
                      <a:pt x="229" y="780"/>
                    </a:lnTo>
                    <a:lnTo>
                      <a:pt x="229" y="780"/>
                    </a:lnTo>
                    <a:lnTo>
                      <a:pt x="229" y="780"/>
                    </a:lnTo>
                    <a:lnTo>
                      <a:pt x="227" y="780"/>
                    </a:lnTo>
                    <a:lnTo>
                      <a:pt x="227" y="780"/>
                    </a:lnTo>
                    <a:lnTo>
                      <a:pt x="229" y="782"/>
                    </a:lnTo>
                    <a:lnTo>
                      <a:pt x="227" y="782"/>
                    </a:lnTo>
                    <a:lnTo>
                      <a:pt x="227" y="782"/>
                    </a:lnTo>
                    <a:lnTo>
                      <a:pt x="227" y="785"/>
                    </a:lnTo>
                    <a:lnTo>
                      <a:pt x="227" y="785"/>
                    </a:lnTo>
                    <a:lnTo>
                      <a:pt x="227" y="785"/>
                    </a:lnTo>
                    <a:lnTo>
                      <a:pt x="229" y="785"/>
                    </a:lnTo>
                    <a:lnTo>
                      <a:pt x="227" y="785"/>
                    </a:lnTo>
                    <a:lnTo>
                      <a:pt x="227" y="785"/>
                    </a:lnTo>
                    <a:lnTo>
                      <a:pt x="225" y="787"/>
                    </a:lnTo>
                    <a:lnTo>
                      <a:pt x="225" y="787"/>
                    </a:lnTo>
                    <a:lnTo>
                      <a:pt x="225" y="789"/>
                    </a:lnTo>
                    <a:lnTo>
                      <a:pt x="225" y="787"/>
                    </a:lnTo>
                    <a:lnTo>
                      <a:pt x="225" y="789"/>
                    </a:lnTo>
                    <a:lnTo>
                      <a:pt x="225" y="789"/>
                    </a:lnTo>
                    <a:lnTo>
                      <a:pt x="225" y="789"/>
                    </a:lnTo>
                    <a:lnTo>
                      <a:pt x="227" y="789"/>
                    </a:lnTo>
                    <a:lnTo>
                      <a:pt x="227" y="792"/>
                    </a:lnTo>
                    <a:lnTo>
                      <a:pt x="225" y="792"/>
                    </a:lnTo>
                    <a:lnTo>
                      <a:pt x="225" y="792"/>
                    </a:lnTo>
                    <a:lnTo>
                      <a:pt x="225" y="792"/>
                    </a:lnTo>
                    <a:lnTo>
                      <a:pt x="222" y="794"/>
                    </a:lnTo>
                    <a:lnTo>
                      <a:pt x="222" y="792"/>
                    </a:lnTo>
                    <a:lnTo>
                      <a:pt x="222" y="794"/>
                    </a:lnTo>
                    <a:lnTo>
                      <a:pt x="220" y="794"/>
                    </a:lnTo>
                    <a:lnTo>
                      <a:pt x="220" y="794"/>
                    </a:lnTo>
                    <a:lnTo>
                      <a:pt x="218" y="794"/>
                    </a:lnTo>
                    <a:lnTo>
                      <a:pt x="218" y="794"/>
                    </a:lnTo>
                    <a:lnTo>
                      <a:pt x="218" y="794"/>
                    </a:lnTo>
                    <a:lnTo>
                      <a:pt x="218" y="797"/>
                    </a:lnTo>
                    <a:lnTo>
                      <a:pt x="215" y="797"/>
                    </a:lnTo>
                    <a:lnTo>
                      <a:pt x="213" y="797"/>
                    </a:lnTo>
                    <a:lnTo>
                      <a:pt x="213" y="797"/>
                    </a:lnTo>
                    <a:lnTo>
                      <a:pt x="213" y="797"/>
                    </a:lnTo>
                    <a:lnTo>
                      <a:pt x="211" y="799"/>
                    </a:lnTo>
                    <a:lnTo>
                      <a:pt x="211" y="797"/>
                    </a:lnTo>
                    <a:lnTo>
                      <a:pt x="208" y="799"/>
                    </a:lnTo>
                    <a:lnTo>
                      <a:pt x="211" y="801"/>
                    </a:lnTo>
                    <a:lnTo>
                      <a:pt x="208" y="801"/>
                    </a:lnTo>
                    <a:lnTo>
                      <a:pt x="208" y="801"/>
                    </a:lnTo>
                    <a:lnTo>
                      <a:pt x="208" y="801"/>
                    </a:lnTo>
                    <a:lnTo>
                      <a:pt x="206" y="801"/>
                    </a:lnTo>
                    <a:lnTo>
                      <a:pt x="206" y="801"/>
                    </a:lnTo>
                    <a:lnTo>
                      <a:pt x="201" y="804"/>
                    </a:lnTo>
                    <a:lnTo>
                      <a:pt x="201" y="806"/>
                    </a:lnTo>
                    <a:lnTo>
                      <a:pt x="201" y="806"/>
                    </a:lnTo>
                    <a:lnTo>
                      <a:pt x="201" y="806"/>
                    </a:lnTo>
                    <a:lnTo>
                      <a:pt x="199" y="806"/>
                    </a:lnTo>
                    <a:lnTo>
                      <a:pt x="199" y="811"/>
                    </a:lnTo>
                    <a:lnTo>
                      <a:pt x="196" y="813"/>
                    </a:lnTo>
                    <a:lnTo>
                      <a:pt x="196" y="813"/>
                    </a:lnTo>
                    <a:lnTo>
                      <a:pt x="194" y="813"/>
                    </a:lnTo>
                    <a:lnTo>
                      <a:pt x="187" y="813"/>
                    </a:lnTo>
                    <a:lnTo>
                      <a:pt x="185" y="811"/>
                    </a:lnTo>
                    <a:lnTo>
                      <a:pt x="187" y="811"/>
                    </a:lnTo>
                    <a:lnTo>
                      <a:pt x="185" y="811"/>
                    </a:lnTo>
                    <a:lnTo>
                      <a:pt x="185" y="813"/>
                    </a:lnTo>
                    <a:lnTo>
                      <a:pt x="182" y="813"/>
                    </a:lnTo>
                    <a:lnTo>
                      <a:pt x="182" y="813"/>
                    </a:lnTo>
                    <a:lnTo>
                      <a:pt x="182" y="813"/>
                    </a:lnTo>
                    <a:lnTo>
                      <a:pt x="180" y="813"/>
                    </a:lnTo>
                    <a:lnTo>
                      <a:pt x="180" y="813"/>
                    </a:lnTo>
                    <a:lnTo>
                      <a:pt x="177" y="815"/>
                    </a:lnTo>
                    <a:lnTo>
                      <a:pt x="177" y="815"/>
                    </a:lnTo>
                    <a:lnTo>
                      <a:pt x="175" y="818"/>
                    </a:lnTo>
                    <a:lnTo>
                      <a:pt x="175" y="818"/>
                    </a:lnTo>
                    <a:lnTo>
                      <a:pt x="173" y="818"/>
                    </a:lnTo>
                    <a:lnTo>
                      <a:pt x="173" y="820"/>
                    </a:lnTo>
                    <a:lnTo>
                      <a:pt x="173" y="820"/>
                    </a:lnTo>
                    <a:lnTo>
                      <a:pt x="170" y="820"/>
                    </a:lnTo>
                    <a:lnTo>
                      <a:pt x="170" y="823"/>
                    </a:lnTo>
                    <a:lnTo>
                      <a:pt x="170" y="823"/>
                    </a:lnTo>
                    <a:lnTo>
                      <a:pt x="170" y="823"/>
                    </a:lnTo>
                    <a:lnTo>
                      <a:pt x="168" y="823"/>
                    </a:lnTo>
                    <a:lnTo>
                      <a:pt x="168" y="823"/>
                    </a:lnTo>
                    <a:lnTo>
                      <a:pt x="168" y="825"/>
                    </a:lnTo>
                    <a:lnTo>
                      <a:pt x="166" y="825"/>
                    </a:lnTo>
                    <a:lnTo>
                      <a:pt x="166" y="823"/>
                    </a:lnTo>
                    <a:lnTo>
                      <a:pt x="166" y="825"/>
                    </a:lnTo>
                    <a:lnTo>
                      <a:pt x="166" y="827"/>
                    </a:lnTo>
                    <a:lnTo>
                      <a:pt x="166" y="825"/>
                    </a:lnTo>
                    <a:lnTo>
                      <a:pt x="163" y="827"/>
                    </a:lnTo>
                    <a:lnTo>
                      <a:pt x="161" y="827"/>
                    </a:lnTo>
                    <a:lnTo>
                      <a:pt x="161" y="830"/>
                    </a:lnTo>
                    <a:lnTo>
                      <a:pt x="161" y="830"/>
                    </a:lnTo>
                    <a:lnTo>
                      <a:pt x="161" y="830"/>
                    </a:lnTo>
                    <a:lnTo>
                      <a:pt x="161" y="830"/>
                    </a:lnTo>
                    <a:lnTo>
                      <a:pt x="161" y="830"/>
                    </a:lnTo>
                    <a:lnTo>
                      <a:pt x="159" y="830"/>
                    </a:lnTo>
                    <a:lnTo>
                      <a:pt x="159" y="832"/>
                    </a:lnTo>
                    <a:lnTo>
                      <a:pt x="159" y="832"/>
                    </a:lnTo>
                    <a:lnTo>
                      <a:pt x="159" y="832"/>
                    </a:lnTo>
                    <a:lnTo>
                      <a:pt x="156" y="834"/>
                    </a:lnTo>
                    <a:lnTo>
                      <a:pt x="154" y="837"/>
                    </a:lnTo>
                    <a:lnTo>
                      <a:pt x="151" y="837"/>
                    </a:lnTo>
                    <a:lnTo>
                      <a:pt x="151" y="834"/>
                    </a:lnTo>
                    <a:lnTo>
                      <a:pt x="151" y="834"/>
                    </a:lnTo>
                    <a:lnTo>
                      <a:pt x="151" y="837"/>
                    </a:lnTo>
                    <a:lnTo>
                      <a:pt x="149" y="839"/>
                    </a:lnTo>
                    <a:lnTo>
                      <a:pt x="149" y="839"/>
                    </a:lnTo>
                    <a:lnTo>
                      <a:pt x="149" y="839"/>
                    </a:lnTo>
                    <a:lnTo>
                      <a:pt x="149" y="839"/>
                    </a:lnTo>
                    <a:lnTo>
                      <a:pt x="147" y="839"/>
                    </a:lnTo>
                    <a:lnTo>
                      <a:pt x="147" y="839"/>
                    </a:lnTo>
                    <a:lnTo>
                      <a:pt x="147" y="839"/>
                    </a:lnTo>
                    <a:lnTo>
                      <a:pt x="144" y="841"/>
                    </a:lnTo>
                    <a:lnTo>
                      <a:pt x="142" y="839"/>
                    </a:lnTo>
                    <a:lnTo>
                      <a:pt x="142" y="839"/>
                    </a:lnTo>
                    <a:lnTo>
                      <a:pt x="140" y="839"/>
                    </a:lnTo>
                    <a:lnTo>
                      <a:pt x="137" y="839"/>
                    </a:lnTo>
                    <a:lnTo>
                      <a:pt x="137" y="839"/>
                    </a:lnTo>
                    <a:lnTo>
                      <a:pt x="137" y="839"/>
                    </a:lnTo>
                    <a:lnTo>
                      <a:pt x="135" y="839"/>
                    </a:lnTo>
                    <a:lnTo>
                      <a:pt x="135" y="839"/>
                    </a:lnTo>
                    <a:lnTo>
                      <a:pt x="135" y="839"/>
                    </a:lnTo>
                    <a:lnTo>
                      <a:pt x="133" y="841"/>
                    </a:lnTo>
                    <a:lnTo>
                      <a:pt x="133" y="844"/>
                    </a:lnTo>
                    <a:lnTo>
                      <a:pt x="130" y="841"/>
                    </a:lnTo>
                    <a:lnTo>
                      <a:pt x="130" y="844"/>
                    </a:lnTo>
                    <a:lnTo>
                      <a:pt x="130" y="844"/>
                    </a:lnTo>
                    <a:lnTo>
                      <a:pt x="130" y="844"/>
                    </a:lnTo>
                    <a:lnTo>
                      <a:pt x="128" y="844"/>
                    </a:lnTo>
                    <a:lnTo>
                      <a:pt x="128" y="849"/>
                    </a:lnTo>
                    <a:lnTo>
                      <a:pt x="128" y="849"/>
                    </a:lnTo>
                    <a:lnTo>
                      <a:pt x="125" y="849"/>
                    </a:lnTo>
                    <a:lnTo>
                      <a:pt x="125" y="849"/>
                    </a:lnTo>
                    <a:lnTo>
                      <a:pt x="125" y="849"/>
                    </a:lnTo>
                    <a:lnTo>
                      <a:pt x="123" y="851"/>
                    </a:lnTo>
                    <a:lnTo>
                      <a:pt x="123" y="849"/>
                    </a:lnTo>
                    <a:lnTo>
                      <a:pt x="123" y="849"/>
                    </a:lnTo>
                    <a:lnTo>
                      <a:pt x="123" y="851"/>
                    </a:lnTo>
                    <a:lnTo>
                      <a:pt x="123" y="851"/>
                    </a:lnTo>
                    <a:lnTo>
                      <a:pt x="123" y="853"/>
                    </a:lnTo>
                    <a:lnTo>
                      <a:pt x="121" y="856"/>
                    </a:lnTo>
                    <a:lnTo>
                      <a:pt x="121" y="858"/>
                    </a:lnTo>
                    <a:lnTo>
                      <a:pt x="118" y="858"/>
                    </a:lnTo>
                    <a:lnTo>
                      <a:pt x="118" y="858"/>
                    </a:lnTo>
                    <a:lnTo>
                      <a:pt x="118" y="858"/>
                    </a:lnTo>
                    <a:lnTo>
                      <a:pt x="118" y="858"/>
                    </a:lnTo>
                    <a:lnTo>
                      <a:pt x="116" y="858"/>
                    </a:lnTo>
                    <a:lnTo>
                      <a:pt x="116" y="858"/>
                    </a:lnTo>
                    <a:lnTo>
                      <a:pt x="116" y="858"/>
                    </a:lnTo>
                    <a:lnTo>
                      <a:pt x="116" y="858"/>
                    </a:lnTo>
                    <a:lnTo>
                      <a:pt x="116" y="860"/>
                    </a:lnTo>
                    <a:lnTo>
                      <a:pt x="114" y="860"/>
                    </a:lnTo>
                    <a:lnTo>
                      <a:pt x="114" y="860"/>
                    </a:lnTo>
                    <a:lnTo>
                      <a:pt x="114" y="860"/>
                    </a:lnTo>
                    <a:lnTo>
                      <a:pt x="114" y="860"/>
                    </a:lnTo>
                    <a:lnTo>
                      <a:pt x="114" y="860"/>
                    </a:lnTo>
                    <a:lnTo>
                      <a:pt x="114" y="860"/>
                    </a:lnTo>
                    <a:lnTo>
                      <a:pt x="111" y="860"/>
                    </a:lnTo>
                    <a:lnTo>
                      <a:pt x="109" y="860"/>
                    </a:lnTo>
                    <a:lnTo>
                      <a:pt x="109" y="860"/>
                    </a:lnTo>
                    <a:lnTo>
                      <a:pt x="107" y="860"/>
                    </a:lnTo>
                    <a:lnTo>
                      <a:pt x="104" y="860"/>
                    </a:lnTo>
                    <a:lnTo>
                      <a:pt x="104" y="860"/>
                    </a:lnTo>
                    <a:lnTo>
                      <a:pt x="102" y="860"/>
                    </a:lnTo>
                    <a:lnTo>
                      <a:pt x="102" y="860"/>
                    </a:lnTo>
                    <a:lnTo>
                      <a:pt x="102" y="863"/>
                    </a:lnTo>
                    <a:lnTo>
                      <a:pt x="100" y="863"/>
                    </a:lnTo>
                    <a:lnTo>
                      <a:pt x="100" y="863"/>
                    </a:lnTo>
                    <a:lnTo>
                      <a:pt x="100" y="863"/>
                    </a:lnTo>
                    <a:lnTo>
                      <a:pt x="100" y="865"/>
                    </a:lnTo>
                    <a:lnTo>
                      <a:pt x="97" y="865"/>
                    </a:lnTo>
                    <a:lnTo>
                      <a:pt x="97" y="865"/>
                    </a:lnTo>
                    <a:lnTo>
                      <a:pt x="97" y="865"/>
                    </a:lnTo>
                    <a:lnTo>
                      <a:pt x="95" y="867"/>
                    </a:lnTo>
                    <a:lnTo>
                      <a:pt x="90" y="863"/>
                    </a:lnTo>
                    <a:lnTo>
                      <a:pt x="85" y="863"/>
                    </a:lnTo>
                    <a:lnTo>
                      <a:pt x="83" y="865"/>
                    </a:lnTo>
                    <a:lnTo>
                      <a:pt x="83" y="867"/>
                    </a:lnTo>
                    <a:lnTo>
                      <a:pt x="81" y="867"/>
                    </a:lnTo>
                    <a:lnTo>
                      <a:pt x="83" y="870"/>
                    </a:lnTo>
                    <a:lnTo>
                      <a:pt x="81" y="872"/>
                    </a:lnTo>
                    <a:lnTo>
                      <a:pt x="81" y="872"/>
                    </a:lnTo>
                    <a:lnTo>
                      <a:pt x="78" y="872"/>
                    </a:lnTo>
                    <a:lnTo>
                      <a:pt x="78" y="872"/>
                    </a:lnTo>
                    <a:lnTo>
                      <a:pt x="76" y="872"/>
                    </a:lnTo>
                    <a:lnTo>
                      <a:pt x="76" y="872"/>
                    </a:lnTo>
                    <a:lnTo>
                      <a:pt x="76" y="872"/>
                    </a:lnTo>
                    <a:lnTo>
                      <a:pt x="74" y="874"/>
                    </a:lnTo>
                    <a:lnTo>
                      <a:pt x="74" y="877"/>
                    </a:lnTo>
                    <a:lnTo>
                      <a:pt x="74" y="877"/>
                    </a:lnTo>
                    <a:lnTo>
                      <a:pt x="74" y="877"/>
                    </a:lnTo>
                    <a:lnTo>
                      <a:pt x="71" y="879"/>
                    </a:lnTo>
                    <a:lnTo>
                      <a:pt x="74" y="879"/>
                    </a:lnTo>
                    <a:lnTo>
                      <a:pt x="69" y="879"/>
                    </a:lnTo>
                    <a:lnTo>
                      <a:pt x="69" y="879"/>
                    </a:lnTo>
                    <a:lnTo>
                      <a:pt x="69" y="877"/>
                    </a:lnTo>
                    <a:lnTo>
                      <a:pt x="69" y="879"/>
                    </a:lnTo>
                    <a:lnTo>
                      <a:pt x="66" y="877"/>
                    </a:lnTo>
                    <a:lnTo>
                      <a:pt x="66" y="874"/>
                    </a:lnTo>
                    <a:lnTo>
                      <a:pt x="64" y="872"/>
                    </a:lnTo>
                    <a:lnTo>
                      <a:pt x="64" y="870"/>
                    </a:lnTo>
                    <a:lnTo>
                      <a:pt x="66" y="870"/>
                    </a:lnTo>
                    <a:lnTo>
                      <a:pt x="69" y="870"/>
                    </a:lnTo>
                    <a:lnTo>
                      <a:pt x="69" y="870"/>
                    </a:lnTo>
                    <a:lnTo>
                      <a:pt x="69" y="870"/>
                    </a:lnTo>
                    <a:lnTo>
                      <a:pt x="71" y="870"/>
                    </a:lnTo>
                    <a:lnTo>
                      <a:pt x="74" y="867"/>
                    </a:lnTo>
                    <a:lnTo>
                      <a:pt x="74" y="867"/>
                    </a:lnTo>
                    <a:lnTo>
                      <a:pt x="74" y="867"/>
                    </a:lnTo>
                    <a:lnTo>
                      <a:pt x="74" y="865"/>
                    </a:lnTo>
                    <a:lnTo>
                      <a:pt x="74" y="863"/>
                    </a:lnTo>
                    <a:lnTo>
                      <a:pt x="74" y="863"/>
                    </a:lnTo>
                    <a:lnTo>
                      <a:pt x="74" y="860"/>
                    </a:lnTo>
                    <a:lnTo>
                      <a:pt x="76" y="860"/>
                    </a:lnTo>
                    <a:lnTo>
                      <a:pt x="76" y="858"/>
                    </a:lnTo>
                    <a:lnTo>
                      <a:pt x="78" y="858"/>
                    </a:lnTo>
                    <a:lnTo>
                      <a:pt x="78" y="856"/>
                    </a:lnTo>
                    <a:lnTo>
                      <a:pt x="78" y="856"/>
                    </a:lnTo>
                    <a:lnTo>
                      <a:pt x="83" y="851"/>
                    </a:lnTo>
                    <a:lnTo>
                      <a:pt x="83" y="846"/>
                    </a:lnTo>
                    <a:lnTo>
                      <a:pt x="83" y="846"/>
                    </a:lnTo>
                    <a:lnTo>
                      <a:pt x="83" y="844"/>
                    </a:lnTo>
                    <a:lnTo>
                      <a:pt x="83" y="841"/>
                    </a:lnTo>
                    <a:lnTo>
                      <a:pt x="83" y="839"/>
                    </a:lnTo>
                    <a:lnTo>
                      <a:pt x="81" y="839"/>
                    </a:lnTo>
                    <a:lnTo>
                      <a:pt x="81" y="837"/>
                    </a:lnTo>
                    <a:lnTo>
                      <a:pt x="78" y="837"/>
                    </a:lnTo>
                    <a:lnTo>
                      <a:pt x="78" y="832"/>
                    </a:lnTo>
                    <a:lnTo>
                      <a:pt x="76" y="830"/>
                    </a:lnTo>
                    <a:lnTo>
                      <a:pt x="74" y="830"/>
                    </a:lnTo>
                    <a:lnTo>
                      <a:pt x="74" y="830"/>
                    </a:lnTo>
                    <a:lnTo>
                      <a:pt x="76" y="827"/>
                    </a:lnTo>
                    <a:lnTo>
                      <a:pt x="74" y="825"/>
                    </a:lnTo>
                    <a:lnTo>
                      <a:pt x="74" y="825"/>
                    </a:lnTo>
                    <a:lnTo>
                      <a:pt x="74" y="823"/>
                    </a:lnTo>
                    <a:lnTo>
                      <a:pt x="74" y="823"/>
                    </a:lnTo>
                    <a:lnTo>
                      <a:pt x="76" y="823"/>
                    </a:lnTo>
                    <a:lnTo>
                      <a:pt x="76" y="820"/>
                    </a:lnTo>
                    <a:lnTo>
                      <a:pt x="78" y="820"/>
                    </a:lnTo>
                    <a:lnTo>
                      <a:pt x="78" y="820"/>
                    </a:lnTo>
                    <a:lnTo>
                      <a:pt x="78" y="815"/>
                    </a:lnTo>
                    <a:lnTo>
                      <a:pt x="78" y="815"/>
                    </a:lnTo>
                    <a:lnTo>
                      <a:pt x="78" y="815"/>
                    </a:lnTo>
                    <a:lnTo>
                      <a:pt x="78" y="813"/>
                    </a:lnTo>
                    <a:lnTo>
                      <a:pt x="78" y="811"/>
                    </a:lnTo>
                    <a:lnTo>
                      <a:pt x="78" y="811"/>
                    </a:lnTo>
                    <a:lnTo>
                      <a:pt x="78" y="808"/>
                    </a:lnTo>
                    <a:lnTo>
                      <a:pt x="78" y="806"/>
                    </a:lnTo>
                    <a:lnTo>
                      <a:pt x="78" y="806"/>
                    </a:lnTo>
                    <a:lnTo>
                      <a:pt x="76" y="806"/>
                    </a:lnTo>
                    <a:lnTo>
                      <a:pt x="76" y="804"/>
                    </a:lnTo>
                    <a:lnTo>
                      <a:pt x="76" y="804"/>
                    </a:lnTo>
                    <a:lnTo>
                      <a:pt x="76" y="804"/>
                    </a:lnTo>
                    <a:lnTo>
                      <a:pt x="76" y="801"/>
                    </a:lnTo>
                    <a:lnTo>
                      <a:pt x="78" y="801"/>
                    </a:lnTo>
                    <a:lnTo>
                      <a:pt x="78" y="801"/>
                    </a:lnTo>
                    <a:lnTo>
                      <a:pt x="78" y="801"/>
                    </a:lnTo>
                    <a:lnTo>
                      <a:pt x="78" y="801"/>
                    </a:lnTo>
                    <a:lnTo>
                      <a:pt x="81" y="801"/>
                    </a:lnTo>
                    <a:lnTo>
                      <a:pt x="81" y="799"/>
                    </a:lnTo>
                    <a:lnTo>
                      <a:pt x="81" y="799"/>
                    </a:lnTo>
                    <a:lnTo>
                      <a:pt x="81" y="797"/>
                    </a:lnTo>
                    <a:lnTo>
                      <a:pt x="81" y="797"/>
                    </a:lnTo>
                    <a:lnTo>
                      <a:pt x="78" y="794"/>
                    </a:lnTo>
                    <a:lnTo>
                      <a:pt x="81" y="792"/>
                    </a:lnTo>
                    <a:lnTo>
                      <a:pt x="81" y="789"/>
                    </a:lnTo>
                    <a:lnTo>
                      <a:pt x="81" y="789"/>
                    </a:lnTo>
                    <a:lnTo>
                      <a:pt x="81" y="789"/>
                    </a:lnTo>
                    <a:lnTo>
                      <a:pt x="81" y="789"/>
                    </a:lnTo>
                    <a:lnTo>
                      <a:pt x="81" y="787"/>
                    </a:lnTo>
                    <a:lnTo>
                      <a:pt x="81" y="787"/>
                    </a:lnTo>
                    <a:lnTo>
                      <a:pt x="81" y="787"/>
                    </a:lnTo>
                    <a:lnTo>
                      <a:pt x="81" y="785"/>
                    </a:lnTo>
                    <a:lnTo>
                      <a:pt x="81" y="787"/>
                    </a:lnTo>
                    <a:lnTo>
                      <a:pt x="83" y="785"/>
                    </a:lnTo>
                    <a:lnTo>
                      <a:pt x="81" y="785"/>
                    </a:lnTo>
                    <a:lnTo>
                      <a:pt x="81" y="782"/>
                    </a:lnTo>
                    <a:lnTo>
                      <a:pt x="78" y="782"/>
                    </a:lnTo>
                    <a:lnTo>
                      <a:pt x="81" y="780"/>
                    </a:lnTo>
                    <a:lnTo>
                      <a:pt x="78" y="780"/>
                    </a:lnTo>
                    <a:lnTo>
                      <a:pt x="81" y="780"/>
                    </a:lnTo>
                    <a:lnTo>
                      <a:pt x="81" y="780"/>
                    </a:lnTo>
                    <a:lnTo>
                      <a:pt x="81" y="778"/>
                    </a:lnTo>
                    <a:lnTo>
                      <a:pt x="78" y="778"/>
                    </a:lnTo>
                    <a:lnTo>
                      <a:pt x="78" y="775"/>
                    </a:lnTo>
                    <a:lnTo>
                      <a:pt x="78" y="775"/>
                    </a:lnTo>
                    <a:lnTo>
                      <a:pt x="78" y="773"/>
                    </a:lnTo>
                    <a:lnTo>
                      <a:pt x="78" y="771"/>
                    </a:lnTo>
                    <a:lnTo>
                      <a:pt x="78" y="771"/>
                    </a:lnTo>
                    <a:lnTo>
                      <a:pt x="78" y="771"/>
                    </a:lnTo>
                    <a:lnTo>
                      <a:pt x="78" y="771"/>
                    </a:lnTo>
                    <a:lnTo>
                      <a:pt x="78" y="768"/>
                    </a:lnTo>
                    <a:lnTo>
                      <a:pt x="78" y="768"/>
                    </a:lnTo>
                    <a:lnTo>
                      <a:pt x="81" y="771"/>
                    </a:lnTo>
                    <a:lnTo>
                      <a:pt x="83" y="771"/>
                    </a:lnTo>
                    <a:lnTo>
                      <a:pt x="83" y="771"/>
                    </a:lnTo>
                    <a:lnTo>
                      <a:pt x="83" y="771"/>
                    </a:lnTo>
                    <a:lnTo>
                      <a:pt x="85" y="768"/>
                    </a:lnTo>
                    <a:lnTo>
                      <a:pt x="88" y="768"/>
                    </a:lnTo>
                    <a:lnTo>
                      <a:pt x="88" y="768"/>
                    </a:lnTo>
                    <a:lnTo>
                      <a:pt x="88" y="766"/>
                    </a:lnTo>
                    <a:lnTo>
                      <a:pt x="90" y="766"/>
                    </a:lnTo>
                    <a:lnTo>
                      <a:pt x="90" y="763"/>
                    </a:lnTo>
                    <a:lnTo>
                      <a:pt x="90" y="763"/>
                    </a:lnTo>
                    <a:lnTo>
                      <a:pt x="90" y="761"/>
                    </a:lnTo>
                    <a:lnTo>
                      <a:pt x="90" y="761"/>
                    </a:lnTo>
                    <a:lnTo>
                      <a:pt x="88" y="761"/>
                    </a:lnTo>
                    <a:lnTo>
                      <a:pt x="88" y="759"/>
                    </a:lnTo>
                    <a:lnTo>
                      <a:pt x="85" y="759"/>
                    </a:lnTo>
                    <a:lnTo>
                      <a:pt x="85" y="756"/>
                    </a:lnTo>
                    <a:lnTo>
                      <a:pt x="83" y="752"/>
                    </a:lnTo>
                    <a:lnTo>
                      <a:pt x="83" y="752"/>
                    </a:lnTo>
                    <a:lnTo>
                      <a:pt x="81" y="752"/>
                    </a:lnTo>
                    <a:lnTo>
                      <a:pt x="81" y="749"/>
                    </a:lnTo>
                    <a:lnTo>
                      <a:pt x="81" y="749"/>
                    </a:lnTo>
                    <a:lnTo>
                      <a:pt x="78" y="749"/>
                    </a:lnTo>
                    <a:lnTo>
                      <a:pt x="78" y="749"/>
                    </a:lnTo>
                    <a:lnTo>
                      <a:pt x="76" y="749"/>
                    </a:lnTo>
                    <a:lnTo>
                      <a:pt x="76" y="749"/>
                    </a:lnTo>
                    <a:lnTo>
                      <a:pt x="76" y="747"/>
                    </a:lnTo>
                    <a:lnTo>
                      <a:pt x="74" y="747"/>
                    </a:lnTo>
                    <a:lnTo>
                      <a:pt x="71" y="745"/>
                    </a:lnTo>
                    <a:lnTo>
                      <a:pt x="74" y="742"/>
                    </a:lnTo>
                    <a:lnTo>
                      <a:pt x="71" y="740"/>
                    </a:lnTo>
                    <a:lnTo>
                      <a:pt x="69" y="740"/>
                    </a:lnTo>
                    <a:lnTo>
                      <a:pt x="69" y="742"/>
                    </a:lnTo>
                    <a:lnTo>
                      <a:pt x="66" y="742"/>
                    </a:lnTo>
                    <a:lnTo>
                      <a:pt x="66" y="740"/>
                    </a:lnTo>
                    <a:lnTo>
                      <a:pt x="64" y="740"/>
                    </a:lnTo>
                    <a:lnTo>
                      <a:pt x="64" y="737"/>
                    </a:lnTo>
                    <a:lnTo>
                      <a:pt x="64" y="735"/>
                    </a:lnTo>
                    <a:lnTo>
                      <a:pt x="62" y="735"/>
                    </a:lnTo>
                    <a:lnTo>
                      <a:pt x="59" y="735"/>
                    </a:lnTo>
                    <a:lnTo>
                      <a:pt x="55" y="735"/>
                    </a:lnTo>
                    <a:lnTo>
                      <a:pt x="55" y="733"/>
                    </a:lnTo>
                    <a:lnTo>
                      <a:pt x="55" y="730"/>
                    </a:lnTo>
                    <a:lnTo>
                      <a:pt x="55" y="730"/>
                    </a:lnTo>
                    <a:lnTo>
                      <a:pt x="52" y="730"/>
                    </a:lnTo>
                    <a:lnTo>
                      <a:pt x="50" y="728"/>
                    </a:lnTo>
                    <a:lnTo>
                      <a:pt x="48" y="728"/>
                    </a:lnTo>
                    <a:lnTo>
                      <a:pt x="45" y="728"/>
                    </a:lnTo>
                    <a:lnTo>
                      <a:pt x="48" y="726"/>
                    </a:lnTo>
                    <a:lnTo>
                      <a:pt x="48" y="728"/>
                    </a:lnTo>
                    <a:lnTo>
                      <a:pt x="50" y="728"/>
                    </a:lnTo>
                    <a:lnTo>
                      <a:pt x="50" y="723"/>
                    </a:lnTo>
                    <a:lnTo>
                      <a:pt x="50" y="723"/>
                    </a:lnTo>
                    <a:lnTo>
                      <a:pt x="50" y="723"/>
                    </a:lnTo>
                    <a:lnTo>
                      <a:pt x="48" y="723"/>
                    </a:lnTo>
                    <a:lnTo>
                      <a:pt x="50" y="721"/>
                    </a:lnTo>
                    <a:lnTo>
                      <a:pt x="52" y="719"/>
                    </a:lnTo>
                    <a:lnTo>
                      <a:pt x="52" y="716"/>
                    </a:lnTo>
                    <a:lnTo>
                      <a:pt x="52" y="714"/>
                    </a:lnTo>
                    <a:lnTo>
                      <a:pt x="52" y="711"/>
                    </a:lnTo>
                    <a:lnTo>
                      <a:pt x="52" y="711"/>
                    </a:lnTo>
                    <a:lnTo>
                      <a:pt x="50" y="711"/>
                    </a:lnTo>
                    <a:lnTo>
                      <a:pt x="45" y="709"/>
                    </a:lnTo>
                    <a:lnTo>
                      <a:pt x="45" y="704"/>
                    </a:lnTo>
                    <a:lnTo>
                      <a:pt x="45" y="702"/>
                    </a:lnTo>
                    <a:lnTo>
                      <a:pt x="50" y="695"/>
                    </a:lnTo>
                    <a:lnTo>
                      <a:pt x="50" y="695"/>
                    </a:lnTo>
                    <a:lnTo>
                      <a:pt x="50" y="695"/>
                    </a:lnTo>
                    <a:lnTo>
                      <a:pt x="48" y="693"/>
                    </a:lnTo>
                    <a:lnTo>
                      <a:pt x="45" y="693"/>
                    </a:lnTo>
                    <a:lnTo>
                      <a:pt x="45" y="693"/>
                    </a:lnTo>
                    <a:lnTo>
                      <a:pt x="45" y="690"/>
                    </a:lnTo>
                    <a:lnTo>
                      <a:pt x="43" y="688"/>
                    </a:lnTo>
                    <a:lnTo>
                      <a:pt x="45" y="688"/>
                    </a:lnTo>
                    <a:lnTo>
                      <a:pt x="50" y="686"/>
                    </a:lnTo>
                    <a:lnTo>
                      <a:pt x="52" y="686"/>
                    </a:lnTo>
                    <a:lnTo>
                      <a:pt x="50" y="681"/>
                    </a:lnTo>
                    <a:lnTo>
                      <a:pt x="48" y="683"/>
                    </a:lnTo>
                    <a:lnTo>
                      <a:pt x="45" y="681"/>
                    </a:lnTo>
                    <a:lnTo>
                      <a:pt x="45" y="681"/>
                    </a:lnTo>
                    <a:lnTo>
                      <a:pt x="50" y="678"/>
                    </a:lnTo>
                    <a:lnTo>
                      <a:pt x="50" y="678"/>
                    </a:lnTo>
                    <a:lnTo>
                      <a:pt x="50" y="676"/>
                    </a:lnTo>
                    <a:lnTo>
                      <a:pt x="50" y="676"/>
                    </a:lnTo>
                    <a:lnTo>
                      <a:pt x="48" y="676"/>
                    </a:lnTo>
                    <a:lnTo>
                      <a:pt x="45" y="674"/>
                    </a:lnTo>
                    <a:lnTo>
                      <a:pt x="48" y="674"/>
                    </a:lnTo>
                    <a:lnTo>
                      <a:pt x="50" y="669"/>
                    </a:lnTo>
                    <a:lnTo>
                      <a:pt x="50" y="669"/>
                    </a:lnTo>
                    <a:lnTo>
                      <a:pt x="52" y="669"/>
                    </a:lnTo>
                    <a:lnTo>
                      <a:pt x="52" y="667"/>
                    </a:lnTo>
                    <a:lnTo>
                      <a:pt x="55" y="664"/>
                    </a:lnTo>
                    <a:lnTo>
                      <a:pt x="59" y="662"/>
                    </a:lnTo>
                    <a:lnTo>
                      <a:pt x="59" y="660"/>
                    </a:lnTo>
                    <a:lnTo>
                      <a:pt x="55" y="657"/>
                    </a:lnTo>
                    <a:lnTo>
                      <a:pt x="52" y="660"/>
                    </a:lnTo>
                    <a:lnTo>
                      <a:pt x="52" y="657"/>
                    </a:lnTo>
                    <a:lnTo>
                      <a:pt x="50" y="660"/>
                    </a:lnTo>
                    <a:lnTo>
                      <a:pt x="50" y="657"/>
                    </a:lnTo>
                    <a:lnTo>
                      <a:pt x="50" y="657"/>
                    </a:lnTo>
                    <a:lnTo>
                      <a:pt x="50" y="655"/>
                    </a:lnTo>
                    <a:lnTo>
                      <a:pt x="50" y="652"/>
                    </a:lnTo>
                    <a:lnTo>
                      <a:pt x="50" y="650"/>
                    </a:lnTo>
                    <a:lnTo>
                      <a:pt x="52" y="650"/>
                    </a:lnTo>
                    <a:lnTo>
                      <a:pt x="52" y="648"/>
                    </a:lnTo>
                    <a:lnTo>
                      <a:pt x="50" y="648"/>
                    </a:lnTo>
                    <a:lnTo>
                      <a:pt x="50" y="648"/>
                    </a:lnTo>
                    <a:lnTo>
                      <a:pt x="52" y="645"/>
                    </a:lnTo>
                    <a:lnTo>
                      <a:pt x="52" y="645"/>
                    </a:lnTo>
                    <a:lnTo>
                      <a:pt x="52" y="643"/>
                    </a:lnTo>
                    <a:lnTo>
                      <a:pt x="50" y="641"/>
                    </a:lnTo>
                    <a:lnTo>
                      <a:pt x="50" y="641"/>
                    </a:lnTo>
                    <a:lnTo>
                      <a:pt x="50" y="641"/>
                    </a:lnTo>
                    <a:lnTo>
                      <a:pt x="50" y="641"/>
                    </a:lnTo>
                    <a:lnTo>
                      <a:pt x="52" y="638"/>
                    </a:lnTo>
                    <a:lnTo>
                      <a:pt x="52" y="636"/>
                    </a:lnTo>
                    <a:lnTo>
                      <a:pt x="55" y="636"/>
                    </a:lnTo>
                    <a:lnTo>
                      <a:pt x="57" y="636"/>
                    </a:lnTo>
                    <a:lnTo>
                      <a:pt x="59" y="634"/>
                    </a:lnTo>
                    <a:lnTo>
                      <a:pt x="62" y="634"/>
                    </a:lnTo>
                    <a:lnTo>
                      <a:pt x="64" y="631"/>
                    </a:lnTo>
                    <a:lnTo>
                      <a:pt x="64" y="631"/>
                    </a:lnTo>
                    <a:lnTo>
                      <a:pt x="66" y="629"/>
                    </a:lnTo>
                    <a:lnTo>
                      <a:pt x="69" y="626"/>
                    </a:lnTo>
                    <a:lnTo>
                      <a:pt x="74" y="624"/>
                    </a:lnTo>
                    <a:lnTo>
                      <a:pt x="74" y="622"/>
                    </a:lnTo>
                    <a:lnTo>
                      <a:pt x="74" y="619"/>
                    </a:lnTo>
                    <a:lnTo>
                      <a:pt x="74" y="619"/>
                    </a:lnTo>
                    <a:lnTo>
                      <a:pt x="71" y="619"/>
                    </a:lnTo>
                    <a:lnTo>
                      <a:pt x="66" y="619"/>
                    </a:lnTo>
                    <a:lnTo>
                      <a:pt x="64" y="622"/>
                    </a:lnTo>
                    <a:lnTo>
                      <a:pt x="64" y="622"/>
                    </a:lnTo>
                    <a:lnTo>
                      <a:pt x="62" y="622"/>
                    </a:lnTo>
                    <a:lnTo>
                      <a:pt x="57" y="626"/>
                    </a:lnTo>
                    <a:lnTo>
                      <a:pt x="52" y="626"/>
                    </a:lnTo>
                    <a:lnTo>
                      <a:pt x="52" y="626"/>
                    </a:lnTo>
                    <a:lnTo>
                      <a:pt x="50" y="629"/>
                    </a:lnTo>
                    <a:lnTo>
                      <a:pt x="45" y="629"/>
                    </a:lnTo>
                    <a:lnTo>
                      <a:pt x="45" y="629"/>
                    </a:lnTo>
                    <a:lnTo>
                      <a:pt x="43" y="629"/>
                    </a:lnTo>
                    <a:lnTo>
                      <a:pt x="43" y="626"/>
                    </a:lnTo>
                    <a:lnTo>
                      <a:pt x="43" y="626"/>
                    </a:lnTo>
                    <a:lnTo>
                      <a:pt x="43" y="626"/>
                    </a:lnTo>
                    <a:lnTo>
                      <a:pt x="40" y="624"/>
                    </a:lnTo>
                    <a:lnTo>
                      <a:pt x="40" y="622"/>
                    </a:lnTo>
                    <a:lnTo>
                      <a:pt x="40" y="619"/>
                    </a:lnTo>
                    <a:lnTo>
                      <a:pt x="40" y="617"/>
                    </a:lnTo>
                    <a:lnTo>
                      <a:pt x="38" y="617"/>
                    </a:lnTo>
                    <a:lnTo>
                      <a:pt x="38" y="617"/>
                    </a:lnTo>
                    <a:lnTo>
                      <a:pt x="38" y="615"/>
                    </a:lnTo>
                    <a:lnTo>
                      <a:pt x="40" y="612"/>
                    </a:lnTo>
                    <a:lnTo>
                      <a:pt x="40" y="612"/>
                    </a:lnTo>
                    <a:lnTo>
                      <a:pt x="40" y="610"/>
                    </a:lnTo>
                    <a:lnTo>
                      <a:pt x="40" y="610"/>
                    </a:lnTo>
                    <a:lnTo>
                      <a:pt x="40" y="608"/>
                    </a:lnTo>
                    <a:lnTo>
                      <a:pt x="40" y="608"/>
                    </a:lnTo>
                    <a:lnTo>
                      <a:pt x="40" y="608"/>
                    </a:lnTo>
                    <a:lnTo>
                      <a:pt x="40" y="605"/>
                    </a:lnTo>
                    <a:lnTo>
                      <a:pt x="40" y="605"/>
                    </a:lnTo>
                    <a:lnTo>
                      <a:pt x="43" y="603"/>
                    </a:lnTo>
                    <a:lnTo>
                      <a:pt x="43" y="600"/>
                    </a:lnTo>
                    <a:lnTo>
                      <a:pt x="40" y="600"/>
                    </a:lnTo>
                    <a:lnTo>
                      <a:pt x="40" y="600"/>
                    </a:lnTo>
                    <a:lnTo>
                      <a:pt x="40" y="598"/>
                    </a:lnTo>
                    <a:lnTo>
                      <a:pt x="38" y="596"/>
                    </a:lnTo>
                    <a:lnTo>
                      <a:pt x="40" y="593"/>
                    </a:lnTo>
                    <a:lnTo>
                      <a:pt x="43" y="593"/>
                    </a:lnTo>
                    <a:lnTo>
                      <a:pt x="43" y="591"/>
                    </a:lnTo>
                    <a:lnTo>
                      <a:pt x="43" y="591"/>
                    </a:lnTo>
                    <a:lnTo>
                      <a:pt x="43" y="589"/>
                    </a:lnTo>
                    <a:lnTo>
                      <a:pt x="43" y="589"/>
                    </a:lnTo>
                    <a:lnTo>
                      <a:pt x="45" y="586"/>
                    </a:lnTo>
                    <a:lnTo>
                      <a:pt x="45" y="586"/>
                    </a:lnTo>
                    <a:lnTo>
                      <a:pt x="48" y="584"/>
                    </a:lnTo>
                    <a:lnTo>
                      <a:pt x="48" y="584"/>
                    </a:lnTo>
                    <a:lnTo>
                      <a:pt x="50" y="584"/>
                    </a:lnTo>
                    <a:lnTo>
                      <a:pt x="50" y="584"/>
                    </a:lnTo>
                    <a:lnTo>
                      <a:pt x="52" y="584"/>
                    </a:lnTo>
                    <a:lnTo>
                      <a:pt x="52" y="584"/>
                    </a:lnTo>
                    <a:lnTo>
                      <a:pt x="52" y="584"/>
                    </a:lnTo>
                    <a:lnTo>
                      <a:pt x="55" y="584"/>
                    </a:lnTo>
                    <a:lnTo>
                      <a:pt x="55" y="584"/>
                    </a:lnTo>
                    <a:lnTo>
                      <a:pt x="57" y="582"/>
                    </a:lnTo>
                    <a:lnTo>
                      <a:pt x="59" y="582"/>
                    </a:lnTo>
                    <a:lnTo>
                      <a:pt x="59" y="582"/>
                    </a:lnTo>
                    <a:lnTo>
                      <a:pt x="62" y="579"/>
                    </a:lnTo>
                    <a:lnTo>
                      <a:pt x="64" y="579"/>
                    </a:lnTo>
                    <a:lnTo>
                      <a:pt x="64" y="574"/>
                    </a:lnTo>
                    <a:lnTo>
                      <a:pt x="64" y="574"/>
                    </a:lnTo>
                    <a:lnTo>
                      <a:pt x="64" y="572"/>
                    </a:lnTo>
                    <a:lnTo>
                      <a:pt x="62" y="572"/>
                    </a:lnTo>
                    <a:lnTo>
                      <a:pt x="55" y="574"/>
                    </a:lnTo>
                    <a:lnTo>
                      <a:pt x="55" y="574"/>
                    </a:lnTo>
                    <a:lnTo>
                      <a:pt x="52" y="577"/>
                    </a:lnTo>
                    <a:lnTo>
                      <a:pt x="45" y="574"/>
                    </a:lnTo>
                    <a:lnTo>
                      <a:pt x="45" y="574"/>
                    </a:lnTo>
                    <a:lnTo>
                      <a:pt x="43" y="577"/>
                    </a:lnTo>
                    <a:lnTo>
                      <a:pt x="40" y="577"/>
                    </a:lnTo>
                    <a:lnTo>
                      <a:pt x="43" y="574"/>
                    </a:lnTo>
                    <a:lnTo>
                      <a:pt x="43" y="572"/>
                    </a:lnTo>
                    <a:lnTo>
                      <a:pt x="43" y="570"/>
                    </a:lnTo>
                    <a:lnTo>
                      <a:pt x="43" y="567"/>
                    </a:lnTo>
                    <a:lnTo>
                      <a:pt x="43" y="565"/>
                    </a:lnTo>
                    <a:lnTo>
                      <a:pt x="45" y="565"/>
                    </a:lnTo>
                    <a:lnTo>
                      <a:pt x="45" y="563"/>
                    </a:lnTo>
                    <a:lnTo>
                      <a:pt x="45" y="560"/>
                    </a:lnTo>
                    <a:lnTo>
                      <a:pt x="45" y="560"/>
                    </a:lnTo>
                    <a:lnTo>
                      <a:pt x="43" y="558"/>
                    </a:lnTo>
                    <a:lnTo>
                      <a:pt x="43" y="558"/>
                    </a:lnTo>
                    <a:lnTo>
                      <a:pt x="43" y="556"/>
                    </a:lnTo>
                    <a:lnTo>
                      <a:pt x="45" y="556"/>
                    </a:lnTo>
                    <a:lnTo>
                      <a:pt x="45" y="553"/>
                    </a:lnTo>
                    <a:lnTo>
                      <a:pt x="43" y="551"/>
                    </a:lnTo>
                    <a:lnTo>
                      <a:pt x="45" y="551"/>
                    </a:lnTo>
                    <a:lnTo>
                      <a:pt x="45" y="546"/>
                    </a:lnTo>
                    <a:lnTo>
                      <a:pt x="45" y="546"/>
                    </a:lnTo>
                    <a:lnTo>
                      <a:pt x="43" y="546"/>
                    </a:lnTo>
                    <a:lnTo>
                      <a:pt x="43" y="544"/>
                    </a:lnTo>
                    <a:lnTo>
                      <a:pt x="43" y="544"/>
                    </a:lnTo>
                    <a:lnTo>
                      <a:pt x="43" y="541"/>
                    </a:lnTo>
                    <a:lnTo>
                      <a:pt x="45" y="541"/>
                    </a:lnTo>
                    <a:lnTo>
                      <a:pt x="48" y="539"/>
                    </a:lnTo>
                    <a:lnTo>
                      <a:pt x="45" y="537"/>
                    </a:lnTo>
                    <a:lnTo>
                      <a:pt x="45" y="537"/>
                    </a:lnTo>
                    <a:lnTo>
                      <a:pt x="45" y="537"/>
                    </a:lnTo>
                    <a:lnTo>
                      <a:pt x="45" y="537"/>
                    </a:lnTo>
                    <a:lnTo>
                      <a:pt x="43" y="537"/>
                    </a:lnTo>
                    <a:lnTo>
                      <a:pt x="45" y="532"/>
                    </a:lnTo>
                    <a:lnTo>
                      <a:pt x="43" y="530"/>
                    </a:lnTo>
                    <a:lnTo>
                      <a:pt x="45" y="530"/>
                    </a:lnTo>
                    <a:lnTo>
                      <a:pt x="45" y="527"/>
                    </a:lnTo>
                    <a:lnTo>
                      <a:pt x="45" y="525"/>
                    </a:lnTo>
                    <a:lnTo>
                      <a:pt x="48" y="525"/>
                    </a:lnTo>
                    <a:lnTo>
                      <a:pt x="48" y="525"/>
                    </a:lnTo>
                    <a:lnTo>
                      <a:pt x="50" y="523"/>
                    </a:lnTo>
                    <a:lnTo>
                      <a:pt x="55" y="523"/>
                    </a:lnTo>
                    <a:lnTo>
                      <a:pt x="59" y="523"/>
                    </a:lnTo>
                    <a:lnTo>
                      <a:pt x="59" y="520"/>
                    </a:lnTo>
                    <a:lnTo>
                      <a:pt x="59" y="518"/>
                    </a:lnTo>
                    <a:lnTo>
                      <a:pt x="59" y="518"/>
                    </a:lnTo>
                    <a:lnTo>
                      <a:pt x="59" y="515"/>
                    </a:lnTo>
                    <a:lnTo>
                      <a:pt x="57" y="515"/>
                    </a:lnTo>
                    <a:lnTo>
                      <a:pt x="50" y="518"/>
                    </a:lnTo>
                    <a:lnTo>
                      <a:pt x="48" y="518"/>
                    </a:lnTo>
                    <a:lnTo>
                      <a:pt x="48" y="513"/>
                    </a:lnTo>
                    <a:lnTo>
                      <a:pt x="48" y="511"/>
                    </a:lnTo>
                    <a:lnTo>
                      <a:pt x="48" y="511"/>
                    </a:lnTo>
                    <a:lnTo>
                      <a:pt x="48" y="508"/>
                    </a:lnTo>
                    <a:lnTo>
                      <a:pt x="45" y="508"/>
                    </a:lnTo>
                    <a:lnTo>
                      <a:pt x="45" y="508"/>
                    </a:lnTo>
                    <a:lnTo>
                      <a:pt x="43" y="508"/>
                    </a:lnTo>
                    <a:lnTo>
                      <a:pt x="43" y="508"/>
                    </a:lnTo>
                    <a:lnTo>
                      <a:pt x="43" y="508"/>
                    </a:lnTo>
                    <a:lnTo>
                      <a:pt x="40" y="508"/>
                    </a:lnTo>
                    <a:lnTo>
                      <a:pt x="40" y="506"/>
                    </a:lnTo>
                    <a:lnTo>
                      <a:pt x="43" y="506"/>
                    </a:lnTo>
                    <a:lnTo>
                      <a:pt x="43" y="504"/>
                    </a:lnTo>
                    <a:lnTo>
                      <a:pt x="43" y="504"/>
                    </a:lnTo>
                    <a:lnTo>
                      <a:pt x="43" y="501"/>
                    </a:lnTo>
                    <a:lnTo>
                      <a:pt x="40" y="499"/>
                    </a:lnTo>
                    <a:lnTo>
                      <a:pt x="38" y="499"/>
                    </a:lnTo>
                    <a:lnTo>
                      <a:pt x="36" y="499"/>
                    </a:lnTo>
                    <a:lnTo>
                      <a:pt x="36" y="497"/>
                    </a:lnTo>
                    <a:lnTo>
                      <a:pt x="36" y="499"/>
                    </a:lnTo>
                    <a:lnTo>
                      <a:pt x="33" y="497"/>
                    </a:lnTo>
                    <a:lnTo>
                      <a:pt x="36" y="497"/>
                    </a:lnTo>
                    <a:lnTo>
                      <a:pt x="36" y="494"/>
                    </a:lnTo>
                    <a:lnTo>
                      <a:pt x="36" y="494"/>
                    </a:lnTo>
                    <a:lnTo>
                      <a:pt x="38" y="494"/>
                    </a:lnTo>
                    <a:lnTo>
                      <a:pt x="38" y="492"/>
                    </a:lnTo>
                    <a:lnTo>
                      <a:pt x="38" y="492"/>
                    </a:lnTo>
                    <a:lnTo>
                      <a:pt x="36" y="492"/>
                    </a:lnTo>
                    <a:lnTo>
                      <a:pt x="33" y="492"/>
                    </a:lnTo>
                    <a:lnTo>
                      <a:pt x="31" y="492"/>
                    </a:lnTo>
                    <a:lnTo>
                      <a:pt x="33" y="489"/>
                    </a:lnTo>
                    <a:lnTo>
                      <a:pt x="33" y="489"/>
                    </a:lnTo>
                    <a:lnTo>
                      <a:pt x="31" y="485"/>
                    </a:lnTo>
                    <a:lnTo>
                      <a:pt x="31" y="485"/>
                    </a:lnTo>
                    <a:lnTo>
                      <a:pt x="33" y="485"/>
                    </a:lnTo>
                    <a:lnTo>
                      <a:pt x="33" y="482"/>
                    </a:lnTo>
                    <a:lnTo>
                      <a:pt x="33" y="482"/>
                    </a:lnTo>
                    <a:lnTo>
                      <a:pt x="33" y="480"/>
                    </a:lnTo>
                    <a:lnTo>
                      <a:pt x="31" y="480"/>
                    </a:lnTo>
                    <a:lnTo>
                      <a:pt x="31" y="478"/>
                    </a:lnTo>
                    <a:lnTo>
                      <a:pt x="31" y="478"/>
                    </a:lnTo>
                    <a:lnTo>
                      <a:pt x="31" y="475"/>
                    </a:lnTo>
                    <a:lnTo>
                      <a:pt x="31" y="475"/>
                    </a:lnTo>
                    <a:lnTo>
                      <a:pt x="31" y="475"/>
                    </a:lnTo>
                    <a:lnTo>
                      <a:pt x="31" y="473"/>
                    </a:lnTo>
                    <a:lnTo>
                      <a:pt x="33" y="471"/>
                    </a:lnTo>
                    <a:lnTo>
                      <a:pt x="33" y="471"/>
                    </a:lnTo>
                    <a:lnTo>
                      <a:pt x="33" y="468"/>
                    </a:lnTo>
                    <a:lnTo>
                      <a:pt x="33" y="466"/>
                    </a:lnTo>
                    <a:lnTo>
                      <a:pt x="31" y="466"/>
                    </a:lnTo>
                    <a:lnTo>
                      <a:pt x="31" y="463"/>
                    </a:lnTo>
                    <a:lnTo>
                      <a:pt x="31" y="463"/>
                    </a:lnTo>
                    <a:lnTo>
                      <a:pt x="31" y="461"/>
                    </a:lnTo>
                    <a:lnTo>
                      <a:pt x="31" y="461"/>
                    </a:lnTo>
                    <a:lnTo>
                      <a:pt x="31" y="461"/>
                    </a:lnTo>
                    <a:lnTo>
                      <a:pt x="29" y="459"/>
                    </a:lnTo>
                    <a:lnTo>
                      <a:pt x="29" y="456"/>
                    </a:lnTo>
                    <a:lnTo>
                      <a:pt x="31" y="456"/>
                    </a:lnTo>
                    <a:lnTo>
                      <a:pt x="31" y="456"/>
                    </a:lnTo>
                    <a:lnTo>
                      <a:pt x="31" y="454"/>
                    </a:lnTo>
                    <a:lnTo>
                      <a:pt x="33" y="452"/>
                    </a:lnTo>
                    <a:lnTo>
                      <a:pt x="36" y="452"/>
                    </a:lnTo>
                    <a:lnTo>
                      <a:pt x="36" y="449"/>
                    </a:lnTo>
                    <a:lnTo>
                      <a:pt x="38" y="447"/>
                    </a:lnTo>
                    <a:lnTo>
                      <a:pt x="40" y="447"/>
                    </a:lnTo>
                    <a:lnTo>
                      <a:pt x="43" y="447"/>
                    </a:lnTo>
                    <a:lnTo>
                      <a:pt x="48" y="447"/>
                    </a:lnTo>
                    <a:lnTo>
                      <a:pt x="52" y="445"/>
                    </a:lnTo>
                    <a:lnTo>
                      <a:pt x="55" y="445"/>
                    </a:lnTo>
                    <a:lnTo>
                      <a:pt x="57" y="442"/>
                    </a:lnTo>
                    <a:lnTo>
                      <a:pt x="57" y="440"/>
                    </a:lnTo>
                    <a:lnTo>
                      <a:pt x="57" y="437"/>
                    </a:lnTo>
                    <a:lnTo>
                      <a:pt x="55" y="437"/>
                    </a:lnTo>
                    <a:lnTo>
                      <a:pt x="55" y="437"/>
                    </a:lnTo>
                    <a:lnTo>
                      <a:pt x="52" y="440"/>
                    </a:lnTo>
                    <a:lnTo>
                      <a:pt x="50" y="440"/>
                    </a:lnTo>
                    <a:lnTo>
                      <a:pt x="48" y="440"/>
                    </a:lnTo>
                    <a:lnTo>
                      <a:pt x="45" y="440"/>
                    </a:lnTo>
                    <a:lnTo>
                      <a:pt x="43" y="437"/>
                    </a:lnTo>
                    <a:lnTo>
                      <a:pt x="40" y="440"/>
                    </a:lnTo>
                    <a:lnTo>
                      <a:pt x="38" y="440"/>
                    </a:lnTo>
                    <a:lnTo>
                      <a:pt x="36" y="437"/>
                    </a:lnTo>
                    <a:lnTo>
                      <a:pt x="36" y="437"/>
                    </a:lnTo>
                    <a:lnTo>
                      <a:pt x="33" y="437"/>
                    </a:lnTo>
                    <a:lnTo>
                      <a:pt x="31" y="435"/>
                    </a:lnTo>
                    <a:lnTo>
                      <a:pt x="33" y="435"/>
                    </a:lnTo>
                    <a:lnTo>
                      <a:pt x="31" y="433"/>
                    </a:lnTo>
                    <a:lnTo>
                      <a:pt x="33" y="430"/>
                    </a:lnTo>
                    <a:lnTo>
                      <a:pt x="33" y="433"/>
                    </a:lnTo>
                    <a:lnTo>
                      <a:pt x="36" y="430"/>
                    </a:lnTo>
                    <a:lnTo>
                      <a:pt x="36" y="430"/>
                    </a:lnTo>
                    <a:lnTo>
                      <a:pt x="36" y="430"/>
                    </a:lnTo>
                    <a:lnTo>
                      <a:pt x="36" y="428"/>
                    </a:lnTo>
                    <a:lnTo>
                      <a:pt x="38" y="428"/>
                    </a:lnTo>
                    <a:lnTo>
                      <a:pt x="36" y="426"/>
                    </a:lnTo>
                    <a:lnTo>
                      <a:pt x="36" y="426"/>
                    </a:lnTo>
                    <a:lnTo>
                      <a:pt x="38" y="426"/>
                    </a:lnTo>
                    <a:lnTo>
                      <a:pt x="38" y="423"/>
                    </a:lnTo>
                    <a:lnTo>
                      <a:pt x="36" y="423"/>
                    </a:lnTo>
                    <a:lnTo>
                      <a:pt x="36" y="421"/>
                    </a:lnTo>
                    <a:lnTo>
                      <a:pt x="33" y="421"/>
                    </a:lnTo>
                    <a:lnTo>
                      <a:pt x="31" y="421"/>
                    </a:lnTo>
                    <a:lnTo>
                      <a:pt x="33" y="421"/>
                    </a:lnTo>
                    <a:lnTo>
                      <a:pt x="38" y="419"/>
                    </a:lnTo>
                    <a:lnTo>
                      <a:pt x="40" y="414"/>
                    </a:lnTo>
                    <a:lnTo>
                      <a:pt x="43" y="414"/>
                    </a:lnTo>
                    <a:lnTo>
                      <a:pt x="43" y="412"/>
                    </a:lnTo>
                    <a:lnTo>
                      <a:pt x="40" y="409"/>
                    </a:lnTo>
                    <a:lnTo>
                      <a:pt x="40" y="409"/>
                    </a:lnTo>
                    <a:lnTo>
                      <a:pt x="40" y="407"/>
                    </a:lnTo>
                    <a:lnTo>
                      <a:pt x="40" y="404"/>
                    </a:lnTo>
                    <a:lnTo>
                      <a:pt x="40" y="404"/>
                    </a:lnTo>
                    <a:lnTo>
                      <a:pt x="43" y="404"/>
                    </a:lnTo>
                    <a:lnTo>
                      <a:pt x="45" y="404"/>
                    </a:lnTo>
                    <a:lnTo>
                      <a:pt x="45" y="404"/>
                    </a:lnTo>
                    <a:lnTo>
                      <a:pt x="45" y="404"/>
                    </a:lnTo>
                    <a:lnTo>
                      <a:pt x="48" y="404"/>
                    </a:lnTo>
                    <a:lnTo>
                      <a:pt x="52" y="407"/>
                    </a:lnTo>
                    <a:lnTo>
                      <a:pt x="55" y="409"/>
                    </a:lnTo>
                    <a:lnTo>
                      <a:pt x="57" y="407"/>
                    </a:lnTo>
                    <a:lnTo>
                      <a:pt x="59" y="409"/>
                    </a:lnTo>
                    <a:lnTo>
                      <a:pt x="62" y="407"/>
                    </a:lnTo>
                    <a:lnTo>
                      <a:pt x="69" y="407"/>
                    </a:lnTo>
                    <a:lnTo>
                      <a:pt x="69" y="407"/>
                    </a:lnTo>
                    <a:lnTo>
                      <a:pt x="69" y="404"/>
                    </a:lnTo>
                    <a:lnTo>
                      <a:pt x="69" y="402"/>
                    </a:lnTo>
                    <a:lnTo>
                      <a:pt x="66" y="402"/>
                    </a:lnTo>
                    <a:lnTo>
                      <a:pt x="64" y="402"/>
                    </a:lnTo>
                    <a:lnTo>
                      <a:pt x="64" y="402"/>
                    </a:lnTo>
                    <a:lnTo>
                      <a:pt x="62" y="402"/>
                    </a:lnTo>
                    <a:lnTo>
                      <a:pt x="59" y="402"/>
                    </a:lnTo>
                    <a:lnTo>
                      <a:pt x="59" y="400"/>
                    </a:lnTo>
                    <a:lnTo>
                      <a:pt x="57" y="402"/>
                    </a:lnTo>
                    <a:lnTo>
                      <a:pt x="55" y="402"/>
                    </a:lnTo>
                    <a:lnTo>
                      <a:pt x="55" y="402"/>
                    </a:lnTo>
                    <a:lnTo>
                      <a:pt x="52" y="400"/>
                    </a:lnTo>
                    <a:lnTo>
                      <a:pt x="52" y="400"/>
                    </a:lnTo>
                    <a:lnTo>
                      <a:pt x="52" y="397"/>
                    </a:lnTo>
                    <a:lnTo>
                      <a:pt x="50" y="397"/>
                    </a:lnTo>
                    <a:lnTo>
                      <a:pt x="48" y="397"/>
                    </a:lnTo>
                    <a:lnTo>
                      <a:pt x="45" y="395"/>
                    </a:lnTo>
                    <a:lnTo>
                      <a:pt x="45" y="395"/>
                    </a:lnTo>
                    <a:lnTo>
                      <a:pt x="43" y="395"/>
                    </a:lnTo>
                    <a:lnTo>
                      <a:pt x="40" y="393"/>
                    </a:lnTo>
                    <a:lnTo>
                      <a:pt x="36" y="393"/>
                    </a:lnTo>
                    <a:lnTo>
                      <a:pt x="33" y="393"/>
                    </a:lnTo>
                    <a:lnTo>
                      <a:pt x="31" y="393"/>
                    </a:lnTo>
                    <a:lnTo>
                      <a:pt x="31" y="393"/>
                    </a:lnTo>
                    <a:lnTo>
                      <a:pt x="29" y="393"/>
                    </a:lnTo>
                    <a:lnTo>
                      <a:pt x="26" y="393"/>
                    </a:lnTo>
                    <a:lnTo>
                      <a:pt x="26" y="393"/>
                    </a:lnTo>
                    <a:lnTo>
                      <a:pt x="26" y="390"/>
                    </a:lnTo>
                    <a:lnTo>
                      <a:pt x="24" y="390"/>
                    </a:lnTo>
                    <a:lnTo>
                      <a:pt x="22" y="390"/>
                    </a:lnTo>
                    <a:lnTo>
                      <a:pt x="19" y="390"/>
                    </a:lnTo>
                    <a:lnTo>
                      <a:pt x="19" y="390"/>
                    </a:lnTo>
                    <a:lnTo>
                      <a:pt x="17" y="388"/>
                    </a:lnTo>
                    <a:lnTo>
                      <a:pt x="14" y="388"/>
                    </a:lnTo>
                    <a:lnTo>
                      <a:pt x="14" y="388"/>
                    </a:lnTo>
                    <a:lnTo>
                      <a:pt x="14" y="386"/>
                    </a:lnTo>
                    <a:lnTo>
                      <a:pt x="12" y="383"/>
                    </a:lnTo>
                    <a:lnTo>
                      <a:pt x="12" y="378"/>
                    </a:lnTo>
                    <a:lnTo>
                      <a:pt x="12" y="378"/>
                    </a:lnTo>
                    <a:lnTo>
                      <a:pt x="10" y="376"/>
                    </a:lnTo>
                    <a:lnTo>
                      <a:pt x="10" y="376"/>
                    </a:lnTo>
                    <a:lnTo>
                      <a:pt x="10" y="371"/>
                    </a:lnTo>
                    <a:lnTo>
                      <a:pt x="7" y="371"/>
                    </a:lnTo>
                    <a:lnTo>
                      <a:pt x="7" y="371"/>
                    </a:lnTo>
                    <a:lnTo>
                      <a:pt x="5" y="371"/>
                    </a:lnTo>
                    <a:lnTo>
                      <a:pt x="3" y="369"/>
                    </a:lnTo>
                    <a:lnTo>
                      <a:pt x="3" y="364"/>
                    </a:lnTo>
                    <a:lnTo>
                      <a:pt x="3" y="362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3" name="Freeform 16"/>
              <p:cNvSpPr>
                <a:spLocks/>
              </p:cNvSpPr>
              <p:nvPr/>
            </p:nvSpPr>
            <p:spPr bwMode="auto">
              <a:xfrm>
                <a:off x="6113058" y="2222755"/>
                <a:ext cx="563169" cy="703430"/>
              </a:xfrm>
              <a:custGeom>
                <a:avLst/>
                <a:gdLst/>
                <a:ahLst/>
                <a:cxnLst>
                  <a:cxn ang="0">
                    <a:pos x="22" y="36"/>
                  </a:cxn>
                  <a:cxn ang="0">
                    <a:pos x="22" y="12"/>
                  </a:cxn>
                  <a:cxn ang="0">
                    <a:pos x="71" y="10"/>
                  </a:cxn>
                  <a:cxn ang="0">
                    <a:pos x="109" y="5"/>
                  </a:cxn>
                  <a:cxn ang="0">
                    <a:pos x="163" y="5"/>
                  </a:cxn>
                  <a:cxn ang="0">
                    <a:pos x="182" y="7"/>
                  </a:cxn>
                  <a:cxn ang="0">
                    <a:pos x="215" y="26"/>
                  </a:cxn>
                  <a:cxn ang="0">
                    <a:pos x="253" y="48"/>
                  </a:cxn>
                  <a:cxn ang="0">
                    <a:pos x="289" y="69"/>
                  </a:cxn>
                  <a:cxn ang="0">
                    <a:pos x="315" y="85"/>
                  </a:cxn>
                  <a:cxn ang="0">
                    <a:pos x="345" y="111"/>
                  </a:cxn>
                  <a:cxn ang="0">
                    <a:pos x="376" y="121"/>
                  </a:cxn>
                  <a:cxn ang="0">
                    <a:pos x="400" y="149"/>
                  </a:cxn>
                  <a:cxn ang="0">
                    <a:pos x="440" y="196"/>
                  </a:cxn>
                  <a:cxn ang="0">
                    <a:pos x="475" y="227"/>
                  </a:cxn>
                  <a:cxn ang="0">
                    <a:pos x="518" y="248"/>
                  </a:cxn>
                  <a:cxn ang="0">
                    <a:pos x="470" y="298"/>
                  </a:cxn>
                  <a:cxn ang="0">
                    <a:pos x="456" y="333"/>
                  </a:cxn>
                  <a:cxn ang="0">
                    <a:pos x="435" y="362"/>
                  </a:cxn>
                  <a:cxn ang="0">
                    <a:pos x="426" y="390"/>
                  </a:cxn>
                  <a:cxn ang="0">
                    <a:pos x="404" y="426"/>
                  </a:cxn>
                  <a:cxn ang="0">
                    <a:pos x="385" y="428"/>
                  </a:cxn>
                  <a:cxn ang="0">
                    <a:pos x="369" y="449"/>
                  </a:cxn>
                  <a:cxn ang="0">
                    <a:pos x="362" y="468"/>
                  </a:cxn>
                  <a:cxn ang="0">
                    <a:pos x="364" y="477"/>
                  </a:cxn>
                  <a:cxn ang="0">
                    <a:pos x="352" y="503"/>
                  </a:cxn>
                  <a:cxn ang="0">
                    <a:pos x="357" y="522"/>
                  </a:cxn>
                  <a:cxn ang="0">
                    <a:pos x="345" y="537"/>
                  </a:cxn>
                  <a:cxn ang="0">
                    <a:pos x="338" y="551"/>
                  </a:cxn>
                  <a:cxn ang="0">
                    <a:pos x="350" y="567"/>
                  </a:cxn>
                  <a:cxn ang="0">
                    <a:pos x="364" y="581"/>
                  </a:cxn>
                  <a:cxn ang="0">
                    <a:pos x="362" y="605"/>
                  </a:cxn>
                  <a:cxn ang="0">
                    <a:pos x="352" y="624"/>
                  </a:cxn>
                  <a:cxn ang="0">
                    <a:pos x="338" y="636"/>
                  </a:cxn>
                  <a:cxn ang="0">
                    <a:pos x="324" y="645"/>
                  </a:cxn>
                  <a:cxn ang="0">
                    <a:pos x="312" y="659"/>
                  </a:cxn>
                  <a:cxn ang="0">
                    <a:pos x="296" y="652"/>
                  </a:cxn>
                  <a:cxn ang="0">
                    <a:pos x="274" y="638"/>
                  </a:cxn>
                  <a:cxn ang="0">
                    <a:pos x="263" y="617"/>
                  </a:cxn>
                  <a:cxn ang="0">
                    <a:pos x="232" y="593"/>
                  </a:cxn>
                  <a:cxn ang="0">
                    <a:pos x="187" y="600"/>
                  </a:cxn>
                  <a:cxn ang="0">
                    <a:pos x="116" y="591"/>
                  </a:cxn>
                  <a:cxn ang="0">
                    <a:pos x="126" y="553"/>
                  </a:cxn>
                  <a:cxn ang="0">
                    <a:pos x="135" y="525"/>
                  </a:cxn>
                  <a:cxn ang="0">
                    <a:pos x="102" y="511"/>
                  </a:cxn>
                  <a:cxn ang="0">
                    <a:pos x="81" y="470"/>
                  </a:cxn>
                  <a:cxn ang="0">
                    <a:pos x="74" y="433"/>
                  </a:cxn>
                  <a:cxn ang="0">
                    <a:pos x="67" y="390"/>
                  </a:cxn>
                  <a:cxn ang="0">
                    <a:pos x="64" y="355"/>
                  </a:cxn>
                  <a:cxn ang="0">
                    <a:pos x="64" y="333"/>
                  </a:cxn>
                  <a:cxn ang="0">
                    <a:pos x="62" y="312"/>
                  </a:cxn>
                  <a:cxn ang="0">
                    <a:pos x="38" y="296"/>
                  </a:cxn>
                  <a:cxn ang="0">
                    <a:pos x="22" y="272"/>
                  </a:cxn>
                  <a:cxn ang="0">
                    <a:pos x="29" y="241"/>
                  </a:cxn>
                  <a:cxn ang="0">
                    <a:pos x="33" y="215"/>
                  </a:cxn>
                  <a:cxn ang="0">
                    <a:pos x="38" y="168"/>
                  </a:cxn>
                  <a:cxn ang="0">
                    <a:pos x="22" y="161"/>
                  </a:cxn>
                  <a:cxn ang="0">
                    <a:pos x="19" y="137"/>
                  </a:cxn>
                  <a:cxn ang="0">
                    <a:pos x="12" y="118"/>
                  </a:cxn>
                  <a:cxn ang="0">
                    <a:pos x="12" y="92"/>
                  </a:cxn>
                </a:cxnLst>
                <a:rect l="0" t="0" r="r" b="b"/>
                <a:pathLst>
                  <a:path w="530" h="662">
                    <a:moveTo>
                      <a:pt x="3" y="74"/>
                    </a:moveTo>
                    <a:lnTo>
                      <a:pt x="3" y="71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5" y="64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5" y="48"/>
                    </a:lnTo>
                    <a:lnTo>
                      <a:pt x="17" y="45"/>
                    </a:lnTo>
                    <a:lnTo>
                      <a:pt x="19" y="43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22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3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22" y="29"/>
                    </a:lnTo>
                    <a:lnTo>
                      <a:pt x="22" y="29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17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12" y="17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31" y="12"/>
                    </a:lnTo>
                    <a:lnTo>
                      <a:pt x="33" y="12"/>
                    </a:lnTo>
                    <a:lnTo>
                      <a:pt x="38" y="12"/>
                    </a:lnTo>
                    <a:lnTo>
                      <a:pt x="43" y="14"/>
                    </a:lnTo>
                    <a:lnTo>
                      <a:pt x="43" y="12"/>
                    </a:lnTo>
                    <a:lnTo>
                      <a:pt x="43" y="14"/>
                    </a:lnTo>
                    <a:lnTo>
                      <a:pt x="48" y="14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9" y="12"/>
                    </a:lnTo>
                    <a:lnTo>
                      <a:pt x="62" y="10"/>
                    </a:lnTo>
                    <a:lnTo>
                      <a:pt x="67" y="10"/>
                    </a:lnTo>
                    <a:lnTo>
                      <a:pt x="67" y="10"/>
                    </a:lnTo>
                    <a:lnTo>
                      <a:pt x="67" y="10"/>
                    </a:lnTo>
                    <a:lnTo>
                      <a:pt x="71" y="10"/>
                    </a:lnTo>
                    <a:lnTo>
                      <a:pt x="71" y="10"/>
                    </a:lnTo>
                    <a:lnTo>
                      <a:pt x="71" y="10"/>
                    </a:lnTo>
                    <a:lnTo>
                      <a:pt x="71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12"/>
                    </a:lnTo>
                    <a:lnTo>
                      <a:pt x="76" y="12"/>
                    </a:lnTo>
                    <a:lnTo>
                      <a:pt x="78" y="12"/>
                    </a:lnTo>
                    <a:lnTo>
                      <a:pt x="81" y="10"/>
                    </a:lnTo>
                    <a:lnTo>
                      <a:pt x="83" y="7"/>
                    </a:lnTo>
                    <a:lnTo>
                      <a:pt x="85" y="7"/>
                    </a:lnTo>
                    <a:lnTo>
                      <a:pt x="88" y="7"/>
                    </a:lnTo>
                    <a:lnTo>
                      <a:pt x="95" y="7"/>
                    </a:lnTo>
                    <a:lnTo>
                      <a:pt x="95" y="7"/>
                    </a:lnTo>
                    <a:lnTo>
                      <a:pt x="100" y="7"/>
                    </a:lnTo>
                    <a:lnTo>
                      <a:pt x="107" y="7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14" y="3"/>
                    </a:lnTo>
                    <a:lnTo>
                      <a:pt x="116" y="3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23" y="3"/>
                    </a:lnTo>
                    <a:lnTo>
                      <a:pt x="126" y="3"/>
                    </a:lnTo>
                    <a:lnTo>
                      <a:pt x="130" y="3"/>
                    </a:lnTo>
                    <a:lnTo>
                      <a:pt x="135" y="3"/>
                    </a:lnTo>
                    <a:lnTo>
                      <a:pt x="140" y="3"/>
                    </a:lnTo>
                    <a:lnTo>
                      <a:pt x="144" y="3"/>
                    </a:lnTo>
                    <a:lnTo>
                      <a:pt x="149" y="3"/>
                    </a:lnTo>
                    <a:lnTo>
                      <a:pt x="149" y="3"/>
                    </a:lnTo>
                    <a:lnTo>
                      <a:pt x="154" y="3"/>
                    </a:lnTo>
                    <a:lnTo>
                      <a:pt x="159" y="3"/>
                    </a:lnTo>
                    <a:lnTo>
                      <a:pt x="156" y="3"/>
                    </a:lnTo>
                    <a:lnTo>
                      <a:pt x="161" y="5"/>
                    </a:lnTo>
                    <a:lnTo>
                      <a:pt x="163" y="5"/>
                    </a:lnTo>
                    <a:lnTo>
                      <a:pt x="166" y="5"/>
                    </a:lnTo>
                    <a:lnTo>
                      <a:pt x="166" y="5"/>
                    </a:lnTo>
                    <a:lnTo>
                      <a:pt x="168" y="5"/>
                    </a:lnTo>
                    <a:lnTo>
                      <a:pt x="173" y="5"/>
                    </a:lnTo>
                    <a:lnTo>
                      <a:pt x="173" y="5"/>
                    </a:lnTo>
                    <a:lnTo>
                      <a:pt x="173" y="5"/>
                    </a:lnTo>
                    <a:lnTo>
                      <a:pt x="173" y="5"/>
                    </a:lnTo>
                    <a:lnTo>
                      <a:pt x="175" y="5"/>
                    </a:lnTo>
                    <a:lnTo>
                      <a:pt x="175" y="5"/>
                    </a:lnTo>
                    <a:lnTo>
                      <a:pt x="178" y="7"/>
                    </a:lnTo>
                    <a:lnTo>
                      <a:pt x="180" y="5"/>
                    </a:lnTo>
                    <a:lnTo>
                      <a:pt x="178" y="5"/>
                    </a:lnTo>
                    <a:lnTo>
                      <a:pt x="178" y="5"/>
                    </a:lnTo>
                    <a:lnTo>
                      <a:pt x="182" y="7"/>
                    </a:lnTo>
                    <a:lnTo>
                      <a:pt x="185" y="7"/>
                    </a:lnTo>
                    <a:lnTo>
                      <a:pt x="182" y="7"/>
                    </a:lnTo>
                    <a:lnTo>
                      <a:pt x="182" y="7"/>
                    </a:lnTo>
                    <a:lnTo>
                      <a:pt x="182" y="7"/>
                    </a:lnTo>
                    <a:lnTo>
                      <a:pt x="187" y="10"/>
                    </a:lnTo>
                    <a:lnTo>
                      <a:pt x="185" y="7"/>
                    </a:lnTo>
                    <a:lnTo>
                      <a:pt x="189" y="10"/>
                    </a:lnTo>
                    <a:lnTo>
                      <a:pt x="189" y="10"/>
                    </a:lnTo>
                    <a:lnTo>
                      <a:pt x="192" y="12"/>
                    </a:lnTo>
                    <a:lnTo>
                      <a:pt x="194" y="12"/>
                    </a:lnTo>
                    <a:lnTo>
                      <a:pt x="194" y="12"/>
                    </a:lnTo>
                    <a:lnTo>
                      <a:pt x="194" y="12"/>
                    </a:lnTo>
                    <a:lnTo>
                      <a:pt x="196" y="12"/>
                    </a:lnTo>
                    <a:lnTo>
                      <a:pt x="199" y="14"/>
                    </a:lnTo>
                    <a:lnTo>
                      <a:pt x="204" y="17"/>
                    </a:lnTo>
                    <a:lnTo>
                      <a:pt x="204" y="19"/>
                    </a:lnTo>
                    <a:lnTo>
                      <a:pt x="208" y="22"/>
                    </a:lnTo>
                    <a:lnTo>
                      <a:pt x="211" y="22"/>
                    </a:lnTo>
                    <a:lnTo>
                      <a:pt x="213" y="26"/>
                    </a:lnTo>
                    <a:lnTo>
                      <a:pt x="215" y="26"/>
                    </a:lnTo>
                    <a:lnTo>
                      <a:pt x="218" y="26"/>
                    </a:lnTo>
                    <a:lnTo>
                      <a:pt x="220" y="26"/>
                    </a:lnTo>
                    <a:lnTo>
                      <a:pt x="222" y="29"/>
                    </a:lnTo>
                    <a:lnTo>
                      <a:pt x="225" y="29"/>
                    </a:lnTo>
                    <a:lnTo>
                      <a:pt x="225" y="31"/>
                    </a:lnTo>
                    <a:lnTo>
                      <a:pt x="227" y="31"/>
                    </a:lnTo>
                    <a:lnTo>
                      <a:pt x="227" y="29"/>
                    </a:lnTo>
                    <a:lnTo>
                      <a:pt x="230" y="31"/>
                    </a:lnTo>
                    <a:lnTo>
                      <a:pt x="232" y="33"/>
                    </a:lnTo>
                    <a:lnTo>
                      <a:pt x="232" y="36"/>
                    </a:lnTo>
                    <a:lnTo>
                      <a:pt x="234" y="36"/>
                    </a:lnTo>
                    <a:lnTo>
                      <a:pt x="237" y="36"/>
                    </a:lnTo>
                    <a:lnTo>
                      <a:pt x="239" y="38"/>
                    </a:lnTo>
                    <a:lnTo>
                      <a:pt x="241" y="40"/>
                    </a:lnTo>
                    <a:lnTo>
                      <a:pt x="246" y="43"/>
                    </a:lnTo>
                    <a:lnTo>
                      <a:pt x="248" y="45"/>
                    </a:lnTo>
                    <a:lnTo>
                      <a:pt x="253" y="48"/>
                    </a:lnTo>
                    <a:lnTo>
                      <a:pt x="255" y="48"/>
                    </a:lnTo>
                    <a:lnTo>
                      <a:pt x="258" y="50"/>
                    </a:lnTo>
                    <a:lnTo>
                      <a:pt x="260" y="50"/>
                    </a:lnTo>
                    <a:lnTo>
                      <a:pt x="263" y="50"/>
                    </a:lnTo>
                    <a:lnTo>
                      <a:pt x="265" y="50"/>
                    </a:lnTo>
                    <a:lnTo>
                      <a:pt x="267" y="55"/>
                    </a:lnTo>
                    <a:lnTo>
                      <a:pt x="267" y="55"/>
                    </a:lnTo>
                    <a:lnTo>
                      <a:pt x="270" y="55"/>
                    </a:lnTo>
                    <a:lnTo>
                      <a:pt x="270" y="55"/>
                    </a:lnTo>
                    <a:lnTo>
                      <a:pt x="272" y="57"/>
                    </a:lnTo>
                    <a:lnTo>
                      <a:pt x="274" y="57"/>
                    </a:lnTo>
                    <a:lnTo>
                      <a:pt x="277" y="57"/>
                    </a:lnTo>
                    <a:lnTo>
                      <a:pt x="277" y="57"/>
                    </a:lnTo>
                    <a:lnTo>
                      <a:pt x="279" y="59"/>
                    </a:lnTo>
                    <a:lnTo>
                      <a:pt x="284" y="66"/>
                    </a:lnTo>
                    <a:lnTo>
                      <a:pt x="286" y="69"/>
                    </a:lnTo>
                    <a:lnTo>
                      <a:pt x="289" y="69"/>
                    </a:lnTo>
                    <a:lnTo>
                      <a:pt x="289" y="71"/>
                    </a:lnTo>
                    <a:lnTo>
                      <a:pt x="291" y="74"/>
                    </a:lnTo>
                    <a:lnTo>
                      <a:pt x="293" y="74"/>
                    </a:lnTo>
                    <a:lnTo>
                      <a:pt x="293" y="74"/>
                    </a:lnTo>
                    <a:lnTo>
                      <a:pt x="293" y="74"/>
                    </a:lnTo>
                    <a:lnTo>
                      <a:pt x="296" y="76"/>
                    </a:lnTo>
                    <a:lnTo>
                      <a:pt x="298" y="78"/>
                    </a:lnTo>
                    <a:lnTo>
                      <a:pt x="300" y="81"/>
                    </a:lnTo>
                    <a:lnTo>
                      <a:pt x="300" y="78"/>
                    </a:lnTo>
                    <a:lnTo>
                      <a:pt x="303" y="81"/>
                    </a:lnTo>
                    <a:lnTo>
                      <a:pt x="303" y="81"/>
                    </a:lnTo>
                    <a:lnTo>
                      <a:pt x="305" y="81"/>
                    </a:lnTo>
                    <a:lnTo>
                      <a:pt x="305" y="81"/>
                    </a:lnTo>
                    <a:lnTo>
                      <a:pt x="307" y="78"/>
                    </a:lnTo>
                    <a:lnTo>
                      <a:pt x="310" y="78"/>
                    </a:lnTo>
                    <a:lnTo>
                      <a:pt x="312" y="83"/>
                    </a:lnTo>
                    <a:lnTo>
                      <a:pt x="315" y="85"/>
                    </a:lnTo>
                    <a:lnTo>
                      <a:pt x="317" y="85"/>
                    </a:lnTo>
                    <a:lnTo>
                      <a:pt x="317" y="88"/>
                    </a:lnTo>
                    <a:lnTo>
                      <a:pt x="317" y="88"/>
                    </a:lnTo>
                    <a:lnTo>
                      <a:pt x="319" y="92"/>
                    </a:lnTo>
                    <a:lnTo>
                      <a:pt x="319" y="92"/>
                    </a:lnTo>
                    <a:lnTo>
                      <a:pt x="322" y="92"/>
                    </a:lnTo>
                    <a:lnTo>
                      <a:pt x="324" y="95"/>
                    </a:lnTo>
                    <a:lnTo>
                      <a:pt x="326" y="97"/>
                    </a:lnTo>
                    <a:lnTo>
                      <a:pt x="329" y="100"/>
                    </a:lnTo>
                    <a:lnTo>
                      <a:pt x="331" y="100"/>
                    </a:lnTo>
                    <a:lnTo>
                      <a:pt x="331" y="100"/>
                    </a:lnTo>
                    <a:lnTo>
                      <a:pt x="333" y="100"/>
                    </a:lnTo>
                    <a:lnTo>
                      <a:pt x="338" y="104"/>
                    </a:lnTo>
                    <a:lnTo>
                      <a:pt x="338" y="107"/>
                    </a:lnTo>
                    <a:lnTo>
                      <a:pt x="341" y="109"/>
                    </a:lnTo>
                    <a:lnTo>
                      <a:pt x="343" y="109"/>
                    </a:lnTo>
                    <a:lnTo>
                      <a:pt x="345" y="111"/>
                    </a:lnTo>
                    <a:lnTo>
                      <a:pt x="350" y="116"/>
                    </a:lnTo>
                    <a:lnTo>
                      <a:pt x="352" y="116"/>
                    </a:lnTo>
                    <a:lnTo>
                      <a:pt x="355" y="118"/>
                    </a:lnTo>
                    <a:lnTo>
                      <a:pt x="357" y="118"/>
                    </a:lnTo>
                    <a:lnTo>
                      <a:pt x="359" y="118"/>
                    </a:lnTo>
                    <a:lnTo>
                      <a:pt x="362" y="118"/>
                    </a:lnTo>
                    <a:lnTo>
                      <a:pt x="362" y="118"/>
                    </a:lnTo>
                    <a:lnTo>
                      <a:pt x="364" y="121"/>
                    </a:lnTo>
                    <a:lnTo>
                      <a:pt x="367" y="121"/>
                    </a:lnTo>
                    <a:lnTo>
                      <a:pt x="367" y="121"/>
                    </a:lnTo>
                    <a:lnTo>
                      <a:pt x="369" y="121"/>
                    </a:lnTo>
                    <a:lnTo>
                      <a:pt x="369" y="121"/>
                    </a:lnTo>
                    <a:lnTo>
                      <a:pt x="371" y="121"/>
                    </a:lnTo>
                    <a:lnTo>
                      <a:pt x="371" y="123"/>
                    </a:lnTo>
                    <a:lnTo>
                      <a:pt x="374" y="121"/>
                    </a:lnTo>
                    <a:lnTo>
                      <a:pt x="376" y="121"/>
                    </a:lnTo>
                    <a:lnTo>
                      <a:pt x="376" y="121"/>
                    </a:lnTo>
                    <a:lnTo>
                      <a:pt x="376" y="121"/>
                    </a:lnTo>
                    <a:lnTo>
                      <a:pt x="374" y="118"/>
                    </a:lnTo>
                    <a:lnTo>
                      <a:pt x="376" y="121"/>
                    </a:lnTo>
                    <a:lnTo>
                      <a:pt x="381" y="128"/>
                    </a:lnTo>
                    <a:lnTo>
                      <a:pt x="381" y="130"/>
                    </a:lnTo>
                    <a:lnTo>
                      <a:pt x="385" y="135"/>
                    </a:lnTo>
                    <a:lnTo>
                      <a:pt x="388" y="142"/>
                    </a:lnTo>
                    <a:lnTo>
                      <a:pt x="393" y="147"/>
                    </a:lnTo>
                    <a:lnTo>
                      <a:pt x="395" y="149"/>
                    </a:lnTo>
                    <a:lnTo>
                      <a:pt x="397" y="149"/>
                    </a:lnTo>
                    <a:lnTo>
                      <a:pt x="397" y="151"/>
                    </a:lnTo>
                    <a:lnTo>
                      <a:pt x="395" y="149"/>
                    </a:lnTo>
                    <a:lnTo>
                      <a:pt x="397" y="151"/>
                    </a:lnTo>
                    <a:lnTo>
                      <a:pt x="397" y="151"/>
                    </a:lnTo>
                    <a:lnTo>
                      <a:pt x="397" y="149"/>
                    </a:lnTo>
                    <a:lnTo>
                      <a:pt x="397" y="149"/>
                    </a:lnTo>
                    <a:lnTo>
                      <a:pt x="400" y="149"/>
                    </a:lnTo>
                    <a:lnTo>
                      <a:pt x="402" y="151"/>
                    </a:lnTo>
                    <a:lnTo>
                      <a:pt x="402" y="154"/>
                    </a:lnTo>
                    <a:lnTo>
                      <a:pt x="407" y="159"/>
                    </a:lnTo>
                    <a:lnTo>
                      <a:pt x="407" y="159"/>
                    </a:lnTo>
                    <a:lnTo>
                      <a:pt x="409" y="161"/>
                    </a:lnTo>
                    <a:lnTo>
                      <a:pt x="411" y="163"/>
                    </a:lnTo>
                    <a:lnTo>
                      <a:pt x="411" y="166"/>
                    </a:lnTo>
                    <a:lnTo>
                      <a:pt x="416" y="170"/>
                    </a:lnTo>
                    <a:lnTo>
                      <a:pt x="416" y="170"/>
                    </a:lnTo>
                    <a:lnTo>
                      <a:pt x="421" y="177"/>
                    </a:lnTo>
                    <a:lnTo>
                      <a:pt x="423" y="180"/>
                    </a:lnTo>
                    <a:lnTo>
                      <a:pt x="430" y="187"/>
                    </a:lnTo>
                    <a:lnTo>
                      <a:pt x="430" y="187"/>
                    </a:lnTo>
                    <a:lnTo>
                      <a:pt x="433" y="192"/>
                    </a:lnTo>
                    <a:lnTo>
                      <a:pt x="435" y="192"/>
                    </a:lnTo>
                    <a:lnTo>
                      <a:pt x="437" y="194"/>
                    </a:lnTo>
                    <a:lnTo>
                      <a:pt x="440" y="196"/>
                    </a:lnTo>
                    <a:lnTo>
                      <a:pt x="444" y="201"/>
                    </a:lnTo>
                    <a:lnTo>
                      <a:pt x="449" y="203"/>
                    </a:lnTo>
                    <a:lnTo>
                      <a:pt x="454" y="208"/>
                    </a:lnTo>
                    <a:lnTo>
                      <a:pt x="456" y="208"/>
                    </a:lnTo>
                    <a:lnTo>
                      <a:pt x="459" y="211"/>
                    </a:lnTo>
                    <a:lnTo>
                      <a:pt x="461" y="211"/>
                    </a:lnTo>
                    <a:lnTo>
                      <a:pt x="461" y="211"/>
                    </a:lnTo>
                    <a:lnTo>
                      <a:pt x="463" y="211"/>
                    </a:lnTo>
                    <a:lnTo>
                      <a:pt x="466" y="211"/>
                    </a:lnTo>
                    <a:lnTo>
                      <a:pt x="466" y="213"/>
                    </a:lnTo>
                    <a:lnTo>
                      <a:pt x="466" y="213"/>
                    </a:lnTo>
                    <a:lnTo>
                      <a:pt x="466" y="215"/>
                    </a:lnTo>
                    <a:lnTo>
                      <a:pt x="468" y="220"/>
                    </a:lnTo>
                    <a:lnTo>
                      <a:pt x="470" y="222"/>
                    </a:lnTo>
                    <a:lnTo>
                      <a:pt x="473" y="225"/>
                    </a:lnTo>
                    <a:lnTo>
                      <a:pt x="475" y="227"/>
                    </a:lnTo>
                    <a:lnTo>
                      <a:pt x="475" y="227"/>
                    </a:lnTo>
                    <a:lnTo>
                      <a:pt x="478" y="232"/>
                    </a:lnTo>
                    <a:lnTo>
                      <a:pt x="480" y="232"/>
                    </a:lnTo>
                    <a:lnTo>
                      <a:pt x="480" y="234"/>
                    </a:lnTo>
                    <a:lnTo>
                      <a:pt x="487" y="239"/>
                    </a:lnTo>
                    <a:lnTo>
                      <a:pt x="489" y="241"/>
                    </a:lnTo>
                    <a:lnTo>
                      <a:pt x="494" y="241"/>
                    </a:lnTo>
                    <a:lnTo>
                      <a:pt x="496" y="241"/>
                    </a:lnTo>
                    <a:lnTo>
                      <a:pt x="499" y="239"/>
                    </a:lnTo>
                    <a:lnTo>
                      <a:pt x="499" y="241"/>
                    </a:lnTo>
                    <a:lnTo>
                      <a:pt x="501" y="241"/>
                    </a:lnTo>
                    <a:lnTo>
                      <a:pt x="501" y="244"/>
                    </a:lnTo>
                    <a:lnTo>
                      <a:pt x="504" y="244"/>
                    </a:lnTo>
                    <a:lnTo>
                      <a:pt x="511" y="246"/>
                    </a:lnTo>
                    <a:lnTo>
                      <a:pt x="515" y="248"/>
                    </a:lnTo>
                    <a:lnTo>
                      <a:pt x="515" y="248"/>
                    </a:lnTo>
                    <a:lnTo>
                      <a:pt x="518" y="248"/>
                    </a:lnTo>
                    <a:lnTo>
                      <a:pt x="518" y="248"/>
                    </a:lnTo>
                    <a:lnTo>
                      <a:pt x="518" y="248"/>
                    </a:lnTo>
                    <a:lnTo>
                      <a:pt x="518" y="248"/>
                    </a:lnTo>
                    <a:lnTo>
                      <a:pt x="520" y="251"/>
                    </a:lnTo>
                    <a:lnTo>
                      <a:pt x="525" y="253"/>
                    </a:lnTo>
                    <a:lnTo>
                      <a:pt x="525" y="255"/>
                    </a:lnTo>
                    <a:lnTo>
                      <a:pt x="527" y="258"/>
                    </a:lnTo>
                    <a:lnTo>
                      <a:pt x="527" y="263"/>
                    </a:lnTo>
                    <a:lnTo>
                      <a:pt x="530" y="267"/>
                    </a:lnTo>
                    <a:lnTo>
                      <a:pt x="530" y="267"/>
                    </a:lnTo>
                    <a:lnTo>
                      <a:pt x="518" y="270"/>
                    </a:lnTo>
                    <a:lnTo>
                      <a:pt x="506" y="274"/>
                    </a:lnTo>
                    <a:lnTo>
                      <a:pt x="504" y="274"/>
                    </a:lnTo>
                    <a:lnTo>
                      <a:pt x="480" y="279"/>
                    </a:lnTo>
                    <a:lnTo>
                      <a:pt x="480" y="284"/>
                    </a:lnTo>
                    <a:lnTo>
                      <a:pt x="478" y="289"/>
                    </a:lnTo>
                    <a:lnTo>
                      <a:pt x="475" y="296"/>
                    </a:lnTo>
                    <a:lnTo>
                      <a:pt x="470" y="298"/>
                    </a:lnTo>
                    <a:lnTo>
                      <a:pt x="470" y="298"/>
                    </a:lnTo>
                    <a:lnTo>
                      <a:pt x="470" y="298"/>
                    </a:lnTo>
                    <a:lnTo>
                      <a:pt x="468" y="303"/>
                    </a:lnTo>
                    <a:lnTo>
                      <a:pt x="466" y="307"/>
                    </a:lnTo>
                    <a:lnTo>
                      <a:pt x="463" y="314"/>
                    </a:lnTo>
                    <a:lnTo>
                      <a:pt x="461" y="317"/>
                    </a:lnTo>
                    <a:lnTo>
                      <a:pt x="461" y="317"/>
                    </a:lnTo>
                    <a:lnTo>
                      <a:pt x="463" y="319"/>
                    </a:lnTo>
                    <a:lnTo>
                      <a:pt x="463" y="322"/>
                    </a:lnTo>
                    <a:lnTo>
                      <a:pt x="461" y="324"/>
                    </a:lnTo>
                    <a:lnTo>
                      <a:pt x="461" y="324"/>
                    </a:lnTo>
                    <a:lnTo>
                      <a:pt x="463" y="326"/>
                    </a:lnTo>
                    <a:lnTo>
                      <a:pt x="463" y="326"/>
                    </a:lnTo>
                    <a:lnTo>
                      <a:pt x="461" y="326"/>
                    </a:lnTo>
                    <a:lnTo>
                      <a:pt x="461" y="329"/>
                    </a:lnTo>
                    <a:lnTo>
                      <a:pt x="459" y="331"/>
                    </a:lnTo>
                    <a:lnTo>
                      <a:pt x="456" y="333"/>
                    </a:lnTo>
                    <a:lnTo>
                      <a:pt x="454" y="333"/>
                    </a:lnTo>
                    <a:lnTo>
                      <a:pt x="454" y="336"/>
                    </a:lnTo>
                    <a:lnTo>
                      <a:pt x="454" y="336"/>
                    </a:lnTo>
                    <a:lnTo>
                      <a:pt x="452" y="338"/>
                    </a:lnTo>
                    <a:lnTo>
                      <a:pt x="454" y="340"/>
                    </a:lnTo>
                    <a:lnTo>
                      <a:pt x="452" y="343"/>
                    </a:lnTo>
                    <a:lnTo>
                      <a:pt x="449" y="345"/>
                    </a:lnTo>
                    <a:lnTo>
                      <a:pt x="449" y="348"/>
                    </a:lnTo>
                    <a:lnTo>
                      <a:pt x="449" y="348"/>
                    </a:lnTo>
                    <a:lnTo>
                      <a:pt x="449" y="352"/>
                    </a:lnTo>
                    <a:lnTo>
                      <a:pt x="449" y="352"/>
                    </a:lnTo>
                    <a:lnTo>
                      <a:pt x="447" y="355"/>
                    </a:lnTo>
                    <a:lnTo>
                      <a:pt x="444" y="355"/>
                    </a:lnTo>
                    <a:lnTo>
                      <a:pt x="444" y="355"/>
                    </a:lnTo>
                    <a:lnTo>
                      <a:pt x="442" y="359"/>
                    </a:lnTo>
                    <a:lnTo>
                      <a:pt x="440" y="359"/>
                    </a:lnTo>
                    <a:lnTo>
                      <a:pt x="435" y="362"/>
                    </a:lnTo>
                    <a:lnTo>
                      <a:pt x="435" y="362"/>
                    </a:lnTo>
                    <a:lnTo>
                      <a:pt x="435" y="364"/>
                    </a:lnTo>
                    <a:lnTo>
                      <a:pt x="435" y="366"/>
                    </a:lnTo>
                    <a:lnTo>
                      <a:pt x="433" y="366"/>
                    </a:lnTo>
                    <a:lnTo>
                      <a:pt x="430" y="371"/>
                    </a:lnTo>
                    <a:lnTo>
                      <a:pt x="428" y="374"/>
                    </a:lnTo>
                    <a:lnTo>
                      <a:pt x="426" y="376"/>
                    </a:lnTo>
                    <a:lnTo>
                      <a:pt x="426" y="376"/>
                    </a:lnTo>
                    <a:lnTo>
                      <a:pt x="426" y="381"/>
                    </a:lnTo>
                    <a:lnTo>
                      <a:pt x="423" y="383"/>
                    </a:lnTo>
                    <a:lnTo>
                      <a:pt x="423" y="385"/>
                    </a:lnTo>
                    <a:lnTo>
                      <a:pt x="426" y="383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30" y="385"/>
                    </a:lnTo>
                    <a:lnTo>
                      <a:pt x="428" y="388"/>
                    </a:lnTo>
                    <a:lnTo>
                      <a:pt x="426" y="390"/>
                    </a:lnTo>
                    <a:lnTo>
                      <a:pt x="421" y="395"/>
                    </a:lnTo>
                    <a:lnTo>
                      <a:pt x="421" y="397"/>
                    </a:lnTo>
                    <a:lnTo>
                      <a:pt x="421" y="397"/>
                    </a:lnTo>
                    <a:lnTo>
                      <a:pt x="421" y="400"/>
                    </a:lnTo>
                    <a:lnTo>
                      <a:pt x="418" y="404"/>
                    </a:lnTo>
                    <a:lnTo>
                      <a:pt x="416" y="407"/>
                    </a:lnTo>
                    <a:lnTo>
                      <a:pt x="416" y="409"/>
                    </a:lnTo>
                    <a:lnTo>
                      <a:pt x="414" y="409"/>
                    </a:lnTo>
                    <a:lnTo>
                      <a:pt x="414" y="411"/>
                    </a:lnTo>
                    <a:lnTo>
                      <a:pt x="414" y="414"/>
                    </a:lnTo>
                    <a:lnTo>
                      <a:pt x="414" y="414"/>
                    </a:lnTo>
                    <a:lnTo>
                      <a:pt x="411" y="414"/>
                    </a:lnTo>
                    <a:lnTo>
                      <a:pt x="411" y="414"/>
                    </a:lnTo>
                    <a:lnTo>
                      <a:pt x="409" y="416"/>
                    </a:lnTo>
                    <a:lnTo>
                      <a:pt x="404" y="418"/>
                    </a:lnTo>
                    <a:lnTo>
                      <a:pt x="404" y="421"/>
                    </a:lnTo>
                    <a:lnTo>
                      <a:pt x="404" y="426"/>
                    </a:lnTo>
                    <a:lnTo>
                      <a:pt x="402" y="426"/>
                    </a:lnTo>
                    <a:lnTo>
                      <a:pt x="402" y="426"/>
                    </a:lnTo>
                    <a:lnTo>
                      <a:pt x="400" y="428"/>
                    </a:lnTo>
                    <a:lnTo>
                      <a:pt x="400" y="428"/>
                    </a:lnTo>
                    <a:lnTo>
                      <a:pt x="397" y="428"/>
                    </a:lnTo>
                    <a:lnTo>
                      <a:pt x="397" y="430"/>
                    </a:lnTo>
                    <a:lnTo>
                      <a:pt x="395" y="430"/>
                    </a:lnTo>
                    <a:lnTo>
                      <a:pt x="393" y="430"/>
                    </a:lnTo>
                    <a:lnTo>
                      <a:pt x="393" y="428"/>
                    </a:lnTo>
                    <a:lnTo>
                      <a:pt x="393" y="430"/>
                    </a:lnTo>
                    <a:lnTo>
                      <a:pt x="388" y="433"/>
                    </a:lnTo>
                    <a:lnTo>
                      <a:pt x="388" y="430"/>
                    </a:lnTo>
                    <a:lnTo>
                      <a:pt x="388" y="428"/>
                    </a:lnTo>
                    <a:lnTo>
                      <a:pt x="388" y="428"/>
                    </a:lnTo>
                    <a:lnTo>
                      <a:pt x="385" y="428"/>
                    </a:lnTo>
                    <a:lnTo>
                      <a:pt x="385" y="426"/>
                    </a:lnTo>
                    <a:lnTo>
                      <a:pt x="385" y="428"/>
                    </a:lnTo>
                    <a:lnTo>
                      <a:pt x="385" y="426"/>
                    </a:lnTo>
                    <a:lnTo>
                      <a:pt x="383" y="428"/>
                    </a:lnTo>
                    <a:lnTo>
                      <a:pt x="383" y="428"/>
                    </a:lnTo>
                    <a:lnTo>
                      <a:pt x="381" y="430"/>
                    </a:lnTo>
                    <a:lnTo>
                      <a:pt x="378" y="430"/>
                    </a:lnTo>
                    <a:lnTo>
                      <a:pt x="378" y="433"/>
                    </a:lnTo>
                    <a:lnTo>
                      <a:pt x="378" y="435"/>
                    </a:lnTo>
                    <a:lnTo>
                      <a:pt x="376" y="435"/>
                    </a:lnTo>
                    <a:lnTo>
                      <a:pt x="376" y="437"/>
                    </a:lnTo>
                    <a:lnTo>
                      <a:pt x="376" y="440"/>
                    </a:lnTo>
                    <a:lnTo>
                      <a:pt x="376" y="440"/>
                    </a:lnTo>
                    <a:lnTo>
                      <a:pt x="371" y="442"/>
                    </a:lnTo>
                    <a:lnTo>
                      <a:pt x="371" y="444"/>
                    </a:lnTo>
                    <a:lnTo>
                      <a:pt x="369" y="444"/>
                    </a:lnTo>
                    <a:lnTo>
                      <a:pt x="369" y="449"/>
                    </a:lnTo>
                    <a:lnTo>
                      <a:pt x="369" y="449"/>
                    </a:lnTo>
                    <a:lnTo>
                      <a:pt x="369" y="449"/>
                    </a:lnTo>
                    <a:lnTo>
                      <a:pt x="369" y="451"/>
                    </a:lnTo>
                    <a:lnTo>
                      <a:pt x="367" y="451"/>
                    </a:lnTo>
                    <a:lnTo>
                      <a:pt x="367" y="451"/>
                    </a:lnTo>
                    <a:lnTo>
                      <a:pt x="364" y="454"/>
                    </a:lnTo>
                    <a:lnTo>
                      <a:pt x="364" y="454"/>
                    </a:lnTo>
                    <a:lnTo>
                      <a:pt x="362" y="456"/>
                    </a:lnTo>
                    <a:lnTo>
                      <a:pt x="362" y="456"/>
                    </a:lnTo>
                    <a:lnTo>
                      <a:pt x="362" y="456"/>
                    </a:lnTo>
                    <a:lnTo>
                      <a:pt x="362" y="459"/>
                    </a:lnTo>
                    <a:lnTo>
                      <a:pt x="362" y="459"/>
                    </a:lnTo>
                    <a:lnTo>
                      <a:pt x="362" y="461"/>
                    </a:lnTo>
                    <a:lnTo>
                      <a:pt x="362" y="463"/>
                    </a:lnTo>
                    <a:lnTo>
                      <a:pt x="362" y="466"/>
                    </a:lnTo>
                    <a:lnTo>
                      <a:pt x="364" y="466"/>
                    </a:lnTo>
                    <a:lnTo>
                      <a:pt x="362" y="468"/>
                    </a:lnTo>
                    <a:lnTo>
                      <a:pt x="362" y="468"/>
                    </a:lnTo>
                    <a:lnTo>
                      <a:pt x="362" y="468"/>
                    </a:lnTo>
                    <a:lnTo>
                      <a:pt x="359" y="468"/>
                    </a:lnTo>
                    <a:lnTo>
                      <a:pt x="359" y="470"/>
                    </a:lnTo>
                    <a:lnTo>
                      <a:pt x="359" y="470"/>
                    </a:lnTo>
                    <a:lnTo>
                      <a:pt x="359" y="470"/>
                    </a:lnTo>
                    <a:lnTo>
                      <a:pt x="359" y="470"/>
                    </a:lnTo>
                    <a:lnTo>
                      <a:pt x="359" y="470"/>
                    </a:lnTo>
                    <a:lnTo>
                      <a:pt x="362" y="470"/>
                    </a:lnTo>
                    <a:lnTo>
                      <a:pt x="362" y="473"/>
                    </a:lnTo>
                    <a:lnTo>
                      <a:pt x="362" y="473"/>
                    </a:lnTo>
                    <a:lnTo>
                      <a:pt x="367" y="473"/>
                    </a:lnTo>
                    <a:lnTo>
                      <a:pt x="367" y="473"/>
                    </a:lnTo>
                    <a:lnTo>
                      <a:pt x="369" y="470"/>
                    </a:lnTo>
                    <a:lnTo>
                      <a:pt x="369" y="473"/>
                    </a:lnTo>
                    <a:lnTo>
                      <a:pt x="369" y="473"/>
                    </a:lnTo>
                    <a:lnTo>
                      <a:pt x="364" y="477"/>
                    </a:lnTo>
                    <a:lnTo>
                      <a:pt x="364" y="477"/>
                    </a:lnTo>
                    <a:lnTo>
                      <a:pt x="364" y="477"/>
                    </a:lnTo>
                    <a:lnTo>
                      <a:pt x="362" y="480"/>
                    </a:lnTo>
                    <a:lnTo>
                      <a:pt x="362" y="482"/>
                    </a:lnTo>
                    <a:lnTo>
                      <a:pt x="359" y="485"/>
                    </a:lnTo>
                    <a:lnTo>
                      <a:pt x="357" y="487"/>
                    </a:lnTo>
                    <a:lnTo>
                      <a:pt x="357" y="489"/>
                    </a:lnTo>
                    <a:lnTo>
                      <a:pt x="357" y="489"/>
                    </a:lnTo>
                    <a:lnTo>
                      <a:pt x="357" y="492"/>
                    </a:lnTo>
                    <a:lnTo>
                      <a:pt x="357" y="492"/>
                    </a:lnTo>
                    <a:lnTo>
                      <a:pt x="355" y="494"/>
                    </a:lnTo>
                    <a:lnTo>
                      <a:pt x="355" y="494"/>
                    </a:lnTo>
                    <a:lnTo>
                      <a:pt x="352" y="496"/>
                    </a:lnTo>
                    <a:lnTo>
                      <a:pt x="355" y="496"/>
                    </a:lnTo>
                    <a:lnTo>
                      <a:pt x="355" y="499"/>
                    </a:lnTo>
                    <a:lnTo>
                      <a:pt x="352" y="501"/>
                    </a:lnTo>
                    <a:lnTo>
                      <a:pt x="352" y="501"/>
                    </a:lnTo>
                    <a:lnTo>
                      <a:pt x="352" y="501"/>
                    </a:lnTo>
                    <a:lnTo>
                      <a:pt x="352" y="503"/>
                    </a:lnTo>
                    <a:lnTo>
                      <a:pt x="352" y="506"/>
                    </a:lnTo>
                    <a:lnTo>
                      <a:pt x="352" y="506"/>
                    </a:lnTo>
                    <a:lnTo>
                      <a:pt x="352" y="508"/>
                    </a:lnTo>
                    <a:lnTo>
                      <a:pt x="350" y="508"/>
                    </a:lnTo>
                    <a:lnTo>
                      <a:pt x="352" y="508"/>
                    </a:lnTo>
                    <a:lnTo>
                      <a:pt x="350" y="508"/>
                    </a:lnTo>
                    <a:lnTo>
                      <a:pt x="350" y="511"/>
                    </a:lnTo>
                    <a:lnTo>
                      <a:pt x="350" y="511"/>
                    </a:lnTo>
                    <a:lnTo>
                      <a:pt x="350" y="515"/>
                    </a:lnTo>
                    <a:lnTo>
                      <a:pt x="352" y="515"/>
                    </a:lnTo>
                    <a:lnTo>
                      <a:pt x="352" y="518"/>
                    </a:lnTo>
                    <a:lnTo>
                      <a:pt x="352" y="518"/>
                    </a:lnTo>
                    <a:lnTo>
                      <a:pt x="352" y="518"/>
                    </a:lnTo>
                    <a:lnTo>
                      <a:pt x="352" y="520"/>
                    </a:lnTo>
                    <a:lnTo>
                      <a:pt x="355" y="520"/>
                    </a:lnTo>
                    <a:lnTo>
                      <a:pt x="355" y="522"/>
                    </a:lnTo>
                    <a:lnTo>
                      <a:pt x="357" y="522"/>
                    </a:lnTo>
                    <a:lnTo>
                      <a:pt x="357" y="525"/>
                    </a:lnTo>
                    <a:lnTo>
                      <a:pt x="355" y="522"/>
                    </a:lnTo>
                    <a:lnTo>
                      <a:pt x="352" y="522"/>
                    </a:lnTo>
                    <a:lnTo>
                      <a:pt x="355" y="525"/>
                    </a:lnTo>
                    <a:lnTo>
                      <a:pt x="355" y="525"/>
                    </a:lnTo>
                    <a:lnTo>
                      <a:pt x="352" y="525"/>
                    </a:lnTo>
                    <a:lnTo>
                      <a:pt x="352" y="527"/>
                    </a:lnTo>
                    <a:lnTo>
                      <a:pt x="350" y="527"/>
                    </a:lnTo>
                    <a:lnTo>
                      <a:pt x="350" y="529"/>
                    </a:lnTo>
                    <a:lnTo>
                      <a:pt x="350" y="529"/>
                    </a:lnTo>
                    <a:lnTo>
                      <a:pt x="350" y="532"/>
                    </a:lnTo>
                    <a:lnTo>
                      <a:pt x="350" y="532"/>
                    </a:lnTo>
                    <a:lnTo>
                      <a:pt x="350" y="532"/>
                    </a:lnTo>
                    <a:lnTo>
                      <a:pt x="348" y="534"/>
                    </a:lnTo>
                    <a:lnTo>
                      <a:pt x="348" y="534"/>
                    </a:lnTo>
                    <a:lnTo>
                      <a:pt x="345" y="534"/>
                    </a:lnTo>
                    <a:lnTo>
                      <a:pt x="345" y="537"/>
                    </a:lnTo>
                    <a:lnTo>
                      <a:pt x="343" y="537"/>
                    </a:lnTo>
                    <a:lnTo>
                      <a:pt x="343" y="537"/>
                    </a:lnTo>
                    <a:lnTo>
                      <a:pt x="343" y="537"/>
                    </a:lnTo>
                    <a:lnTo>
                      <a:pt x="338" y="537"/>
                    </a:lnTo>
                    <a:lnTo>
                      <a:pt x="338" y="539"/>
                    </a:lnTo>
                    <a:lnTo>
                      <a:pt x="338" y="539"/>
                    </a:lnTo>
                    <a:lnTo>
                      <a:pt x="338" y="541"/>
                    </a:lnTo>
                    <a:lnTo>
                      <a:pt x="341" y="544"/>
                    </a:lnTo>
                    <a:lnTo>
                      <a:pt x="338" y="544"/>
                    </a:lnTo>
                    <a:lnTo>
                      <a:pt x="338" y="546"/>
                    </a:lnTo>
                    <a:lnTo>
                      <a:pt x="341" y="546"/>
                    </a:lnTo>
                    <a:lnTo>
                      <a:pt x="341" y="546"/>
                    </a:lnTo>
                    <a:lnTo>
                      <a:pt x="341" y="546"/>
                    </a:lnTo>
                    <a:lnTo>
                      <a:pt x="341" y="546"/>
                    </a:lnTo>
                    <a:lnTo>
                      <a:pt x="341" y="548"/>
                    </a:lnTo>
                    <a:lnTo>
                      <a:pt x="338" y="548"/>
                    </a:lnTo>
                    <a:lnTo>
                      <a:pt x="338" y="551"/>
                    </a:lnTo>
                    <a:lnTo>
                      <a:pt x="338" y="551"/>
                    </a:lnTo>
                    <a:lnTo>
                      <a:pt x="341" y="551"/>
                    </a:lnTo>
                    <a:lnTo>
                      <a:pt x="343" y="553"/>
                    </a:lnTo>
                    <a:lnTo>
                      <a:pt x="343" y="553"/>
                    </a:lnTo>
                    <a:lnTo>
                      <a:pt x="345" y="553"/>
                    </a:lnTo>
                    <a:lnTo>
                      <a:pt x="348" y="553"/>
                    </a:lnTo>
                    <a:lnTo>
                      <a:pt x="348" y="555"/>
                    </a:lnTo>
                    <a:lnTo>
                      <a:pt x="350" y="555"/>
                    </a:lnTo>
                    <a:lnTo>
                      <a:pt x="350" y="558"/>
                    </a:lnTo>
                    <a:lnTo>
                      <a:pt x="350" y="560"/>
                    </a:lnTo>
                    <a:lnTo>
                      <a:pt x="350" y="560"/>
                    </a:lnTo>
                    <a:lnTo>
                      <a:pt x="350" y="560"/>
                    </a:lnTo>
                    <a:lnTo>
                      <a:pt x="352" y="563"/>
                    </a:lnTo>
                    <a:lnTo>
                      <a:pt x="352" y="563"/>
                    </a:lnTo>
                    <a:lnTo>
                      <a:pt x="350" y="565"/>
                    </a:lnTo>
                    <a:lnTo>
                      <a:pt x="350" y="567"/>
                    </a:lnTo>
                    <a:lnTo>
                      <a:pt x="350" y="567"/>
                    </a:lnTo>
                    <a:lnTo>
                      <a:pt x="350" y="572"/>
                    </a:lnTo>
                    <a:lnTo>
                      <a:pt x="348" y="572"/>
                    </a:lnTo>
                    <a:lnTo>
                      <a:pt x="350" y="572"/>
                    </a:lnTo>
                    <a:lnTo>
                      <a:pt x="348" y="574"/>
                    </a:lnTo>
                    <a:lnTo>
                      <a:pt x="348" y="574"/>
                    </a:lnTo>
                    <a:lnTo>
                      <a:pt x="350" y="574"/>
                    </a:lnTo>
                    <a:lnTo>
                      <a:pt x="352" y="574"/>
                    </a:lnTo>
                    <a:lnTo>
                      <a:pt x="355" y="574"/>
                    </a:lnTo>
                    <a:lnTo>
                      <a:pt x="357" y="574"/>
                    </a:lnTo>
                    <a:lnTo>
                      <a:pt x="357" y="577"/>
                    </a:lnTo>
                    <a:lnTo>
                      <a:pt x="357" y="579"/>
                    </a:lnTo>
                    <a:lnTo>
                      <a:pt x="357" y="579"/>
                    </a:lnTo>
                    <a:lnTo>
                      <a:pt x="357" y="581"/>
                    </a:lnTo>
                    <a:lnTo>
                      <a:pt x="359" y="581"/>
                    </a:lnTo>
                    <a:lnTo>
                      <a:pt x="359" y="581"/>
                    </a:lnTo>
                    <a:lnTo>
                      <a:pt x="362" y="584"/>
                    </a:lnTo>
                    <a:lnTo>
                      <a:pt x="364" y="581"/>
                    </a:lnTo>
                    <a:lnTo>
                      <a:pt x="367" y="581"/>
                    </a:lnTo>
                    <a:lnTo>
                      <a:pt x="364" y="584"/>
                    </a:lnTo>
                    <a:lnTo>
                      <a:pt x="367" y="584"/>
                    </a:lnTo>
                    <a:lnTo>
                      <a:pt x="367" y="584"/>
                    </a:lnTo>
                    <a:lnTo>
                      <a:pt x="367" y="586"/>
                    </a:lnTo>
                    <a:lnTo>
                      <a:pt x="367" y="588"/>
                    </a:lnTo>
                    <a:lnTo>
                      <a:pt x="367" y="591"/>
                    </a:lnTo>
                    <a:lnTo>
                      <a:pt x="367" y="591"/>
                    </a:lnTo>
                    <a:lnTo>
                      <a:pt x="367" y="593"/>
                    </a:lnTo>
                    <a:lnTo>
                      <a:pt x="367" y="593"/>
                    </a:lnTo>
                    <a:lnTo>
                      <a:pt x="367" y="596"/>
                    </a:lnTo>
                    <a:lnTo>
                      <a:pt x="364" y="598"/>
                    </a:lnTo>
                    <a:lnTo>
                      <a:pt x="362" y="600"/>
                    </a:lnTo>
                    <a:lnTo>
                      <a:pt x="362" y="603"/>
                    </a:lnTo>
                    <a:lnTo>
                      <a:pt x="359" y="603"/>
                    </a:lnTo>
                    <a:lnTo>
                      <a:pt x="359" y="605"/>
                    </a:lnTo>
                    <a:lnTo>
                      <a:pt x="362" y="605"/>
                    </a:lnTo>
                    <a:lnTo>
                      <a:pt x="362" y="607"/>
                    </a:lnTo>
                    <a:lnTo>
                      <a:pt x="359" y="607"/>
                    </a:lnTo>
                    <a:lnTo>
                      <a:pt x="359" y="607"/>
                    </a:lnTo>
                    <a:lnTo>
                      <a:pt x="359" y="610"/>
                    </a:lnTo>
                    <a:lnTo>
                      <a:pt x="359" y="610"/>
                    </a:lnTo>
                    <a:lnTo>
                      <a:pt x="352" y="610"/>
                    </a:lnTo>
                    <a:lnTo>
                      <a:pt x="352" y="612"/>
                    </a:lnTo>
                    <a:lnTo>
                      <a:pt x="355" y="612"/>
                    </a:lnTo>
                    <a:lnTo>
                      <a:pt x="355" y="614"/>
                    </a:lnTo>
                    <a:lnTo>
                      <a:pt x="352" y="617"/>
                    </a:lnTo>
                    <a:lnTo>
                      <a:pt x="352" y="617"/>
                    </a:lnTo>
                    <a:lnTo>
                      <a:pt x="352" y="619"/>
                    </a:lnTo>
                    <a:lnTo>
                      <a:pt x="352" y="619"/>
                    </a:lnTo>
                    <a:lnTo>
                      <a:pt x="352" y="619"/>
                    </a:lnTo>
                    <a:lnTo>
                      <a:pt x="352" y="622"/>
                    </a:lnTo>
                    <a:lnTo>
                      <a:pt x="352" y="622"/>
                    </a:lnTo>
                    <a:lnTo>
                      <a:pt x="352" y="624"/>
                    </a:lnTo>
                    <a:lnTo>
                      <a:pt x="352" y="624"/>
                    </a:lnTo>
                    <a:lnTo>
                      <a:pt x="352" y="624"/>
                    </a:lnTo>
                    <a:lnTo>
                      <a:pt x="350" y="626"/>
                    </a:lnTo>
                    <a:lnTo>
                      <a:pt x="348" y="626"/>
                    </a:lnTo>
                    <a:lnTo>
                      <a:pt x="345" y="626"/>
                    </a:lnTo>
                    <a:lnTo>
                      <a:pt x="345" y="626"/>
                    </a:lnTo>
                    <a:lnTo>
                      <a:pt x="345" y="629"/>
                    </a:lnTo>
                    <a:lnTo>
                      <a:pt x="343" y="631"/>
                    </a:lnTo>
                    <a:lnTo>
                      <a:pt x="343" y="631"/>
                    </a:lnTo>
                    <a:lnTo>
                      <a:pt x="343" y="633"/>
                    </a:lnTo>
                    <a:lnTo>
                      <a:pt x="343" y="633"/>
                    </a:lnTo>
                    <a:lnTo>
                      <a:pt x="341" y="633"/>
                    </a:lnTo>
                    <a:lnTo>
                      <a:pt x="343" y="633"/>
                    </a:lnTo>
                    <a:lnTo>
                      <a:pt x="341" y="636"/>
                    </a:lnTo>
                    <a:lnTo>
                      <a:pt x="341" y="636"/>
                    </a:lnTo>
                    <a:lnTo>
                      <a:pt x="341" y="636"/>
                    </a:lnTo>
                    <a:lnTo>
                      <a:pt x="338" y="636"/>
                    </a:lnTo>
                    <a:lnTo>
                      <a:pt x="338" y="638"/>
                    </a:lnTo>
                    <a:lnTo>
                      <a:pt x="336" y="636"/>
                    </a:lnTo>
                    <a:lnTo>
                      <a:pt x="336" y="638"/>
                    </a:lnTo>
                    <a:lnTo>
                      <a:pt x="336" y="638"/>
                    </a:lnTo>
                    <a:lnTo>
                      <a:pt x="333" y="638"/>
                    </a:lnTo>
                    <a:lnTo>
                      <a:pt x="331" y="638"/>
                    </a:lnTo>
                    <a:lnTo>
                      <a:pt x="331" y="638"/>
                    </a:lnTo>
                    <a:lnTo>
                      <a:pt x="331" y="638"/>
                    </a:lnTo>
                    <a:lnTo>
                      <a:pt x="331" y="638"/>
                    </a:lnTo>
                    <a:lnTo>
                      <a:pt x="331" y="640"/>
                    </a:lnTo>
                    <a:lnTo>
                      <a:pt x="331" y="643"/>
                    </a:lnTo>
                    <a:lnTo>
                      <a:pt x="331" y="645"/>
                    </a:lnTo>
                    <a:lnTo>
                      <a:pt x="329" y="645"/>
                    </a:lnTo>
                    <a:lnTo>
                      <a:pt x="329" y="645"/>
                    </a:lnTo>
                    <a:lnTo>
                      <a:pt x="326" y="645"/>
                    </a:lnTo>
                    <a:lnTo>
                      <a:pt x="324" y="643"/>
                    </a:lnTo>
                    <a:lnTo>
                      <a:pt x="324" y="645"/>
                    </a:lnTo>
                    <a:lnTo>
                      <a:pt x="324" y="648"/>
                    </a:lnTo>
                    <a:lnTo>
                      <a:pt x="322" y="648"/>
                    </a:lnTo>
                    <a:lnTo>
                      <a:pt x="322" y="648"/>
                    </a:lnTo>
                    <a:lnTo>
                      <a:pt x="319" y="648"/>
                    </a:lnTo>
                    <a:lnTo>
                      <a:pt x="319" y="650"/>
                    </a:lnTo>
                    <a:lnTo>
                      <a:pt x="319" y="650"/>
                    </a:lnTo>
                    <a:lnTo>
                      <a:pt x="317" y="648"/>
                    </a:lnTo>
                    <a:lnTo>
                      <a:pt x="317" y="650"/>
                    </a:lnTo>
                    <a:lnTo>
                      <a:pt x="315" y="650"/>
                    </a:lnTo>
                    <a:lnTo>
                      <a:pt x="315" y="650"/>
                    </a:lnTo>
                    <a:lnTo>
                      <a:pt x="315" y="652"/>
                    </a:lnTo>
                    <a:lnTo>
                      <a:pt x="315" y="652"/>
                    </a:lnTo>
                    <a:lnTo>
                      <a:pt x="315" y="655"/>
                    </a:lnTo>
                    <a:lnTo>
                      <a:pt x="315" y="657"/>
                    </a:lnTo>
                    <a:lnTo>
                      <a:pt x="315" y="657"/>
                    </a:lnTo>
                    <a:lnTo>
                      <a:pt x="312" y="659"/>
                    </a:lnTo>
                    <a:lnTo>
                      <a:pt x="312" y="659"/>
                    </a:lnTo>
                    <a:lnTo>
                      <a:pt x="312" y="662"/>
                    </a:lnTo>
                    <a:lnTo>
                      <a:pt x="312" y="662"/>
                    </a:lnTo>
                    <a:lnTo>
                      <a:pt x="312" y="662"/>
                    </a:lnTo>
                    <a:lnTo>
                      <a:pt x="310" y="662"/>
                    </a:lnTo>
                    <a:lnTo>
                      <a:pt x="307" y="662"/>
                    </a:lnTo>
                    <a:lnTo>
                      <a:pt x="307" y="659"/>
                    </a:lnTo>
                    <a:lnTo>
                      <a:pt x="307" y="657"/>
                    </a:lnTo>
                    <a:lnTo>
                      <a:pt x="305" y="657"/>
                    </a:lnTo>
                    <a:lnTo>
                      <a:pt x="305" y="657"/>
                    </a:lnTo>
                    <a:lnTo>
                      <a:pt x="303" y="657"/>
                    </a:lnTo>
                    <a:lnTo>
                      <a:pt x="300" y="659"/>
                    </a:lnTo>
                    <a:lnTo>
                      <a:pt x="296" y="662"/>
                    </a:lnTo>
                    <a:lnTo>
                      <a:pt x="296" y="662"/>
                    </a:lnTo>
                    <a:lnTo>
                      <a:pt x="298" y="659"/>
                    </a:lnTo>
                    <a:lnTo>
                      <a:pt x="296" y="657"/>
                    </a:lnTo>
                    <a:lnTo>
                      <a:pt x="296" y="657"/>
                    </a:lnTo>
                    <a:lnTo>
                      <a:pt x="296" y="652"/>
                    </a:lnTo>
                    <a:lnTo>
                      <a:pt x="296" y="652"/>
                    </a:lnTo>
                    <a:lnTo>
                      <a:pt x="296" y="650"/>
                    </a:lnTo>
                    <a:lnTo>
                      <a:pt x="293" y="648"/>
                    </a:lnTo>
                    <a:lnTo>
                      <a:pt x="291" y="645"/>
                    </a:lnTo>
                    <a:lnTo>
                      <a:pt x="291" y="645"/>
                    </a:lnTo>
                    <a:lnTo>
                      <a:pt x="286" y="645"/>
                    </a:lnTo>
                    <a:lnTo>
                      <a:pt x="284" y="643"/>
                    </a:lnTo>
                    <a:lnTo>
                      <a:pt x="281" y="640"/>
                    </a:lnTo>
                    <a:lnTo>
                      <a:pt x="279" y="643"/>
                    </a:lnTo>
                    <a:lnTo>
                      <a:pt x="279" y="643"/>
                    </a:lnTo>
                    <a:lnTo>
                      <a:pt x="277" y="643"/>
                    </a:lnTo>
                    <a:lnTo>
                      <a:pt x="277" y="643"/>
                    </a:lnTo>
                    <a:lnTo>
                      <a:pt x="277" y="643"/>
                    </a:lnTo>
                    <a:lnTo>
                      <a:pt x="277" y="640"/>
                    </a:lnTo>
                    <a:lnTo>
                      <a:pt x="277" y="638"/>
                    </a:lnTo>
                    <a:lnTo>
                      <a:pt x="274" y="638"/>
                    </a:lnTo>
                    <a:lnTo>
                      <a:pt x="274" y="638"/>
                    </a:lnTo>
                    <a:lnTo>
                      <a:pt x="274" y="636"/>
                    </a:lnTo>
                    <a:lnTo>
                      <a:pt x="272" y="638"/>
                    </a:lnTo>
                    <a:lnTo>
                      <a:pt x="270" y="638"/>
                    </a:lnTo>
                    <a:lnTo>
                      <a:pt x="270" y="636"/>
                    </a:lnTo>
                    <a:lnTo>
                      <a:pt x="270" y="636"/>
                    </a:lnTo>
                    <a:lnTo>
                      <a:pt x="270" y="633"/>
                    </a:lnTo>
                    <a:lnTo>
                      <a:pt x="270" y="631"/>
                    </a:lnTo>
                    <a:lnTo>
                      <a:pt x="272" y="629"/>
                    </a:lnTo>
                    <a:lnTo>
                      <a:pt x="274" y="629"/>
                    </a:lnTo>
                    <a:lnTo>
                      <a:pt x="272" y="629"/>
                    </a:lnTo>
                    <a:lnTo>
                      <a:pt x="272" y="629"/>
                    </a:lnTo>
                    <a:lnTo>
                      <a:pt x="270" y="629"/>
                    </a:lnTo>
                    <a:lnTo>
                      <a:pt x="270" y="626"/>
                    </a:lnTo>
                    <a:lnTo>
                      <a:pt x="267" y="622"/>
                    </a:lnTo>
                    <a:lnTo>
                      <a:pt x="267" y="622"/>
                    </a:lnTo>
                    <a:lnTo>
                      <a:pt x="267" y="619"/>
                    </a:lnTo>
                    <a:lnTo>
                      <a:pt x="263" y="617"/>
                    </a:lnTo>
                    <a:lnTo>
                      <a:pt x="260" y="614"/>
                    </a:lnTo>
                    <a:lnTo>
                      <a:pt x="258" y="612"/>
                    </a:lnTo>
                    <a:lnTo>
                      <a:pt x="258" y="612"/>
                    </a:lnTo>
                    <a:lnTo>
                      <a:pt x="255" y="612"/>
                    </a:lnTo>
                    <a:lnTo>
                      <a:pt x="251" y="610"/>
                    </a:lnTo>
                    <a:lnTo>
                      <a:pt x="251" y="610"/>
                    </a:lnTo>
                    <a:lnTo>
                      <a:pt x="248" y="610"/>
                    </a:lnTo>
                    <a:lnTo>
                      <a:pt x="246" y="607"/>
                    </a:lnTo>
                    <a:lnTo>
                      <a:pt x="246" y="605"/>
                    </a:lnTo>
                    <a:lnTo>
                      <a:pt x="244" y="605"/>
                    </a:lnTo>
                    <a:lnTo>
                      <a:pt x="241" y="605"/>
                    </a:lnTo>
                    <a:lnTo>
                      <a:pt x="239" y="600"/>
                    </a:lnTo>
                    <a:lnTo>
                      <a:pt x="237" y="600"/>
                    </a:lnTo>
                    <a:lnTo>
                      <a:pt x="234" y="598"/>
                    </a:lnTo>
                    <a:lnTo>
                      <a:pt x="232" y="596"/>
                    </a:lnTo>
                    <a:lnTo>
                      <a:pt x="232" y="596"/>
                    </a:lnTo>
                    <a:lnTo>
                      <a:pt x="232" y="593"/>
                    </a:lnTo>
                    <a:lnTo>
                      <a:pt x="230" y="593"/>
                    </a:lnTo>
                    <a:lnTo>
                      <a:pt x="227" y="593"/>
                    </a:lnTo>
                    <a:lnTo>
                      <a:pt x="225" y="591"/>
                    </a:lnTo>
                    <a:lnTo>
                      <a:pt x="222" y="591"/>
                    </a:lnTo>
                    <a:lnTo>
                      <a:pt x="220" y="591"/>
                    </a:lnTo>
                    <a:lnTo>
                      <a:pt x="218" y="591"/>
                    </a:lnTo>
                    <a:lnTo>
                      <a:pt x="213" y="593"/>
                    </a:lnTo>
                    <a:lnTo>
                      <a:pt x="208" y="593"/>
                    </a:lnTo>
                    <a:lnTo>
                      <a:pt x="206" y="593"/>
                    </a:lnTo>
                    <a:lnTo>
                      <a:pt x="204" y="593"/>
                    </a:lnTo>
                    <a:lnTo>
                      <a:pt x="204" y="593"/>
                    </a:lnTo>
                    <a:lnTo>
                      <a:pt x="201" y="593"/>
                    </a:lnTo>
                    <a:lnTo>
                      <a:pt x="199" y="593"/>
                    </a:lnTo>
                    <a:lnTo>
                      <a:pt x="194" y="596"/>
                    </a:lnTo>
                    <a:lnTo>
                      <a:pt x="194" y="593"/>
                    </a:lnTo>
                    <a:lnTo>
                      <a:pt x="192" y="593"/>
                    </a:lnTo>
                    <a:lnTo>
                      <a:pt x="187" y="600"/>
                    </a:lnTo>
                    <a:lnTo>
                      <a:pt x="185" y="603"/>
                    </a:lnTo>
                    <a:lnTo>
                      <a:pt x="180" y="600"/>
                    </a:lnTo>
                    <a:lnTo>
                      <a:pt x="178" y="603"/>
                    </a:lnTo>
                    <a:lnTo>
                      <a:pt x="173" y="603"/>
                    </a:lnTo>
                    <a:lnTo>
                      <a:pt x="163" y="605"/>
                    </a:lnTo>
                    <a:lnTo>
                      <a:pt x="149" y="607"/>
                    </a:lnTo>
                    <a:lnTo>
                      <a:pt x="147" y="603"/>
                    </a:lnTo>
                    <a:lnTo>
                      <a:pt x="147" y="600"/>
                    </a:lnTo>
                    <a:lnTo>
                      <a:pt x="144" y="600"/>
                    </a:lnTo>
                    <a:lnTo>
                      <a:pt x="140" y="600"/>
                    </a:lnTo>
                    <a:lnTo>
                      <a:pt x="135" y="600"/>
                    </a:lnTo>
                    <a:lnTo>
                      <a:pt x="128" y="600"/>
                    </a:lnTo>
                    <a:lnTo>
                      <a:pt x="118" y="600"/>
                    </a:lnTo>
                    <a:lnTo>
                      <a:pt x="111" y="603"/>
                    </a:lnTo>
                    <a:lnTo>
                      <a:pt x="114" y="596"/>
                    </a:lnTo>
                    <a:lnTo>
                      <a:pt x="111" y="593"/>
                    </a:lnTo>
                    <a:lnTo>
                      <a:pt x="116" y="591"/>
                    </a:lnTo>
                    <a:lnTo>
                      <a:pt x="116" y="591"/>
                    </a:lnTo>
                    <a:lnTo>
                      <a:pt x="116" y="586"/>
                    </a:lnTo>
                    <a:lnTo>
                      <a:pt x="116" y="579"/>
                    </a:lnTo>
                    <a:lnTo>
                      <a:pt x="118" y="574"/>
                    </a:lnTo>
                    <a:lnTo>
                      <a:pt x="118" y="574"/>
                    </a:lnTo>
                    <a:lnTo>
                      <a:pt x="118" y="572"/>
                    </a:lnTo>
                    <a:lnTo>
                      <a:pt x="121" y="567"/>
                    </a:lnTo>
                    <a:lnTo>
                      <a:pt x="118" y="565"/>
                    </a:lnTo>
                    <a:lnTo>
                      <a:pt x="121" y="563"/>
                    </a:lnTo>
                    <a:lnTo>
                      <a:pt x="121" y="563"/>
                    </a:lnTo>
                    <a:lnTo>
                      <a:pt x="123" y="560"/>
                    </a:lnTo>
                    <a:lnTo>
                      <a:pt x="126" y="558"/>
                    </a:lnTo>
                    <a:lnTo>
                      <a:pt x="126" y="555"/>
                    </a:lnTo>
                    <a:lnTo>
                      <a:pt x="128" y="555"/>
                    </a:lnTo>
                    <a:lnTo>
                      <a:pt x="128" y="553"/>
                    </a:lnTo>
                    <a:lnTo>
                      <a:pt x="126" y="553"/>
                    </a:lnTo>
                    <a:lnTo>
                      <a:pt x="126" y="553"/>
                    </a:lnTo>
                    <a:lnTo>
                      <a:pt x="128" y="553"/>
                    </a:lnTo>
                    <a:lnTo>
                      <a:pt x="128" y="553"/>
                    </a:lnTo>
                    <a:lnTo>
                      <a:pt x="130" y="551"/>
                    </a:lnTo>
                    <a:lnTo>
                      <a:pt x="130" y="551"/>
                    </a:lnTo>
                    <a:lnTo>
                      <a:pt x="128" y="551"/>
                    </a:lnTo>
                    <a:lnTo>
                      <a:pt x="128" y="544"/>
                    </a:lnTo>
                    <a:lnTo>
                      <a:pt x="128" y="541"/>
                    </a:lnTo>
                    <a:lnTo>
                      <a:pt x="126" y="537"/>
                    </a:lnTo>
                    <a:lnTo>
                      <a:pt x="128" y="537"/>
                    </a:lnTo>
                    <a:lnTo>
                      <a:pt x="128" y="532"/>
                    </a:lnTo>
                    <a:lnTo>
                      <a:pt x="128" y="532"/>
                    </a:lnTo>
                    <a:lnTo>
                      <a:pt x="130" y="532"/>
                    </a:lnTo>
                    <a:lnTo>
                      <a:pt x="130" y="529"/>
                    </a:lnTo>
                    <a:lnTo>
                      <a:pt x="133" y="527"/>
                    </a:lnTo>
                    <a:lnTo>
                      <a:pt x="133" y="527"/>
                    </a:lnTo>
                    <a:lnTo>
                      <a:pt x="135" y="525"/>
                    </a:lnTo>
                    <a:lnTo>
                      <a:pt x="135" y="525"/>
                    </a:lnTo>
                    <a:lnTo>
                      <a:pt x="133" y="525"/>
                    </a:lnTo>
                    <a:lnTo>
                      <a:pt x="130" y="525"/>
                    </a:lnTo>
                    <a:lnTo>
                      <a:pt x="128" y="527"/>
                    </a:lnTo>
                    <a:lnTo>
                      <a:pt x="128" y="527"/>
                    </a:lnTo>
                    <a:lnTo>
                      <a:pt x="126" y="525"/>
                    </a:lnTo>
                    <a:lnTo>
                      <a:pt x="126" y="522"/>
                    </a:lnTo>
                    <a:lnTo>
                      <a:pt x="126" y="522"/>
                    </a:lnTo>
                    <a:lnTo>
                      <a:pt x="123" y="520"/>
                    </a:lnTo>
                    <a:lnTo>
                      <a:pt x="123" y="518"/>
                    </a:lnTo>
                    <a:lnTo>
                      <a:pt x="121" y="518"/>
                    </a:lnTo>
                    <a:lnTo>
                      <a:pt x="121" y="515"/>
                    </a:lnTo>
                    <a:lnTo>
                      <a:pt x="118" y="515"/>
                    </a:lnTo>
                    <a:lnTo>
                      <a:pt x="116" y="515"/>
                    </a:lnTo>
                    <a:lnTo>
                      <a:pt x="109" y="515"/>
                    </a:lnTo>
                    <a:lnTo>
                      <a:pt x="104" y="513"/>
                    </a:lnTo>
                    <a:lnTo>
                      <a:pt x="104" y="513"/>
                    </a:lnTo>
                    <a:lnTo>
                      <a:pt x="102" y="511"/>
                    </a:lnTo>
                    <a:lnTo>
                      <a:pt x="100" y="508"/>
                    </a:lnTo>
                    <a:lnTo>
                      <a:pt x="92" y="508"/>
                    </a:lnTo>
                    <a:lnTo>
                      <a:pt x="90" y="506"/>
                    </a:lnTo>
                    <a:lnTo>
                      <a:pt x="88" y="506"/>
                    </a:lnTo>
                    <a:lnTo>
                      <a:pt x="90" y="501"/>
                    </a:lnTo>
                    <a:lnTo>
                      <a:pt x="90" y="501"/>
                    </a:lnTo>
                    <a:lnTo>
                      <a:pt x="88" y="499"/>
                    </a:lnTo>
                    <a:lnTo>
                      <a:pt x="88" y="499"/>
                    </a:lnTo>
                    <a:lnTo>
                      <a:pt x="85" y="494"/>
                    </a:lnTo>
                    <a:lnTo>
                      <a:pt x="81" y="489"/>
                    </a:lnTo>
                    <a:lnTo>
                      <a:pt x="81" y="487"/>
                    </a:lnTo>
                    <a:lnTo>
                      <a:pt x="81" y="485"/>
                    </a:lnTo>
                    <a:lnTo>
                      <a:pt x="81" y="482"/>
                    </a:lnTo>
                    <a:lnTo>
                      <a:pt x="81" y="480"/>
                    </a:lnTo>
                    <a:lnTo>
                      <a:pt x="81" y="475"/>
                    </a:lnTo>
                    <a:lnTo>
                      <a:pt x="81" y="470"/>
                    </a:lnTo>
                    <a:lnTo>
                      <a:pt x="81" y="470"/>
                    </a:lnTo>
                    <a:lnTo>
                      <a:pt x="81" y="468"/>
                    </a:lnTo>
                    <a:lnTo>
                      <a:pt x="83" y="463"/>
                    </a:lnTo>
                    <a:lnTo>
                      <a:pt x="83" y="463"/>
                    </a:lnTo>
                    <a:lnTo>
                      <a:pt x="83" y="461"/>
                    </a:lnTo>
                    <a:lnTo>
                      <a:pt x="83" y="461"/>
                    </a:lnTo>
                    <a:lnTo>
                      <a:pt x="81" y="459"/>
                    </a:lnTo>
                    <a:lnTo>
                      <a:pt x="81" y="459"/>
                    </a:lnTo>
                    <a:lnTo>
                      <a:pt x="78" y="459"/>
                    </a:lnTo>
                    <a:lnTo>
                      <a:pt x="76" y="454"/>
                    </a:lnTo>
                    <a:lnTo>
                      <a:pt x="74" y="449"/>
                    </a:lnTo>
                    <a:lnTo>
                      <a:pt x="74" y="447"/>
                    </a:lnTo>
                    <a:lnTo>
                      <a:pt x="74" y="442"/>
                    </a:lnTo>
                    <a:lnTo>
                      <a:pt x="74" y="442"/>
                    </a:lnTo>
                    <a:lnTo>
                      <a:pt x="74" y="442"/>
                    </a:lnTo>
                    <a:lnTo>
                      <a:pt x="74" y="440"/>
                    </a:lnTo>
                    <a:lnTo>
                      <a:pt x="74" y="437"/>
                    </a:lnTo>
                    <a:lnTo>
                      <a:pt x="74" y="433"/>
                    </a:lnTo>
                    <a:lnTo>
                      <a:pt x="71" y="428"/>
                    </a:lnTo>
                    <a:lnTo>
                      <a:pt x="69" y="426"/>
                    </a:lnTo>
                    <a:lnTo>
                      <a:pt x="67" y="426"/>
                    </a:lnTo>
                    <a:lnTo>
                      <a:pt x="67" y="426"/>
                    </a:lnTo>
                    <a:lnTo>
                      <a:pt x="67" y="426"/>
                    </a:lnTo>
                    <a:lnTo>
                      <a:pt x="67" y="423"/>
                    </a:lnTo>
                    <a:lnTo>
                      <a:pt x="69" y="421"/>
                    </a:lnTo>
                    <a:lnTo>
                      <a:pt x="69" y="418"/>
                    </a:lnTo>
                    <a:lnTo>
                      <a:pt x="69" y="418"/>
                    </a:lnTo>
                    <a:lnTo>
                      <a:pt x="71" y="416"/>
                    </a:lnTo>
                    <a:lnTo>
                      <a:pt x="71" y="409"/>
                    </a:lnTo>
                    <a:lnTo>
                      <a:pt x="67" y="407"/>
                    </a:lnTo>
                    <a:lnTo>
                      <a:pt x="69" y="404"/>
                    </a:lnTo>
                    <a:lnTo>
                      <a:pt x="67" y="400"/>
                    </a:lnTo>
                    <a:lnTo>
                      <a:pt x="67" y="397"/>
                    </a:lnTo>
                    <a:lnTo>
                      <a:pt x="67" y="392"/>
                    </a:lnTo>
                    <a:lnTo>
                      <a:pt x="67" y="390"/>
                    </a:lnTo>
                    <a:lnTo>
                      <a:pt x="64" y="385"/>
                    </a:lnTo>
                    <a:lnTo>
                      <a:pt x="67" y="385"/>
                    </a:lnTo>
                    <a:lnTo>
                      <a:pt x="64" y="381"/>
                    </a:lnTo>
                    <a:lnTo>
                      <a:pt x="64" y="378"/>
                    </a:lnTo>
                    <a:lnTo>
                      <a:pt x="62" y="376"/>
                    </a:lnTo>
                    <a:lnTo>
                      <a:pt x="64" y="376"/>
                    </a:lnTo>
                    <a:lnTo>
                      <a:pt x="67" y="376"/>
                    </a:lnTo>
                    <a:lnTo>
                      <a:pt x="67" y="374"/>
                    </a:lnTo>
                    <a:lnTo>
                      <a:pt x="67" y="369"/>
                    </a:lnTo>
                    <a:lnTo>
                      <a:pt x="67" y="369"/>
                    </a:lnTo>
                    <a:lnTo>
                      <a:pt x="67" y="366"/>
                    </a:lnTo>
                    <a:lnTo>
                      <a:pt x="67" y="362"/>
                    </a:lnTo>
                    <a:lnTo>
                      <a:pt x="64" y="362"/>
                    </a:lnTo>
                    <a:lnTo>
                      <a:pt x="64" y="359"/>
                    </a:lnTo>
                    <a:lnTo>
                      <a:pt x="62" y="357"/>
                    </a:lnTo>
                    <a:lnTo>
                      <a:pt x="64" y="357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52"/>
                    </a:lnTo>
                    <a:lnTo>
                      <a:pt x="64" y="352"/>
                    </a:lnTo>
                    <a:lnTo>
                      <a:pt x="64" y="350"/>
                    </a:lnTo>
                    <a:lnTo>
                      <a:pt x="64" y="350"/>
                    </a:lnTo>
                    <a:lnTo>
                      <a:pt x="64" y="348"/>
                    </a:lnTo>
                    <a:lnTo>
                      <a:pt x="64" y="348"/>
                    </a:lnTo>
                    <a:lnTo>
                      <a:pt x="62" y="348"/>
                    </a:lnTo>
                    <a:lnTo>
                      <a:pt x="62" y="345"/>
                    </a:lnTo>
                    <a:lnTo>
                      <a:pt x="62" y="343"/>
                    </a:lnTo>
                    <a:lnTo>
                      <a:pt x="62" y="343"/>
                    </a:lnTo>
                    <a:lnTo>
                      <a:pt x="64" y="343"/>
                    </a:lnTo>
                    <a:lnTo>
                      <a:pt x="67" y="343"/>
                    </a:lnTo>
                    <a:lnTo>
                      <a:pt x="64" y="340"/>
                    </a:lnTo>
                    <a:lnTo>
                      <a:pt x="64" y="338"/>
                    </a:lnTo>
                    <a:lnTo>
                      <a:pt x="62" y="336"/>
                    </a:lnTo>
                    <a:lnTo>
                      <a:pt x="64" y="333"/>
                    </a:lnTo>
                    <a:lnTo>
                      <a:pt x="64" y="333"/>
                    </a:lnTo>
                    <a:lnTo>
                      <a:pt x="67" y="331"/>
                    </a:lnTo>
                    <a:lnTo>
                      <a:pt x="67" y="329"/>
                    </a:lnTo>
                    <a:lnTo>
                      <a:pt x="64" y="329"/>
                    </a:lnTo>
                    <a:lnTo>
                      <a:pt x="64" y="326"/>
                    </a:lnTo>
                    <a:lnTo>
                      <a:pt x="64" y="326"/>
                    </a:lnTo>
                    <a:lnTo>
                      <a:pt x="64" y="324"/>
                    </a:lnTo>
                    <a:lnTo>
                      <a:pt x="67" y="324"/>
                    </a:lnTo>
                    <a:lnTo>
                      <a:pt x="64" y="322"/>
                    </a:lnTo>
                    <a:lnTo>
                      <a:pt x="64" y="322"/>
                    </a:lnTo>
                    <a:lnTo>
                      <a:pt x="62" y="322"/>
                    </a:lnTo>
                    <a:lnTo>
                      <a:pt x="64" y="319"/>
                    </a:lnTo>
                    <a:lnTo>
                      <a:pt x="64" y="314"/>
                    </a:lnTo>
                    <a:lnTo>
                      <a:pt x="64" y="312"/>
                    </a:lnTo>
                    <a:lnTo>
                      <a:pt x="64" y="312"/>
                    </a:lnTo>
                    <a:lnTo>
                      <a:pt x="62" y="312"/>
                    </a:lnTo>
                    <a:lnTo>
                      <a:pt x="62" y="312"/>
                    </a:lnTo>
                    <a:lnTo>
                      <a:pt x="59" y="307"/>
                    </a:lnTo>
                    <a:lnTo>
                      <a:pt x="57" y="307"/>
                    </a:lnTo>
                    <a:lnTo>
                      <a:pt x="57" y="310"/>
                    </a:lnTo>
                    <a:lnTo>
                      <a:pt x="57" y="307"/>
                    </a:lnTo>
                    <a:lnTo>
                      <a:pt x="52" y="305"/>
                    </a:lnTo>
                    <a:lnTo>
                      <a:pt x="52" y="303"/>
                    </a:lnTo>
                    <a:lnTo>
                      <a:pt x="52" y="303"/>
                    </a:lnTo>
                    <a:lnTo>
                      <a:pt x="50" y="300"/>
                    </a:lnTo>
                    <a:lnTo>
                      <a:pt x="50" y="300"/>
                    </a:lnTo>
                    <a:lnTo>
                      <a:pt x="48" y="303"/>
                    </a:lnTo>
                    <a:lnTo>
                      <a:pt x="45" y="300"/>
                    </a:lnTo>
                    <a:lnTo>
                      <a:pt x="45" y="298"/>
                    </a:lnTo>
                    <a:lnTo>
                      <a:pt x="43" y="298"/>
                    </a:lnTo>
                    <a:lnTo>
                      <a:pt x="43" y="298"/>
                    </a:lnTo>
                    <a:lnTo>
                      <a:pt x="43" y="298"/>
                    </a:lnTo>
                    <a:lnTo>
                      <a:pt x="43" y="296"/>
                    </a:lnTo>
                    <a:lnTo>
                      <a:pt x="38" y="296"/>
                    </a:lnTo>
                    <a:lnTo>
                      <a:pt x="38" y="293"/>
                    </a:lnTo>
                    <a:lnTo>
                      <a:pt x="38" y="289"/>
                    </a:lnTo>
                    <a:lnTo>
                      <a:pt x="38" y="289"/>
                    </a:lnTo>
                    <a:lnTo>
                      <a:pt x="38" y="286"/>
                    </a:lnTo>
                    <a:lnTo>
                      <a:pt x="36" y="286"/>
                    </a:lnTo>
                    <a:lnTo>
                      <a:pt x="36" y="289"/>
                    </a:lnTo>
                    <a:lnTo>
                      <a:pt x="31" y="281"/>
                    </a:lnTo>
                    <a:lnTo>
                      <a:pt x="29" y="281"/>
                    </a:lnTo>
                    <a:lnTo>
                      <a:pt x="29" y="284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6" y="281"/>
                    </a:lnTo>
                    <a:lnTo>
                      <a:pt x="26" y="281"/>
                    </a:lnTo>
                    <a:lnTo>
                      <a:pt x="26" y="279"/>
                    </a:lnTo>
                    <a:lnTo>
                      <a:pt x="24" y="277"/>
                    </a:lnTo>
                    <a:lnTo>
                      <a:pt x="26" y="274"/>
                    </a:lnTo>
                    <a:lnTo>
                      <a:pt x="22" y="272"/>
                    </a:lnTo>
                    <a:lnTo>
                      <a:pt x="24" y="270"/>
                    </a:lnTo>
                    <a:lnTo>
                      <a:pt x="24" y="265"/>
                    </a:lnTo>
                    <a:lnTo>
                      <a:pt x="26" y="265"/>
                    </a:lnTo>
                    <a:lnTo>
                      <a:pt x="26" y="265"/>
                    </a:lnTo>
                    <a:lnTo>
                      <a:pt x="26" y="260"/>
                    </a:lnTo>
                    <a:lnTo>
                      <a:pt x="29" y="260"/>
                    </a:lnTo>
                    <a:lnTo>
                      <a:pt x="29" y="260"/>
                    </a:lnTo>
                    <a:lnTo>
                      <a:pt x="24" y="258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55"/>
                    </a:lnTo>
                    <a:lnTo>
                      <a:pt x="24" y="255"/>
                    </a:lnTo>
                    <a:lnTo>
                      <a:pt x="26" y="253"/>
                    </a:lnTo>
                    <a:lnTo>
                      <a:pt x="29" y="251"/>
                    </a:lnTo>
                    <a:lnTo>
                      <a:pt x="33" y="246"/>
                    </a:lnTo>
                    <a:lnTo>
                      <a:pt x="31" y="244"/>
                    </a:lnTo>
                    <a:lnTo>
                      <a:pt x="29" y="241"/>
                    </a:lnTo>
                    <a:lnTo>
                      <a:pt x="26" y="239"/>
                    </a:lnTo>
                    <a:lnTo>
                      <a:pt x="26" y="239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4" y="234"/>
                    </a:lnTo>
                    <a:lnTo>
                      <a:pt x="24" y="232"/>
                    </a:lnTo>
                    <a:lnTo>
                      <a:pt x="24" y="232"/>
                    </a:lnTo>
                    <a:lnTo>
                      <a:pt x="26" y="232"/>
                    </a:lnTo>
                    <a:lnTo>
                      <a:pt x="26" y="229"/>
                    </a:lnTo>
                    <a:lnTo>
                      <a:pt x="29" y="229"/>
                    </a:lnTo>
                    <a:lnTo>
                      <a:pt x="29" y="227"/>
                    </a:lnTo>
                    <a:lnTo>
                      <a:pt x="31" y="225"/>
                    </a:lnTo>
                    <a:lnTo>
                      <a:pt x="31" y="222"/>
                    </a:lnTo>
                    <a:lnTo>
                      <a:pt x="33" y="220"/>
                    </a:lnTo>
                    <a:lnTo>
                      <a:pt x="33" y="215"/>
                    </a:lnTo>
                    <a:lnTo>
                      <a:pt x="33" y="215"/>
                    </a:lnTo>
                    <a:lnTo>
                      <a:pt x="33" y="213"/>
                    </a:lnTo>
                    <a:lnTo>
                      <a:pt x="33" y="208"/>
                    </a:lnTo>
                    <a:lnTo>
                      <a:pt x="33" y="208"/>
                    </a:lnTo>
                    <a:lnTo>
                      <a:pt x="36" y="206"/>
                    </a:lnTo>
                    <a:lnTo>
                      <a:pt x="38" y="203"/>
                    </a:lnTo>
                    <a:lnTo>
                      <a:pt x="38" y="201"/>
                    </a:lnTo>
                    <a:lnTo>
                      <a:pt x="38" y="201"/>
                    </a:lnTo>
                    <a:lnTo>
                      <a:pt x="38" y="199"/>
                    </a:lnTo>
                    <a:lnTo>
                      <a:pt x="38" y="189"/>
                    </a:lnTo>
                    <a:lnTo>
                      <a:pt x="43" y="182"/>
                    </a:lnTo>
                    <a:lnTo>
                      <a:pt x="43" y="180"/>
                    </a:lnTo>
                    <a:lnTo>
                      <a:pt x="41" y="180"/>
                    </a:lnTo>
                    <a:lnTo>
                      <a:pt x="38" y="177"/>
                    </a:lnTo>
                    <a:lnTo>
                      <a:pt x="38" y="177"/>
                    </a:lnTo>
                    <a:lnTo>
                      <a:pt x="36" y="175"/>
                    </a:lnTo>
                    <a:lnTo>
                      <a:pt x="38" y="173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41" y="166"/>
                    </a:lnTo>
                    <a:lnTo>
                      <a:pt x="41" y="163"/>
                    </a:lnTo>
                    <a:lnTo>
                      <a:pt x="38" y="163"/>
                    </a:lnTo>
                    <a:lnTo>
                      <a:pt x="36" y="163"/>
                    </a:lnTo>
                    <a:lnTo>
                      <a:pt x="33" y="161"/>
                    </a:lnTo>
                    <a:lnTo>
                      <a:pt x="33" y="161"/>
                    </a:lnTo>
                    <a:lnTo>
                      <a:pt x="31" y="161"/>
                    </a:lnTo>
                    <a:lnTo>
                      <a:pt x="31" y="161"/>
                    </a:lnTo>
                    <a:lnTo>
                      <a:pt x="31" y="161"/>
                    </a:lnTo>
                    <a:lnTo>
                      <a:pt x="29" y="161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1"/>
                    </a:lnTo>
                    <a:lnTo>
                      <a:pt x="22" y="163"/>
                    </a:lnTo>
                    <a:lnTo>
                      <a:pt x="22" y="163"/>
                    </a:lnTo>
                    <a:lnTo>
                      <a:pt x="22" y="161"/>
                    </a:lnTo>
                    <a:lnTo>
                      <a:pt x="24" y="161"/>
                    </a:lnTo>
                    <a:lnTo>
                      <a:pt x="24" y="159"/>
                    </a:lnTo>
                    <a:lnTo>
                      <a:pt x="22" y="156"/>
                    </a:lnTo>
                    <a:lnTo>
                      <a:pt x="24" y="156"/>
                    </a:lnTo>
                    <a:lnTo>
                      <a:pt x="24" y="156"/>
                    </a:lnTo>
                    <a:lnTo>
                      <a:pt x="24" y="156"/>
                    </a:lnTo>
                    <a:lnTo>
                      <a:pt x="24" y="154"/>
                    </a:lnTo>
                    <a:lnTo>
                      <a:pt x="26" y="154"/>
                    </a:lnTo>
                    <a:lnTo>
                      <a:pt x="26" y="149"/>
                    </a:lnTo>
                    <a:lnTo>
                      <a:pt x="26" y="147"/>
                    </a:lnTo>
                    <a:lnTo>
                      <a:pt x="24" y="144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0"/>
                    </a:lnTo>
                    <a:lnTo>
                      <a:pt x="22" y="140"/>
                    </a:lnTo>
                    <a:lnTo>
                      <a:pt x="19" y="140"/>
                    </a:lnTo>
                    <a:lnTo>
                      <a:pt x="19" y="137"/>
                    </a:lnTo>
                    <a:lnTo>
                      <a:pt x="19" y="135"/>
                    </a:lnTo>
                    <a:lnTo>
                      <a:pt x="19" y="135"/>
                    </a:lnTo>
                    <a:lnTo>
                      <a:pt x="19" y="135"/>
                    </a:lnTo>
                    <a:lnTo>
                      <a:pt x="17" y="137"/>
                    </a:lnTo>
                    <a:lnTo>
                      <a:pt x="17" y="135"/>
                    </a:lnTo>
                    <a:lnTo>
                      <a:pt x="22" y="130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2" y="123"/>
                    </a:lnTo>
                    <a:lnTo>
                      <a:pt x="22" y="121"/>
                    </a:lnTo>
                    <a:lnTo>
                      <a:pt x="24" y="121"/>
                    </a:lnTo>
                    <a:lnTo>
                      <a:pt x="24" y="121"/>
                    </a:lnTo>
                    <a:lnTo>
                      <a:pt x="22" y="118"/>
                    </a:lnTo>
                    <a:lnTo>
                      <a:pt x="19" y="118"/>
                    </a:lnTo>
                    <a:lnTo>
                      <a:pt x="17" y="118"/>
                    </a:lnTo>
                    <a:lnTo>
                      <a:pt x="17" y="118"/>
                    </a:lnTo>
                    <a:lnTo>
                      <a:pt x="12" y="118"/>
                    </a:lnTo>
                    <a:lnTo>
                      <a:pt x="12" y="116"/>
                    </a:lnTo>
                    <a:lnTo>
                      <a:pt x="10" y="116"/>
                    </a:lnTo>
                    <a:lnTo>
                      <a:pt x="12" y="114"/>
                    </a:lnTo>
                    <a:lnTo>
                      <a:pt x="12" y="109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7" y="102"/>
                    </a:lnTo>
                    <a:lnTo>
                      <a:pt x="7" y="102"/>
                    </a:lnTo>
                    <a:lnTo>
                      <a:pt x="7" y="102"/>
                    </a:lnTo>
                    <a:lnTo>
                      <a:pt x="7" y="100"/>
                    </a:lnTo>
                    <a:lnTo>
                      <a:pt x="12" y="100"/>
                    </a:lnTo>
                    <a:lnTo>
                      <a:pt x="12" y="97"/>
                    </a:lnTo>
                    <a:lnTo>
                      <a:pt x="12" y="92"/>
                    </a:lnTo>
                    <a:lnTo>
                      <a:pt x="15" y="92"/>
                    </a:lnTo>
                    <a:lnTo>
                      <a:pt x="17" y="92"/>
                    </a:lnTo>
                    <a:lnTo>
                      <a:pt x="15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0" y="81"/>
                    </a:lnTo>
                    <a:lnTo>
                      <a:pt x="5" y="81"/>
                    </a:lnTo>
                    <a:lnTo>
                      <a:pt x="5" y="78"/>
                    </a:lnTo>
                    <a:lnTo>
                      <a:pt x="3" y="78"/>
                    </a:lnTo>
                    <a:lnTo>
                      <a:pt x="3" y="76"/>
                    </a:lnTo>
                    <a:lnTo>
                      <a:pt x="3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3" y="74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4" name="Freeform 20"/>
              <p:cNvSpPr>
                <a:spLocks noEditPoints="1"/>
              </p:cNvSpPr>
              <p:nvPr/>
            </p:nvSpPr>
            <p:spPr bwMode="auto">
              <a:xfrm>
                <a:off x="5126981" y="1979424"/>
                <a:ext cx="936136" cy="1280413"/>
              </a:xfrm>
              <a:custGeom>
                <a:avLst/>
                <a:gdLst/>
                <a:ahLst/>
                <a:cxnLst>
                  <a:cxn ang="0">
                    <a:pos x="175" y="416"/>
                  </a:cxn>
                  <a:cxn ang="0">
                    <a:pos x="210" y="364"/>
                  </a:cxn>
                  <a:cxn ang="0">
                    <a:pos x="227" y="312"/>
                  </a:cxn>
                  <a:cxn ang="0">
                    <a:pos x="253" y="281"/>
                  </a:cxn>
                  <a:cxn ang="0">
                    <a:pos x="269" y="239"/>
                  </a:cxn>
                  <a:cxn ang="0">
                    <a:pos x="286" y="199"/>
                  </a:cxn>
                  <a:cxn ang="0">
                    <a:pos x="319" y="121"/>
                  </a:cxn>
                  <a:cxn ang="0">
                    <a:pos x="331" y="29"/>
                  </a:cxn>
                  <a:cxn ang="0">
                    <a:pos x="350" y="12"/>
                  </a:cxn>
                  <a:cxn ang="0">
                    <a:pos x="361" y="19"/>
                  </a:cxn>
                  <a:cxn ang="0">
                    <a:pos x="369" y="19"/>
                  </a:cxn>
                  <a:cxn ang="0">
                    <a:pos x="387" y="14"/>
                  </a:cxn>
                  <a:cxn ang="0">
                    <a:pos x="387" y="33"/>
                  </a:cxn>
                  <a:cxn ang="0">
                    <a:pos x="392" y="43"/>
                  </a:cxn>
                  <a:cxn ang="0">
                    <a:pos x="404" y="31"/>
                  </a:cxn>
                  <a:cxn ang="0">
                    <a:pos x="411" y="47"/>
                  </a:cxn>
                  <a:cxn ang="0">
                    <a:pos x="418" y="66"/>
                  </a:cxn>
                  <a:cxn ang="0">
                    <a:pos x="430" y="40"/>
                  </a:cxn>
                  <a:cxn ang="0">
                    <a:pos x="425" y="71"/>
                  </a:cxn>
                  <a:cxn ang="0">
                    <a:pos x="430" y="90"/>
                  </a:cxn>
                  <a:cxn ang="0">
                    <a:pos x="458" y="66"/>
                  </a:cxn>
                  <a:cxn ang="0">
                    <a:pos x="465" y="50"/>
                  </a:cxn>
                  <a:cxn ang="0">
                    <a:pos x="494" y="50"/>
                  </a:cxn>
                  <a:cxn ang="0">
                    <a:pos x="503" y="78"/>
                  </a:cxn>
                  <a:cxn ang="0">
                    <a:pos x="513" y="81"/>
                  </a:cxn>
                  <a:cxn ang="0">
                    <a:pos x="501" y="102"/>
                  </a:cxn>
                  <a:cxn ang="0">
                    <a:pos x="522" y="102"/>
                  </a:cxn>
                  <a:cxn ang="0">
                    <a:pos x="536" y="121"/>
                  </a:cxn>
                  <a:cxn ang="0">
                    <a:pos x="550" y="180"/>
                  </a:cxn>
                  <a:cxn ang="0">
                    <a:pos x="588" y="187"/>
                  </a:cxn>
                  <a:cxn ang="0">
                    <a:pos x="758" y="201"/>
                  </a:cxn>
                  <a:cxn ang="0">
                    <a:pos x="841" y="215"/>
                  </a:cxn>
                  <a:cxn ang="0">
                    <a:pos x="855" y="288"/>
                  </a:cxn>
                  <a:cxn ang="0">
                    <a:pos x="782" y="331"/>
                  </a:cxn>
                  <a:cxn ang="0">
                    <a:pos x="744" y="449"/>
                  </a:cxn>
                  <a:cxn ang="0">
                    <a:pos x="735" y="577"/>
                  </a:cxn>
                  <a:cxn ang="0">
                    <a:pos x="746" y="683"/>
                  </a:cxn>
                  <a:cxn ang="0">
                    <a:pos x="666" y="754"/>
                  </a:cxn>
                  <a:cxn ang="0">
                    <a:pos x="581" y="763"/>
                  </a:cxn>
                  <a:cxn ang="0">
                    <a:pos x="489" y="834"/>
                  </a:cxn>
                  <a:cxn ang="0">
                    <a:pos x="413" y="877"/>
                  </a:cxn>
                  <a:cxn ang="0">
                    <a:pos x="387" y="959"/>
                  </a:cxn>
                  <a:cxn ang="0">
                    <a:pos x="350" y="1032"/>
                  </a:cxn>
                  <a:cxn ang="0">
                    <a:pos x="373" y="1106"/>
                  </a:cxn>
                  <a:cxn ang="0">
                    <a:pos x="357" y="1198"/>
                  </a:cxn>
                  <a:cxn ang="0">
                    <a:pos x="267" y="1139"/>
                  </a:cxn>
                  <a:cxn ang="0">
                    <a:pos x="241" y="1066"/>
                  </a:cxn>
                  <a:cxn ang="0">
                    <a:pos x="220" y="1035"/>
                  </a:cxn>
                  <a:cxn ang="0">
                    <a:pos x="231" y="988"/>
                  </a:cxn>
                  <a:cxn ang="0">
                    <a:pos x="260" y="955"/>
                  </a:cxn>
                  <a:cxn ang="0">
                    <a:pos x="250" y="903"/>
                  </a:cxn>
                  <a:cxn ang="0">
                    <a:pos x="208" y="905"/>
                  </a:cxn>
                  <a:cxn ang="0">
                    <a:pos x="182" y="865"/>
                  </a:cxn>
                  <a:cxn ang="0">
                    <a:pos x="128" y="808"/>
                  </a:cxn>
                  <a:cxn ang="0">
                    <a:pos x="168" y="655"/>
                  </a:cxn>
                  <a:cxn ang="0">
                    <a:pos x="24" y="553"/>
                  </a:cxn>
                  <a:cxn ang="0">
                    <a:pos x="508" y="83"/>
                  </a:cxn>
                  <a:cxn ang="0">
                    <a:pos x="484" y="45"/>
                  </a:cxn>
                  <a:cxn ang="0">
                    <a:pos x="503" y="69"/>
                  </a:cxn>
                  <a:cxn ang="0">
                    <a:pos x="600" y="177"/>
                  </a:cxn>
                  <a:cxn ang="0">
                    <a:pos x="465" y="45"/>
                  </a:cxn>
                  <a:cxn ang="0">
                    <a:pos x="480" y="45"/>
                  </a:cxn>
                  <a:cxn ang="0">
                    <a:pos x="503" y="64"/>
                  </a:cxn>
                </a:cxnLst>
                <a:rect l="0" t="0" r="r" b="b"/>
                <a:pathLst>
                  <a:path w="881" h="1205">
                    <a:moveTo>
                      <a:pt x="0" y="562"/>
                    </a:moveTo>
                    <a:lnTo>
                      <a:pt x="24" y="543"/>
                    </a:lnTo>
                    <a:lnTo>
                      <a:pt x="35" y="534"/>
                    </a:lnTo>
                    <a:lnTo>
                      <a:pt x="38" y="532"/>
                    </a:lnTo>
                    <a:lnTo>
                      <a:pt x="40" y="532"/>
                    </a:lnTo>
                    <a:lnTo>
                      <a:pt x="38" y="529"/>
                    </a:lnTo>
                    <a:lnTo>
                      <a:pt x="40" y="527"/>
                    </a:lnTo>
                    <a:lnTo>
                      <a:pt x="40" y="527"/>
                    </a:lnTo>
                    <a:lnTo>
                      <a:pt x="43" y="529"/>
                    </a:lnTo>
                    <a:lnTo>
                      <a:pt x="45" y="527"/>
                    </a:lnTo>
                    <a:lnTo>
                      <a:pt x="68" y="508"/>
                    </a:lnTo>
                    <a:lnTo>
                      <a:pt x="71" y="506"/>
                    </a:lnTo>
                    <a:lnTo>
                      <a:pt x="85" y="494"/>
                    </a:lnTo>
                    <a:lnTo>
                      <a:pt x="87" y="494"/>
                    </a:lnTo>
                    <a:lnTo>
                      <a:pt x="92" y="489"/>
                    </a:lnTo>
                    <a:lnTo>
                      <a:pt x="102" y="480"/>
                    </a:lnTo>
                    <a:lnTo>
                      <a:pt x="118" y="468"/>
                    </a:lnTo>
                    <a:lnTo>
                      <a:pt x="120" y="466"/>
                    </a:lnTo>
                    <a:lnTo>
                      <a:pt x="120" y="463"/>
                    </a:lnTo>
                    <a:lnTo>
                      <a:pt x="125" y="463"/>
                    </a:lnTo>
                    <a:lnTo>
                      <a:pt x="125" y="463"/>
                    </a:lnTo>
                    <a:lnTo>
                      <a:pt x="128" y="466"/>
                    </a:lnTo>
                    <a:lnTo>
                      <a:pt x="128" y="466"/>
                    </a:lnTo>
                    <a:lnTo>
                      <a:pt x="130" y="466"/>
                    </a:lnTo>
                    <a:lnTo>
                      <a:pt x="130" y="466"/>
                    </a:lnTo>
                    <a:lnTo>
                      <a:pt x="132" y="466"/>
                    </a:lnTo>
                    <a:lnTo>
                      <a:pt x="135" y="468"/>
                    </a:lnTo>
                    <a:lnTo>
                      <a:pt x="139" y="463"/>
                    </a:lnTo>
                    <a:lnTo>
                      <a:pt x="139" y="461"/>
                    </a:lnTo>
                    <a:lnTo>
                      <a:pt x="142" y="461"/>
                    </a:lnTo>
                    <a:lnTo>
                      <a:pt x="144" y="461"/>
                    </a:lnTo>
                    <a:lnTo>
                      <a:pt x="144" y="458"/>
                    </a:lnTo>
                    <a:lnTo>
                      <a:pt x="149" y="454"/>
                    </a:lnTo>
                    <a:lnTo>
                      <a:pt x="149" y="449"/>
                    </a:lnTo>
                    <a:lnTo>
                      <a:pt x="154" y="444"/>
                    </a:lnTo>
                    <a:lnTo>
                      <a:pt x="156" y="442"/>
                    </a:lnTo>
                    <a:lnTo>
                      <a:pt x="158" y="440"/>
                    </a:lnTo>
                    <a:lnTo>
                      <a:pt x="158" y="440"/>
                    </a:lnTo>
                    <a:lnTo>
                      <a:pt x="158" y="437"/>
                    </a:lnTo>
                    <a:lnTo>
                      <a:pt x="158" y="435"/>
                    </a:lnTo>
                    <a:lnTo>
                      <a:pt x="161" y="432"/>
                    </a:lnTo>
                    <a:lnTo>
                      <a:pt x="161" y="432"/>
                    </a:lnTo>
                    <a:lnTo>
                      <a:pt x="161" y="432"/>
                    </a:lnTo>
                    <a:lnTo>
                      <a:pt x="161" y="430"/>
                    </a:lnTo>
                    <a:lnTo>
                      <a:pt x="163" y="430"/>
                    </a:lnTo>
                    <a:lnTo>
                      <a:pt x="161" y="428"/>
                    </a:lnTo>
                    <a:lnTo>
                      <a:pt x="165" y="425"/>
                    </a:lnTo>
                    <a:lnTo>
                      <a:pt x="165" y="425"/>
                    </a:lnTo>
                    <a:lnTo>
                      <a:pt x="165" y="425"/>
                    </a:lnTo>
                    <a:lnTo>
                      <a:pt x="168" y="425"/>
                    </a:lnTo>
                    <a:lnTo>
                      <a:pt x="168" y="423"/>
                    </a:lnTo>
                    <a:lnTo>
                      <a:pt x="168" y="423"/>
                    </a:lnTo>
                    <a:lnTo>
                      <a:pt x="170" y="423"/>
                    </a:lnTo>
                    <a:lnTo>
                      <a:pt x="170" y="423"/>
                    </a:lnTo>
                    <a:lnTo>
                      <a:pt x="172" y="421"/>
                    </a:lnTo>
                    <a:lnTo>
                      <a:pt x="172" y="421"/>
                    </a:lnTo>
                    <a:lnTo>
                      <a:pt x="175" y="421"/>
                    </a:lnTo>
                    <a:lnTo>
                      <a:pt x="172" y="416"/>
                    </a:lnTo>
                    <a:lnTo>
                      <a:pt x="175" y="416"/>
                    </a:lnTo>
                    <a:lnTo>
                      <a:pt x="175" y="416"/>
                    </a:lnTo>
                    <a:lnTo>
                      <a:pt x="175" y="414"/>
                    </a:lnTo>
                    <a:lnTo>
                      <a:pt x="175" y="414"/>
                    </a:lnTo>
                    <a:lnTo>
                      <a:pt x="175" y="411"/>
                    </a:lnTo>
                    <a:lnTo>
                      <a:pt x="175" y="411"/>
                    </a:lnTo>
                    <a:lnTo>
                      <a:pt x="177" y="411"/>
                    </a:lnTo>
                    <a:lnTo>
                      <a:pt x="177" y="411"/>
                    </a:lnTo>
                    <a:lnTo>
                      <a:pt x="177" y="411"/>
                    </a:lnTo>
                    <a:lnTo>
                      <a:pt x="177" y="409"/>
                    </a:lnTo>
                    <a:lnTo>
                      <a:pt x="177" y="406"/>
                    </a:lnTo>
                    <a:lnTo>
                      <a:pt x="177" y="406"/>
                    </a:lnTo>
                    <a:lnTo>
                      <a:pt x="177" y="406"/>
                    </a:lnTo>
                    <a:lnTo>
                      <a:pt x="177" y="404"/>
                    </a:lnTo>
                    <a:lnTo>
                      <a:pt x="177" y="402"/>
                    </a:lnTo>
                    <a:lnTo>
                      <a:pt x="177" y="402"/>
                    </a:lnTo>
                    <a:lnTo>
                      <a:pt x="177" y="399"/>
                    </a:lnTo>
                    <a:lnTo>
                      <a:pt x="180" y="399"/>
                    </a:lnTo>
                    <a:lnTo>
                      <a:pt x="180" y="397"/>
                    </a:lnTo>
                    <a:lnTo>
                      <a:pt x="180" y="397"/>
                    </a:lnTo>
                    <a:lnTo>
                      <a:pt x="180" y="397"/>
                    </a:lnTo>
                    <a:lnTo>
                      <a:pt x="180" y="395"/>
                    </a:lnTo>
                    <a:lnTo>
                      <a:pt x="182" y="395"/>
                    </a:lnTo>
                    <a:lnTo>
                      <a:pt x="182" y="395"/>
                    </a:lnTo>
                    <a:lnTo>
                      <a:pt x="182" y="395"/>
                    </a:lnTo>
                    <a:lnTo>
                      <a:pt x="182" y="395"/>
                    </a:lnTo>
                    <a:lnTo>
                      <a:pt x="182" y="395"/>
                    </a:lnTo>
                    <a:lnTo>
                      <a:pt x="184" y="395"/>
                    </a:lnTo>
                    <a:lnTo>
                      <a:pt x="184" y="392"/>
                    </a:lnTo>
                    <a:lnTo>
                      <a:pt x="184" y="392"/>
                    </a:lnTo>
                    <a:lnTo>
                      <a:pt x="184" y="392"/>
                    </a:lnTo>
                    <a:lnTo>
                      <a:pt x="187" y="390"/>
                    </a:lnTo>
                    <a:lnTo>
                      <a:pt x="187" y="390"/>
                    </a:lnTo>
                    <a:lnTo>
                      <a:pt x="187" y="390"/>
                    </a:lnTo>
                    <a:lnTo>
                      <a:pt x="191" y="388"/>
                    </a:lnTo>
                    <a:lnTo>
                      <a:pt x="191" y="388"/>
                    </a:lnTo>
                    <a:lnTo>
                      <a:pt x="194" y="388"/>
                    </a:lnTo>
                    <a:lnTo>
                      <a:pt x="194" y="388"/>
                    </a:lnTo>
                    <a:lnTo>
                      <a:pt x="194" y="385"/>
                    </a:lnTo>
                    <a:lnTo>
                      <a:pt x="196" y="385"/>
                    </a:lnTo>
                    <a:lnTo>
                      <a:pt x="196" y="383"/>
                    </a:lnTo>
                    <a:lnTo>
                      <a:pt x="198" y="385"/>
                    </a:lnTo>
                    <a:lnTo>
                      <a:pt x="198" y="383"/>
                    </a:lnTo>
                    <a:lnTo>
                      <a:pt x="198" y="383"/>
                    </a:lnTo>
                    <a:lnTo>
                      <a:pt x="198" y="380"/>
                    </a:lnTo>
                    <a:lnTo>
                      <a:pt x="198" y="380"/>
                    </a:lnTo>
                    <a:lnTo>
                      <a:pt x="198" y="380"/>
                    </a:lnTo>
                    <a:lnTo>
                      <a:pt x="201" y="378"/>
                    </a:lnTo>
                    <a:lnTo>
                      <a:pt x="201" y="376"/>
                    </a:lnTo>
                    <a:lnTo>
                      <a:pt x="201" y="376"/>
                    </a:lnTo>
                    <a:lnTo>
                      <a:pt x="203" y="373"/>
                    </a:lnTo>
                    <a:lnTo>
                      <a:pt x="203" y="376"/>
                    </a:lnTo>
                    <a:lnTo>
                      <a:pt x="203" y="373"/>
                    </a:lnTo>
                    <a:lnTo>
                      <a:pt x="203" y="371"/>
                    </a:lnTo>
                    <a:lnTo>
                      <a:pt x="206" y="371"/>
                    </a:lnTo>
                    <a:lnTo>
                      <a:pt x="206" y="371"/>
                    </a:lnTo>
                    <a:lnTo>
                      <a:pt x="208" y="371"/>
                    </a:lnTo>
                    <a:lnTo>
                      <a:pt x="208" y="371"/>
                    </a:lnTo>
                    <a:lnTo>
                      <a:pt x="208" y="369"/>
                    </a:lnTo>
                    <a:lnTo>
                      <a:pt x="210" y="369"/>
                    </a:lnTo>
                    <a:lnTo>
                      <a:pt x="210" y="366"/>
                    </a:lnTo>
                    <a:lnTo>
                      <a:pt x="210" y="364"/>
                    </a:lnTo>
                    <a:lnTo>
                      <a:pt x="213" y="364"/>
                    </a:lnTo>
                    <a:lnTo>
                      <a:pt x="213" y="362"/>
                    </a:lnTo>
                    <a:lnTo>
                      <a:pt x="213" y="362"/>
                    </a:lnTo>
                    <a:lnTo>
                      <a:pt x="213" y="359"/>
                    </a:lnTo>
                    <a:lnTo>
                      <a:pt x="213" y="359"/>
                    </a:lnTo>
                    <a:lnTo>
                      <a:pt x="213" y="357"/>
                    </a:lnTo>
                    <a:lnTo>
                      <a:pt x="213" y="357"/>
                    </a:lnTo>
                    <a:lnTo>
                      <a:pt x="215" y="355"/>
                    </a:lnTo>
                    <a:lnTo>
                      <a:pt x="215" y="352"/>
                    </a:lnTo>
                    <a:lnTo>
                      <a:pt x="213" y="352"/>
                    </a:lnTo>
                    <a:lnTo>
                      <a:pt x="215" y="350"/>
                    </a:lnTo>
                    <a:lnTo>
                      <a:pt x="215" y="350"/>
                    </a:lnTo>
                    <a:lnTo>
                      <a:pt x="215" y="345"/>
                    </a:lnTo>
                    <a:lnTo>
                      <a:pt x="217" y="343"/>
                    </a:lnTo>
                    <a:lnTo>
                      <a:pt x="217" y="343"/>
                    </a:lnTo>
                    <a:lnTo>
                      <a:pt x="215" y="343"/>
                    </a:lnTo>
                    <a:lnTo>
                      <a:pt x="215" y="343"/>
                    </a:lnTo>
                    <a:lnTo>
                      <a:pt x="215" y="343"/>
                    </a:lnTo>
                    <a:lnTo>
                      <a:pt x="215" y="340"/>
                    </a:lnTo>
                    <a:lnTo>
                      <a:pt x="215" y="340"/>
                    </a:lnTo>
                    <a:lnTo>
                      <a:pt x="217" y="340"/>
                    </a:lnTo>
                    <a:lnTo>
                      <a:pt x="215" y="340"/>
                    </a:lnTo>
                    <a:lnTo>
                      <a:pt x="217" y="340"/>
                    </a:lnTo>
                    <a:lnTo>
                      <a:pt x="215" y="340"/>
                    </a:lnTo>
                    <a:lnTo>
                      <a:pt x="217" y="338"/>
                    </a:lnTo>
                    <a:lnTo>
                      <a:pt x="215" y="338"/>
                    </a:lnTo>
                    <a:lnTo>
                      <a:pt x="217" y="338"/>
                    </a:lnTo>
                    <a:lnTo>
                      <a:pt x="217" y="336"/>
                    </a:lnTo>
                    <a:lnTo>
                      <a:pt x="217" y="336"/>
                    </a:lnTo>
                    <a:lnTo>
                      <a:pt x="217" y="333"/>
                    </a:lnTo>
                    <a:lnTo>
                      <a:pt x="217" y="333"/>
                    </a:lnTo>
                    <a:lnTo>
                      <a:pt x="217" y="331"/>
                    </a:lnTo>
                    <a:lnTo>
                      <a:pt x="217" y="331"/>
                    </a:lnTo>
                    <a:lnTo>
                      <a:pt x="217" y="331"/>
                    </a:lnTo>
                    <a:lnTo>
                      <a:pt x="217" y="331"/>
                    </a:lnTo>
                    <a:lnTo>
                      <a:pt x="220" y="331"/>
                    </a:lnTo>
                    <a:lnTo>
                      <a:pt x="220" y="329"/>
                    </a:lnTo>
                    <a:lnTo>
                      <a:pt x="220" y="329"/>
                    </a:lnTo>
                    <a:lnTo>
                      <a:pt x="220" y="326"/>
                    </a:lnTo>
                    <a:lnTo>
                      <a:pt x="222" y="326"/>
                    </a:lnTo>
                    <a:lnTo>
                      <a:pt x="222" y="326"/>
                    </a:lnTo>
                    <a:lnTo>
                      <a:pt x="224" y="324"/>
                    </a:lnTo>
                    <a:lnTo>
                      <a:pt x="224" y="324"/>
                    </a:lnTo>
                    <a:lnTo>
                      <a:pt x="227" y="324"/>
                    </a:lnTo>
                    <a:lnTo>
                      <a:pt x="224" y="321"/>
                    </a:lnTo>
                    <a:lnTo>
                      <a:pt x="224" y="321"/>
                    </a:lnTo>
                    <a:lnTo>
                      <a:pt x="227" y="321"/>
                    </a:lnTo>
                    <a:lnTo>
                      <a:pt x="227" y="321"/>
                    </a:lnTo>
                    <a:lnTo>
                      <a:pt x="227" y="321"/>
                    </a:lnTo>
                    <a:lnTo>
                      <a:pt x="227" y="317"/>
                    </a:lnTo>
                    <a:lnTo>
                      <a:pt x="229" y="319"/>
                    </a:lnTo>
                    <a:lnTo>
                      <a:pt x="229" y="317"/>
                    </a:lnTo>
                    <a:lnTo>
                      <a:pt x="227" y="317"/>
                    </a:lnTo>
                    <a:lnTo>
                      <a:pt x="227" y="317"/>
                    </a:lnTo>
                    <a:lnTo>
                      <a:pt x="229" y="317"/>
                    </a:lnTo>
                    <a:lnTo>
                      <a:pt x="227" y="314"/>
                    </a:lnTo>
                    <a:lnTo>
                      <a:pt x="229" y="314"/>
                    </a:lnTo>
                    <a:lnTo>
                      <a:pt x="229" y="314"/>
                    </a:lnTo>
                    <a:lnTo>
                      <a:pt x="227" y="314"/>
                    </a:lnTo>
                    <a:lnTo>
                      <a:pt x="227" y="312"/>
                    </a:lnTo>
                    <a:lnTo>
                      <a:pt x="229" y="312"/>
                    </a:lnTo>
                    <a:lnTo>
                      <a:pt x="229" y="312"/>
                    </a:lnTo>
                    <a:lnTo>
                      <a:pt x="229" y="312"/>
                    </a:lnTo>
                    <a:lnTo>
                      <a:pt x="229" y="312"/>
                    </a:lnTo>
                    <a:lnTo>
                      <a:pt x="229" y="310"/>
                    </a:lnTo>
                    <a:lnTo>
                      <a:pt x="229" y="307"/>
                    </a:lnTo>
                    <a:lnTo>
                      <a:pt x="229" y="307"/>
                    </a:lnTo>
                    <a:lnTo>
                      <a:pt x="229" y="307"/>
                    </a:lnTo>
                    <a:lnTo>
                      <a:pt x="229" y="305"/>
                    </a:lnTo>
                    <a:lnTo>
                      <a:pt x="229" y="305"/>
                    </a:lnTo>
                    <a:lnTo>
                      <a:pt x="231" y="305"/>
                    </a:lnTo>
                    <a:lnTo>
                      <a:pt x="231" y="305"/>
                    </a:lnTo>
                    <a:lnTo>
                      <a:pt x="231" y="305"/>
                    </a:lnTo>
                    <a:lnTo>
                      <a:pt x="231" y="305"/>
                    </a:lnTo>
                    <a:lnTo>
                      <a:pt x="231" y="303"/>
                    </a:lnTo>
                    <a:lnTo>
                      <a:pt x="234" y="305"/>
                    </a:lnTo>
                    <a:lnTo>
                      <a:pt x="234" y="303"/>
                    </a:lnTo>
                    <a:lnTo>
                      <a:pt x="234" y="303"/>
                    </a:lnTo>
                    <a:lnTo>
                      <a:pt x="234" y="303"/>
                    </a:lnTo>
                    <a:lnTo>
                      <a:pt x="234" y="303"/>
                    </a:lnTo>
                    <a:lnTo>
                      <a:pt x="236" y="300"/>
                    </a:lnTo>
                    <a:lnTo>
                      <a:pt x="236" y="300"/>
                    </a:lnTo>
                    <a:lnTo>
                      <a:pt x="236" y="300"/>
                    </a:lnTo>
                    <a:lnTo>
                      <a:pt x="236" y="303"/>
                    </a:lnTo>
                    <a:lnTo>
                      <a:pt x="239" y="300"/>
                    </a:lnTo>
                    <a:lnTo>
                      <a:pt x="239" y="300"/>
                    </a:lnTo>
                    <a:lnTo>
                      <a:pt x="239" y="298"/>
                    </a:lnTo>
                    <a:lnTo>
                      <a:pt x="239" y="298"/>
                    </a:lnTo>
                    <a:lnTo>
                      <a:pt x="239" y="300"/>
                    </a:lnTo>
                    <a:lnTo>
                      <a:pt x="241" y="300"/>
                    </a:lnTo>
                    <a:lnTo>
                      <a:pt x="241" y="300"/>
                    </a:lnTo>
                    <a:lnTo>
                      <a:pt x="241" y="298"/>
                    </a:lnTo>
                    <a:lnTo>
                      <a:pt x="241" y="298"/>
                    </a:lnTo>
                    <a:lnTo>
                      <a:pt x="243" y="298"/>
                    </a:lnTo>
                    <a:lnTo>
                      <a:pt x="243" y="298"/>
                    </a:lnTo>
                    <a:lnTo>
                      <a:pt x="246" y="298"/>
                    </a:lnTo>
                    <a:lnTo>
                      <a:pt x="246" y="295"/>
                    </a:lnTo>
                    <a:lnTo>
                      <a:pt x="243" y="295"/>
                    </a:lnTo>
                    <a:lnTo>
                      <a:pt x="246" y="293"/>
                    </a:lnTo>
                    <a:lnTo>
                      <a:pt x="243" y="291"/>
                    </a:lnTo>
                    <a:lnTo>
                      <a:pt x="246" y="291"/>
                    </a:lnTo>
                    <a:lnTo>
                      <a:pt x="246" y="291"/>
                    </a:lnTo>
                    <a:lnTo>
                      <a:pt x="246" y="291"/>
                    </a:lnTo>
                    <a:lnTo>
                      <a:pt x="246" y="288"/>
                    </a:lnTo>
                    <a:lnTo>
                      <a:pt x="248" y="286"/>
                    </a:lnTo>
                    <a:lnTo>
                      <a:pt x="248" y="288"/>
                    </a:lnTo>
                    <a:lnTo>
                      <a:pt x="248" y="288"/>
                    </a:lnTo>
                    <a:lnTo>
                      <a:pt x="250" y="286"/>
                    </a:lnTo>
                    <a:lnTo>
                      <a:pt x="248" y="286"/>
                    </a:lnTo>
                    <a:lnTo>
                      <a:pt x="250" y="284"/>
                    </a:lnTo>
                    <a:lnTo>
                      <a:pt x="250" y="284"/>
                    </a:lnTo>
                    <a:lnTo>
                      <a:pt x="253" y="286"/>
                    </a:lnTo>
                    <a:lnTo>
                      <a:pt x="253" y="284"/>
                    </a:lnTo>
                    <a:lnTo>
                      <a:pt x="253" y="284"/>
                    </a:lnTo>
                    <a:lnTo>
                      <a:pt x="250" y="284"/>
                    </a:lnTo>
                    <a:lnTo>
                      <a:pt x="253" y="281"/>
                    </a:lnTo>
                    <a:lnTo>
                      <a:pt x="253" y="281"/>
                    </a:lnTo>
                    <a:lnTo>
                      <a:pt x="250" y="279"/>
                    </a:lnTo>
                    <a:lnTo>
                      <a:pt x="250" y="279"/>
                    </a:lnTo>
                    <a:lnTo>
                      <a:pt x="253" y="281"/>
                    </a:lnTo>
                    <a:lnTo>
                      <a:pt x="255" y="279"/>
                    </a:lnTo>
                    <a:lnTo>
                      <a:pt x="253" y="277"/>
                    </a:lnTo>
                    <a:lnTo>
                      <a:pt x="255" y="277"/>
                    </a:lnTo>
                    <a:lnTo>
                      <a:pt x="255" y="277"/>
                    </a:lnTo>
                    <a:lnTo>
                      <a:pt x="257" y="277"/>
                    </a:lnTo>
                    <a:lnTo>
                      <a:pt x="255" y="274"/>
                    </a:lnTo>
                    <a:lnTo>
                      <a:pt x="255" y="274"/>
                    </a:lnTo>
                    <a:lnTo>
                      <a:pt x="255" y="274"/>
                    </a:lnTo>
                    <a:lnTo>
                      <a:pt x="253" y="272"/>
                    </a:lnTo>
                    <a:lnTo>
                      <a:pt x="255" y="272"/>
                    </a:lnTo>
                    <a:lnTo>
                      <a:pt x="255" y="272"/>
                    </a:lnTo>
                    <a:lnTo>
                      <a:pt x="255" y="272"/>
                    </a:lnTo>
                    <a:lnTo>
                      <a:pt x="257" y="269"/>
                    </a:lnTo>
                    <a:lnTo>
                      <a:pt x="257" y="269"/>
                    </a:lnTo>
                    <a:lnTo>
                      <a:pt x="257" y="274"/>
                    </a:lnTo>
                    <a:lnTo>
                      <a:pt x="257" y="274"/>
                    </a:lnTo>
                    <a:lnTo>
                      <a:pt x="260" y="272"/>
                    </a:lnTo>
                    <a:lnTo>
                      <a:pt x="257" y="269"/>
                    </a:lnTo>
                    <a:lnTo>
                      <a:pt x="260" y="267"/>
                    </a:lnTo>
                    <a:lnTo>
                      <a:pt x="262" y="269"/>
                    </a:lnTo>
                    <a:lnTo>
                      <a:pt x="262" y="267"/>
                    </a:lnTo>
                    <a:lnTo>
                      <a:pt x="262" y="265"/>
                    </a:lnTo>
                    <a:lnTo>
                      <a:pt x="262" y="265"/>
                    </a:lnTo>
                    <a:lnTo>
                      <a:pt x="262" y="260"/>
                    </a:lnTo>
                    <a:lnTo>
                      <a:pt x="265" y="260"/>
                    </a:lnTo>
                    <a:lnTo>
                      <a:pt x="262" y="260"/>
                    </a:lnTo>
                    <a:lnTo>
                      <a:pt x="265" y="258"/>
                    </a:lnTo>
                    <a:lnTo>
                      <a:pt x="262" y="258"/>
                    </a:lnTo>
                    <a:lnTo>
                      <a:pt x="262" y="255"/>
                    </a:lnTo>
                    <a:lnTo>
                      <a:pt x="265" y="255"/>
                    </a:lnTo>
                    <a:lnTo>
                      <a:pt x="265" y="255"/>
                    </a:lnTo>
                    <a:lnTo>
                      <a:pt x="267" y="255"/>
                    </a:lnTo>
                    <a:lnTo>
                      <a:pt x="265" y="253"/>
                    </a:lnTo>
                    <a:lnTo>
                      <a:pt x="265" y="253"/>
                    </a:lnTo>
                    <a:lnTo>
                      <a:pt x="265" y="253"/>
                    </a:lnTo>
                    <a:lnTo>
                      <a:pt x="267" y="253"/>
                    </a:lnTo>
                    <a:lnTo>
                      <a:pt x="267" y="251"/>
                    </a:lnTo>
                    <a:lnTo>
                      <a:pt x="265" y="251"/>
                    </a:lnTo>
                    <a:lnTo>
                      <a:pt x="265" y="251"/>
                    </a:lnTo>
                    <a:lnTo>
                      <a:pt x="265" y="248"/>
                    </a:lnTo>
                    <a:lnTo>
                      <a:pt x="265" y="248"/>
                    </a:lnTo>
                    <a:lnTo>
                      <a:pt x="265" y="248"/>
                    </a:lnTo>
                    <a:lnTo>
                      <a:pt x="265" y="246"/>
                    </a:lnTo>
                    <a:lnTo>
                      <a:pt x="265" y="246"/>
                    </a:lnTo>
                    <a:lnTo>
                      <a:pt x="265" y="243"/>
                    </a:lnTo>
                    <a:lnTo>
                      <a:pt x="265" y="243"/>
                    </a:lnTo>
                    <a:lnTo>
                      <a:pt x="262" y="241"/>
                    </a:lnTo>
                    <a:lnTo>
                      <a:pt x="262" y="241"/>
                    </a:lnTo>
                    <a:lnTo>
                      <a:pt x="262" y="241"/>
                    </a:lnTo>
                    <a:lnTo>
                      <a:pt x="265" y="241"/>
                    </a:lnTo>
                    <a:lnTo>
                      <a:pt x="265" y="241"/>
                    </a:lnTo>
                    <a:lnTo>
                      <a:pt x="267" y="241"/>
                    </a:lnTo>
                    <a:lnTo>
                      <a:pt x="267" y="241"/>
                    </a:lnTo>
                    <a:lnTo>
                      <a:pt x="267" y="239"/>
                    </a:lnTo>
                    <a:lnTo>
                      <a:pt x="267" y="239"/>
                    </a:lnTo>
                    <a:lnTo>
                      <a:pt x="267" y="239"/>
                    </a:lnTo>
                    <a:lnTo>
                      <a:pt x="267" y="239"/>
                    </a:lnTo>
                    <a:lnTo>
                      <a:pt x="267" y="236"/>
                    </a:lnTo>
                    <a:lnTo>
                      <a:pt x="267" y="236"/>
                    </a:lnTo>
                    <a:lnTo>
                      <a:pt x="269" y="239"/>
                    </a:lnTo>
                    <a:lnTo>
                      <a:pt x="272" y="236"/>
                    </a:lnTo>
                    <a:lnTo>
                      <a:pt x="269" y="236"/>
                    </a:lnTo>
                    <a:lnTo>
                      <a:pt x="269" y="234"/>
                    </a:lnTo>
                    <a:lnTo>
                      <a:pt x="269" y="234"/>
                    </a:lnTo>
                    <a:lnTo>
                      <a:pt x="269" y="234"/>
                    </a:lnTo>
                    <a:lnTo>
                      <a:pt x="272" y="234"/>
                    </a:lnTo>
                    <a:lnTo>
                      <a:pt x="274" y="236"/>
                    </a:lnTo>
                    <a:lnTo>
                      <a:pt x="274" y="234"/>
                    </a:lnTo>
                    <a:lnTo>
                      <a:pt x="276" y="234"/>
                    </a:lnTo>
                    <a:lnTo>
                      <a:pt x="274" y="234"/>
                    </a:lnTo>
                    <a:lnTo>
                      <a:pt x="274" y="234"/>
                    </a:lnTo>
                    <a:lnTo>
                      <a:pt x="274" y="234"/>
                    </a:lnTo>
                    <a:lnTo>
                      <a:pt x="274" y="234"/>
                    </a:lnTo>
                    <a:lnTo>
                      <a:pt x="274" y="234"/>
                    </a:lnTo>
                    <a:lnTo>
                      <a:pt x="274" y="234"/>
                    </a:lnTo>
                    <a:lnTo>
                      <a:pt x="274" y="232"/>
                    </a:lnTo>
                    <a:lnTo>
                      <a:pt x="272" y="232"/>
                    </a:lnTo>
                    <a:lnTo>
                      <a:pt x="272" y="232"/>
                    </a:lnTo>
                    <a:lnTo>
                      <a:pt x="272" y="229"/>
                    </a:lnTo>
                    <a:lnTo>
                      <a:pt x="272" y="229"/>
                    </a:lnTo>
                    <a:lnTo>
                      <a:pt x="272" y="229"/>
                    </a:lnTo>
                    <a:lnTo>
                      <a:pt x="272" y="229"/>
                    </a:lnTo>
                    <a:lnTo>
                      <a:pt x="269" y="229"/>
                    </a:lnTo>
                    <a:lnTo>
                      <a:pt x="269" y="232"/>
                    </a:lnTo>
                    <a:lnTo>
                      <a:pt x="267" y="229"/>
                    </a:lnTo>
                    <a:lnTo>
                      <a:pt x="267" y="227"/>
                    </a:lnTo>
                    <a:lnTo>
                      <a:pt x="267" y="225"/>
                    </a:lnTo>
                    <a:lnTo>
                      <a:pt x="267" y="225"/>
                    </a:lnTo>
                    <a:lnTo>
                      <a:pt x="267" y="225"/>
                    </a:lnTo>
                    <a:lnTo>
                      <a:pt x="267" y="225"/>
                    </a:lnTo>
                    <a:lnTo>
                      <a:pt x="265" y="222"/>
                    </a:lnTo>
                    <a:lnTo>
                      <a:pt x="265" y="222"/>
                    </a:lnTo>
                    <a:lnTo>
                      <a:pt x="265" y="220"/>
                    </a:lnTo>
                    <a:lnTo>
                      <a:pt x="265" y="222"/>
                    </a:lnTo>
                    <a:lnTo>
                      <a:pt x="265" y="220"/>
                    </a:lnTo>
                    <a:lnTo>
                      <a:pt x="262" y="220"/>
                    </a:lnTo>
                    <a:lnTo>
                      <a:pt x="265" y="215"/>
                    </a:lnTo>
                    <a:lnTo>
                      <a:pt x="267" y="215"/>
                    </a:lnTo>
                    <a:lnTo>
                      <a:pt x="267" y="215"/>
                    </a:lnTo>
                    <a:lnTo>
                      <a:pt x="267" y="215"/>
                    </a:lnTo>
                    <a:lnTo>
                      <a:pt x="267" y="215"/>
                    </a:lnTo>
                    <a:lnTo>
                      <a:pt x="267" y="213"/>
                    </a:lnTo>
                    <a:lnTo>
                      <a:pt x="269" y="213"/>
                    </a:lnTo>
                    <a:lnTo>
                      <a:pt x="269" y="213"/>
                    </a:lnTo>
                    <a:lnTo>
                      <a:pt x="269" y="210"/>
                    </a:lnTo>
                    <a:lnTo>
                      <a:pt x="269" y="210"/>
                    </a:lnTo>
                    <a:lnTo>
                      <a:pt x="272" y="210"/>
                    </a:lnTo>
                    <a:lnTo>
                      <a:pt x="274" y="213"/>
                    </a:lnTo>
                    <a:lnTo>
                      <a:pt x="274" y="213"/>
                    </a:lnTo>
                    <a:lnTo>
                      <a:pt x="274" y="208"/>
                    </a:lnTo>
                    <a:lnTo>
                      <a:pt x="276" y="208"/>
                    </a:lnTo>
                    <a:lnTo>
                      <a:pt x="276" y="208"/>
                    </a:lnTo>
                    <a:lnTo>
                      <a:pt x="279" y="208"/>
                    </a:lnTo>
                    <a:lnTo>
                      <a:pt x="281" y="206"/>
                    </a:lnTo>
                    <a:lnTo>
                      <a:pt x="283" y="206"/>
                    </a:lnTo>
                    <a:lnTo>
                      <a:pt x="283" y="203"/>
                    </a:lnTo>
                    <a:lnTo>
                      <a:pt x="286" y="201"/>
                    </a:lnTo>
                    <a:lnTo>
                      <a:pt x="286" y="201"/>
                    </a:lnTo>
                    <a:lnTo>
                      <a:pt x="286" y="201"/>
                    </a:lnTo>
                    <a:lnTo>
                      <a:pt x="286" y="199"/>
                    </a:lnTo>
                    <a:lnTo>
                      <a:pt x="286" y="199"/>
                    </a:lnTo>
                    <a:lnTo>
                      <a:pt x="286" y="196"/>
                    </a:lnTo>
                    <a:lnTo>
                      <a:pt x="286" y="196"/>
                    </a:lnTo>
                    <a:lnTo>
                      <a:pt x="286" y="196"/>
                    </a:lnTo>
                    <a:lnTo>
                      <a:pt x="288" y="196"/>
                    </a:lnTo>
                    <a:lnTo>
                      <a:pt x="291" y="196"/>
                    </a:lnTo>
                    <a:lnTo>
                      <a:pt x="295" y="194"/>
                    </a:lnTo>
                    <a:lnTo>
                      <a:pt x="295" y="194"/>
                    </a:lnTo>
                    <a:lnTo>
                      <a:pt x="293" y="194"/>
                    </a:lnTo>
                    <a:lnTo>
                      <a:pt x="293" y="192"/>
                    </a:lnTo>
                    <a:lnTo>
                      <a:pt x="293" y="192"/>
                    </a:lnTo>
                    <a:lnTo>
                      <a:pt x="293" y="189"/>
                    </a:lnTo>
                    <a:lnTo>
                      <a:pt x="293" y="187"/>
                    </a:lnTo>
                    <a:lnTo>
                      <a:pt x="293" y="184"/>
                    </a:lnTo>
                    <a:lnTo>
                      <a:pt x="293" y="184"/>
                    </a:lnTo>
                    <a:lnTo>
                      <a:pt x="293" y="184"/>
                    </a:lnTo>
                    <a:lnTo>
                      <a:pt x="293" y="182"/>
                    </a:lnTo>
                    <a:lnTo>
                      <a:pt x="293" y="180"/>
                    </a:lnTo>
                    <a:lnTo>
                      <a:pt x="295" y="177"/>
                    </a:lnTo>
                    <a:lnTo>
                      <a:pt x="295" y="175"/>
                    </a:lnTo>
                    <a:lnTo>
                      <a:pt x="295" y="175"/>
                    </a:lnTo>
                    <a:lnTo>
                      <a:pt x="295" y="173"/>
                    </a:lnTo>
                    <a:lnTo>
                      <a:pt x="295" y="173"/>
                    </a:lnTo>
                    <a:lnTo>
                      <a:pt x="293" y="175"/>
                    </a:lnTo>
                    <a:lnTo>
                      <a:pt x="291" y="175"/>
                    </a:lnTo>
                    <a:lnTo>
                      <a:pt x="291" y="175"/>
                    </a:lnTo>
                    <a:lnTo>
                      <a:pt x="291" y="175"/>
                    </a:lnTo>
                    <a:lnTo>
                      <a:pt x="291" y="173"/>
                    </a:lnTo>
                    <a:lnTo>
                      <a:pt x="293" y="170"/>
                    </a:lnTo>
                    <a:lnTo>
                      <a:pt x="293" y="168"/>
                    </a:lnTo>
                    <a:lnTo>
                      <a:pt x="293" y="168"/>
                    </a:lnTo>
                    <a:lnTo>
                      <a:pt x="293" y="166"/>
                    </a:lnTo>
                    <a:lnTo>
                      <a:pt x="295" y="163"/>
                    </a:lnTo>
                    <a:lnTo>
                      <a:pt x="295" y="158"/>
                    </a:lnTo>
                    <a:lnTo>
                      <a:pt x="293" y="158"/>
                    </a:lnTo>
                    <a:lnTo>
                      <a:pt x="293" y="156"/>
                    </a:lnTo>
                    <a:lnTo>
                      <a:pt x="295" y="156"/>
                    </a:lnTo>
                    <a:lnTo>
                      <a:pt x="298" y="158"/>
                    </a:lnTo>
                    <a:lnTo>
                      <a:pt x="300" y="158"/>
                    </a:lnTo>
                    <a:lnTo>
                      <a:pt x="300" y="158"/>
                    </a:lnTo>
                    <a:lnTo>
                      <a:pt x="302" y="156"/>
                    </a:lnTo>
                    <a:lnTo>
                      <a:pt x="302" y="156"/>
                    </a:lnTo>
                    <a:lnTo>
                      <a:pt x="305" y="154"/>
                    </a:lnTo>
                    <a:lnTo>
                      <a:pt x="305" y="154"/>
                    </a:lnTo>
                    <a:lnTo>
                      <a:pt x="307" y="149"/>
                    </a:lnTo>
                    <a:lnTo>
                      <a:pt x="309" y="149"/>
                    </a:lnTo>
                    <a:lnTo>
                      <a:pt x="312" y="147"/>
                    </a:lnTo>
                    <a:lnTo>
                      <a:pt x="312" y="147"/>
                    </a:lnTo>
                    <a:lnTo>
                      <a:pt x="312" y="144"/>
                    </a:lnTo>
                    <a:lnTo>
                      <a:pt x="312" y="144"/>
                    </a:lnTo>
                    <a:lnTo>
                      <a:pt x="314" y="142"/>
                    </a:lnTo>
                    <a:lnTo>
                      <a:pt x="314" y="140"/>
                    </a:lnTo>
                    <a:lnTo>
                      <a:pt x="314" y="137"/>
                    </a:lnTo>
                    <a:lnTo>
                      <a:pt x="314" y="137"/>
                    </a:lnTo>
                    <a:lnTo>
                      <a:pt x="314" y="132"/>
                    </a:lnTo>
                    <a:lnTo>
                      <a:pt x="314" y="132"/>
                    </a:lnTo>
                    <a:lnTo>
                      <a:pt x="314" y="130"/>
                    </a:lnTo>
                    <a:lnTo>
                      <a:pt x="317" y="128"/>
                    </a:lnTo>
                    <a:lnTo>
                      <a:pt x="317" y="125"/>
                    </a:lnTo>
                    <a:lnTo>
                      <a:pt x="319" y="121"/>
                    </a:lnTo>
                    <a:lnTo>
                      <a:pt x="321" y="114"/>
                    </a:lnTo>
                    <a:lnTo>
                      <a:pt x="319" y="111"/>
                    </a:lnTo>
                    <a:lnTo>
                      <a:pt x="319" y="111"/>
                    </a:lnTo>
                    <a:lnTo>
                      <a:pt x="319" y="109"/>
                    </a:lnTo>
                    <a:lnTo>
                      <a:pt x="321" y="104"/>
                    </a:lnTo>
                    <a:lnTo>
                      <a:pt x="321" y="102"/>
                    </a:lnTo>
                    <a:lnTo>
                      <a:pt x="321" y="102"/>
                    </a:lnTo>
                    <a:lnTo>
                      <a:pt x="319" y="99"/>
                    </a:lnTo>
                    <a:lnTo>
                      <a:pt x="314" y="99"/>
                    </a:lnTo>
                    <a:lnTo>
                      <a:pt x="312" y="99"/>
                    </a:lnTo>
                    <a:lnTo>
                      <a:pt x="312" y="99"/>
                    </a:lnTo>
                    <a:lnTo>
                      <a:pt x="312" y="99"/>
                    </a:lnTo>
                    <a:lnTo>
                      <a:pt x="309" y="99"/>
                    </a:lnTo>
                    <a:lnTo>
                      <a:pt x="309" y="99"/>
                    </a:lnTo>
                    <a:lnTo>
                      <a:pt x="307" y="95"/>
                    </a:lnTo>
                    <a:lnTo>
                      <a:pt x="309" y="92"/>
                    </a:lnTo>
                    <a:lnTo>
                      <a:pt x="309" y="90"/>
                    </a:lnTo>
                    <a:lnTo>
                      <a:pt x="309" y="90"/>
                    </a:lnTo>
                    <a:lnTo>
                      <a:pt x="312" y="90"/>
                    </a:lnTo>
                    <a:lnTo>
                      <a:pt x="314" y="90"/>
                    </a:lnTo>
                    <a:lnTo>
                      <a:pt x="319" y="90"/>
                    </a:lnTo>
                    <a:lnTo>
                      <a:pt x="319" y="90"/>
                    </a:lnTo>
                    <a:lnTo>
                      <a:pt x="321" y="90"/>
                    </a:lnTo>
                    <a:lnTo>
                      <a:pt x="321" y="90"/>
                    </a:lnTo>
                    <a:lnTo>
                      <a:pt x="321" y="90"/>
                    </a:lnTo>
                    <a:lnTo>
                      <a:pt x="321" y="88"/>
                    </a:lnTo>
                    <a:lnTo>
                      <a:pt x="324" y="88"/>
                    </a:lnTo>
                    <a:lnTo>
                      <a:pt x="324" y="88"/>
                    </a:lnTo>
                    <a:lnTo>
                      <a:pt x="326" y="85"/>
                    </a:lnTo>
                    <a:lnTo>
                      <a:pt x="328" y="85"/>
                    </a:lnTo>
                    <a:lnTo>
                      <a:pt x="328" y="83"/>
                    </a:lnTo>
                    <a:lnTo>
                      <a:pt x="328" y="81"/>
                    </a:lnTo>
                    <a:lnTo>
                      <a:pt x="328" y="81"/>
                    </a:lnTo>
                    <a:lnTo>
                      <a:pt x="328" y="81"/>
                    </a:lnTo>
                    <a:lnTo>
                      <a:pt x="328" y="76"/>
                    </a:lnTo>
                    <a:lnTo>
                      <a:pt x="331" y="73"/>
                    </a:lnTo>
                    <a:lnTo>
                      <a:pt x="331" y="73"/>
                    </a:lnTo>
                    <a:lnTo>
                      <a:pt x="328" y="73"/>
                    </a:lnTo>
                    <a:lnTo>
                      <a:pt x="328" y="71"/>
                    </a:lnTo>
                    <a:lnTo>
                      <a:pt x="331" y="71"/>
                    </a:lnTo>
                    <a:lnTo>
                      <a:pt x="331" y="64"/>
                    </a:lnTo>
                    <a:lnTo>
                      <a:pt x="331" y="62"/>
                    </a:lnTo>
                    <a:lnTo>
                      <a:pt x="328" y="59"/>
                    </a:lnTo>
                    <a:lnTo>
                      <a:pt x="328" y="59"/>
                    </a:lnTo>
                    <a:lnTo>
                      <a:pt x="326" y="57"/>
                    </a:lnTo>
                    <a:lnTo>
                      <a:pt x="331" y="52"/>
                    </a:lnTo>
                    <a:lnTo>
                      <a:pt x="331" y="52"/>
                    </a:lnTo>
                    <a:lnTo>
                      <a:pt x="328" y="50"/>
                    </a:lnTo>
                    <a:lnTo>
                      <a:pt x="331" y="47"/>
                    </a:lnTo>
                    <a:lnTo>
                      <a:pt x="333" y="45"/>
                    </a:lnTo>
                    <a:lnTo>
                      <a:pt x="333" y="43"/>
                    </a:lnTo>
                    <a:lnTo>
                      <a:pt x="333" y="40"/>
                    </a:lnTo>
                    <a:lnTo>
                      <a:pt x="335" y="38"/>
                    </a:lnTo>
                    <a:lnTo>
                      <a:pt x="335" y="38"/>
                    </a:lnTo>
                    <a:lnTo>
                      <a:pt x="331" y="38"/>
                    </a:lnTo>
                    <a:lnTo>
                      <a:pt x="331" y="38"/>
                    </a:lnTo>
                    <a:lnTo>
                      <a:pt x="331" y="36"/>
                    </a:lnTo>
                    <a:lnTo>
                      <a:pt x="328" y="36"/>
                    </a:lnTo>
                    <a:lnTo>
                      <a:pt x="328" y="31"/>
                    </a:lnTo>
                    <a:lnTo>
                      <a:pt x="331" y="29"/>
                    </a:lnTo>
                    <a:lnTo>
                      <a:pt x="328" y="24"/>
                    </a:lnTo>
                    <a:lnTo>
                      <a:pt x="331" y="21"/>
                    </a:lnTo>
                    <a:lnTo>
                      <a:pt x="333" y="21"/>
                    </a:lnTo>
                    <a:lnTo>
                      <a:pt x="335" y="21"/>
                    </a:lnTo>
                    <a:lnTo>
                      <a:pt x="335" y="21"/>
                    </a:lnTo>
                    <a:lnTo>
                      <a:pt x="338" y="21"/>
                    </a:lnTo>
                    <a:lnTo>
                      <a:pt x="338" y="17"/>
                    </a:lnTo>
                    <a:lnTo>
                      <a:pt x="340" y="14"/>
                    </a:lnTo>
                    <a:lnTo>
                      <a:pt x="340" y="17"/>
                    </a:lnTo>
                    <a:lnTo>
                      <a:pt x="340" y="17"/>
                    </a:lnTo>
                    <a:lnTo>
                      <a:pt x="340" y="14"/>
                    </a:lnTo>
                    <a:lnTo>
                      <a:pt x="340" y="12"/>
                    </a:lnTo>
                    <a:lnTo>
                      <a:pt x="343" y="12"/>
                    </a:lnTo>
                    <a:lnTo>
                      <a:pt x="343" y="12"/>
                    </a:lnTo>
                    <a:lnTo>
                      <a:pt x="343" y="14"/>
                    </a:lnTo>
                    <a:lnTo>
                      <a:pt x="343" y="17"/>
                    </a:lnTo>
                    <a:lnTo>
                      <a:pt x="343" y="17"/>
                    </a:lnTo>
                    <a:lnTo>
                      <a:pt x="343" y="14"/>
                    </a:lnTo>
                    <a:lnTo>
                      <a:pt x="343" y="12"/>
                    </a:lnTo>
                    <a:lnTo>
                      <a:pt x="343" y="10"/>
                    </a:lnTo>
                    <a:lnTo>
                      <a:pt x="343" y="10"/>
                    </a:lnTo>
                    <a:lnTo>
                      <a:pt x="345" y="10"/>
                    </a:lnTo>
                    <a:lnTo>
                      <a:pt x="347" y="5"/>
                    </a:lnTo>
                    <a:lnTo>
                      <a:pt x="347" y="7"/>
                    </a:lnTo>
                    <a:lnTo>
                      <a:pt x="347" y="5"/>
                    </a:lnTo>
                    <a:lnTo>
                      <a:pt x="347" y="3"/>
                    </a:lnTo>
                    <a:lnTo>
                      <a:pt x="347" y="3"/>
                    </a:lnTo>
                    <a:lnTo>
                      <a:pt x="347" y="5"/>
                    </a:lnTo>
                    <a:lnTo>
                      <a:pt x="347" y="7"/>
                    </a:lnTo>
                    <a:lnTo>
                      <a:pt x="350" y="7"/>
                    </a:lnTo>
                    <a:lnTo>
                      <a:pt x="350" y="3"/>
                    </a:lnTo>
                    <a:lnTo>
                      <a:pt x="350" y="3"/>
                    </a:lnTo>
                    <a:lnTo>
                      <a:pt x="350" y="3"/>
                    </a:lnTo>
                    <a:lnTo>
                      <a:pt x="350" y="0"/>
                    </a:lnTo>
                    <a:lnTo>
                      <a:pt x="352" y="0"/>
                    </a:lnTo>
                    <a:lnTo>
                      <a:pt x="352" y="3"/>
                    </a:lnTo>
                    <a:lnTo>
                      <a:pt x="352" y="3"/>
                    </a:lnTo>
                    <a:lnTo>
                      <a:pt x="352" y="3"/>
                    </a:lnTo>
                    <a:lnTo>
                      <a:pt x="352" y="3"/>
                    </a:lnTo>
                    <a:lnTo>
                      <a:pt x="352" y="3"/>
                    </a:lnTo>
                    <a:lnTo>
                      <a:pt x="352" y="5"/>
                    </a:lnTo>
                    <a:lnTo>
                      <a:pt x="354" y="5"/>
                    </a:lnTo>
                    <a:lnTo>
                      <a:pt x="354" y="7"/>
                    </a:lnTo>
                    <a:lnTo>
                      <a:pt x="352" y="7"/>
                    </a:lnTo>
                    <a:lnTo>
                      <a:pt x="352" y="7"/>
                    </a:lnTo>
                    <a:lnTo>
                      <a:pt x="350" y="7"/>
                    </a:lnTo>
                    <a:lnTo>
                      <a:pt x="350" y="7"/>
                    </a:lnTo>
                    <a:lnTo>
                      <a:pt x="352" y="7"/>
                    </a:lnTo>
                    <a:lnTo>
                      <a:pt x="352" y="10"/>
                    </a:lnTo>
                    <a:lnTo>
                      <a:pt x="352" y="10"/>
                    </a:lnTo>
                    <a:lnTo>
                      <a:pt x="350" y="10"/>
                    </a:lnTo>
                    <a:lnTo>
                      <a:pt x="352" y="10"/>
                    </a:lnTo>
                    <a:lnTo>
                      <a:pt x="352" y="10"/>
                    </a:lnTo>
                    <a:lnTo>
                      <a:pt x="354" y="10"/>
                    </a:lnTo>
                    <a:lnTo>
                      <a:pt x="354" y="7"/>
                    </a:lnTo>
                    <a:lnTo>
                      <a:pt x="354" y="10"/>
                    </a:lnTo>
                    <a:lnTo>
                      <a:pt x="354" y="12"/>
                    </a:lnTo>
                    <a:lnTo>
                      <a:pt x="354" y="12"/>
                    </a:lnTo>
                    <a:lnTo>
                      <a:pt x="352" y="12"/>
                    </a:lnTo>
                    <a:lnTo>
                      <a:pt x="350" y="12"/>
                    </a:lnTo>
                    <a:lnTo>
                      <a:pt x="350" y="14"/>
                    </a:lnTo>
                    <a:lnTo>
                      <a:pt x="350" y="14"/>
                    </a:lnTo>
                    <a:lnTo>
                      <a:pt x="350" y="17"/>
                    </a:lnTo>
                    <a:lnTo>
                      <a:pt x="350" y="14"/>
                    </a:lnTo>
                    <a:lnTo>
                      <a:pt x="350" y="17"/>
                    </a:lnTo>
                    <a:lnTo>
                      <a:pt x="350" y="17"/>
                    </a:lnTo>
                    <a:lnTo>
                      <a:pt x="352" y="17"/>
                    </a:lnTo>
                    <a:lnTo>
                      <a:pt x="350" y="14"/>
                    </a:lnTo>
                    <a:lnTo>
                      <a:pt x="352" y="12"/>
                    </a:lnTo>
                    <a:lnTo>
                      <a:pt x="352" y="12"/>
                    </a:lnTo>
                    <a:lnTo>
                      <a:pt x="352" y="14"/>
                    </a:lnTo>
                    <a:lnTo>
                      <a:pt x="354" y="12"/>
                    </a:lnTo>
                    <a:lnTo>
                      <a:pt x="357" y="12"/>
                    </a:lnTo>
                    <a:lnTo>
                      <a:pt x="354" y="14"/>
                    </a:lnTo>
                    <a:lnTo>
                      <a:pt x="354" y="17"/>
                    </a:lnTo>
                    <a:lnTo>
                      <a:pt x="357" y="17"/>
                    </a:lnTo>
                    <a:lnTo>
                      <a:pt x="354" y="17"/>
                    </a:lnTo>
                    <a:lnTo>
                      <a:pt x="354" y="19"/>
                    </a:lnTo>
                    <a:lnTo>
                      <a:pt x="354" y="21"/>
                    </a:lnTo>
                    <a:lnTo>
                      <a:pt x="354" y="21"/>
                    </a:lnTo>
                    <a:lnTo>
                      <a:pt x="354" y="26"/>
                    </a:lnTo>
                    <a:lnTo>
                      <a:pt x="354" y="26"/>
                    </a:lnTo>
                    <a:lnTo>
                      <a:pt x="357" y="26"/>
                    </a:lnTo>
                    <a:lnTo>
                      <a:pt x="357" y="21"/>
                    </a:lnTo>
                    <a:lnTo>
                      <a:pt x="357" y="19"/>
                    </a:lnTo>
                    <a:lnTo>
                      <a:pt x="359" y="12"/>
                    </a:lnTo>
                    <a:lnTo>
                      <a:pt x="361" y="14"/>
                    </a:lnTo>
                    <a:lnTo>
                      <a:pt x="359" y="12"/>
                    </a:lnTo>
                    <a:lnTo>
                      <a:pt x="361" y="10"/>
                    </a:lnTo>
                    <a:lnTo>
                      <a:pt x="364" y="10"/>
                    </a:lnTo>
                    <a:lnTo>
                      <a:pt x="364" y="10"/>
                    </a:lnTo>
                    <a:lnTo>
                      <a:pt x="364" y="7"/>
                    </a:lnTo>
                    <a:lnTo>
                      <a:pt x="364" y="7"/>
                    </a:lnTo>
                    <a:lnTo>
                      <a:pt x="364" y="7"/>
                    </a:lnTo>
                    <a:lnTo>
                      <a:pt x="364" y="7"/>
                    </a:lnTo>
                    <a:lnTo>
                      <a:pt x="366" y="5"/>
                    </a:lnTo>
                    <a:lnTo>
                      <a:pt x="366" y="5"/>
                    </a:lnTo>
                    <a:lnTo>
                      <a:pt x="366" y="3"/>
                    </a:lnTo>
                    <a:lnTo>
                      <a:pt x="364" y="3"/>
                    </a:lnTo>
                    <a:lnTo>
                      <a:pt x="366" y="3"/>
                    </a:lnTo>
                    <a:lnTo>
                      <a:pt x="369" y="0"/>
                    </a:lnTo>
                    <a:lnTo>
                      <a:pt x="366" y="0"/>
                    </a:lnTo>
                    <a:lnTo>
                      <a:pt x="369" y="0"/>
                    </a:lnTo>
                    <a:lnTo>
                      <a:pt x="369" y="0"/>
                    </a:lnTo>
                    <a:lnTo>
                      <a:pt x="369" y="0"/>
                    </a:lnTo>
                    <a:lnTo>
                      <a:pt x="369" y="3"/>
                    </a:lnTo>
                    <a:lnTo>
                      <a:pt x="369" y="7"/>
                    </a:lnTo>
                    <a:lnTo>
                      <a:pt x="369" y="7"/>
                    </a:lnTo>
                    <a:lnTo>
                      <a:pt x="369" y="7"/>
                    </a:lnTo>
                    <a:lnTo>
                      <a:pt x="369" y="7"/>
                    </a:lnTo>
                    <a:lnTo>
                      <a:pt x="366" y="10"/>
                    </a:lnTo>
                    <a:lnTo>
                      <a:pt x="366" y="10"/>
                    </a:lnTo>
                    <a:lnTo>
                      <a:pt x="366" y="12"/>
                    </a:lnTo>
                    <a:lnTo>
                      <a:pt x="364" y="12"/>
                    </a:lnTo>
                    <a:lnTo>
                      <a:pt x="364" y="12"/>
                    </a:lnTo>
                    <a:lnTo>
                      <a:pt x="359" y="17"/>
                    </a:lnTo>
                    <a:lnTo>
                      <a:pt x="359" y="17"/>
                    </a:lnTo>
                    <a:lnTo>
                      <a:pt x="359" y="19"/>
                    </a:lnTo>
                    <a:lnTo>
                      <a:pt x="359" y="19"/>
                    </a:lnTo>
                    <a:lnTo>
                      <a:pt x="361" y="19"/>
                    </a:lnTo>
                    <a:lnTo>
                      <a:pt x="359" y="19"/>
                    </a:lnTo>
                    <a:lnTo>
                      <a:pt x="359" y="19"/>
                    </a:lnTo>
                    <a:lnTo>
                      <a:pt x="359" y="21"/>
                    </a:lnTo>
                    <a:lnTo>
                      <a:pt x="361" y="19"/>
                    </a:lnTo>
                    <a:lnTo>
                      <a:pt x="361" y="17"/>
                    </a:lnTo>
                    <a:lnTo>
                      <a:pt x="364" y="14"/>
                    </a:lnTo>
                    <a:lnTo>
                      <a:pt x="364" y="14"/>
                    </a:lnTo>
                    <a:lnTo>
                      <a:pt x="366" y="14"/>
                    </a:lnTo>
                    <a:lnTo>
                      <a:pt x="366" y="14"/>
                    </a:lnTo>
                    <a:lnTo>
                      <a:pt x="366" y="17"/>
                    </a:lnTo>
                    <a:lnTo>
                      <a:pt x="366" y="17"/>
                    </a:lnTo>
                    <a:lnTo>
                      <a:pt x="364" y="17"/>
                    </a:lnTo>
                    <a:lnTo>
                      <a:pt x="364" y="17"/>
                    </a:lnTo>
                    <a:lnTo>
                      <a:pt x="364" y="17"/>
                    </a:lnTo>
                    <a:lnTo>
                      <a:pt x="364" y="19"/>
                    </a:lnTo>
                    <a:lnTo>
                      <a:pt x="364" y="19"/>
                    </a:lnTo>
                    <a:lnTo>
                      <a:pt x="364" y="19"/>
                    </a:lnTo>
                    <a:lnTo>
                      <a:pt x="364" y="19"/>
                    </a:lnTo>
                    <a:lnTo>
                      <a:pt x="366" y="17"/>
                    </a:lnTo>
                    <a:lnTo>
                      <a:pt x="366" y="17"/>
                    </a:lnTo>
                    <a:lnTo>
                      <a:pt x="366" y="17"/>
                    </a:lnTo>
                    <a:lnTo>
                      <a:pt x="364" y="19"/>
                    </a:lnTo>
                    <a:lnTo>
                      <a:pt x="366" y="19"/>
                    </a:lnTo>
                    <a:lnTo>
                      <a:pt x="366" y="21"/>
                    </a:lnTo>
                    <a:lnTo>
                      <a:pt x="364" y="21"/>
                    </a:lnTo>
                    <a:lnTo>
                      <a:pt x="364" y="21"/>
                    </a:lnTo>
                    <a:lnTo>
                      <a:pt x="361" y="24"/>
                    </a:lnTo>
                    <a:lnTo>
                      <a:pt x="359" y="24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59" y="26"/>
                    </a:lnTo>
                    <a:lnTo>
                      <a:pt x="359" y="26"/>
                    </a:lnTo>
                    <a:lnTo>
                      <a:pt x="359" y="26"/>
                    </a:lnTo>
                    <a:lnTo>
                      <a:pt x="361" y="26"/>
                    </a:lnTo>
                    <a:lnTo>
                      <a:pt x="359" y="29"/>
                    </a:lnTo>
                    <a:lnTo>
                      <a:pt x="361" y="29"/>
                    </a:lnTo>
                    <a:lnTo>
                      <a:pt x="361" y="29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64" y="24"/>
                    </a:lnTo>
                    <a:lnTo>
                      <a:pt x="366" y="24"/>
                    </a:lnTo>
                    <a:lnTo>
                      <a:pt x="369" y="21"/>
                    </a:lnTo>
                    <a:lnTo>
                      <a:pt x="369" y="24"/>
                    </a:lnTo>
                    <a:lnTo>
                      <a:pt x="366" y="26"/>
                    </a:lnTo>
                    <a:lnTo>
                      <a:pt x="366" y="26"/>
                    </a:lnTo>
                    <a:lnTo>
                      <a:pt x="366" y="26"/>
                    </a:lnTo>
                    <a:lnTo>
                      <a:pt x="369" y="24"/>
                    </a:lnTo>
                    <a:lnTo>
                      <a:pt x="369" y="26"/>
                    </a:lnTo>
                    <a:lnTo>
                      <a:pt x="364" y="29"/>
                    </a:lnTo>
                    <a:lnTo>
                      <a:pt x="364" y="29"/>
                    </a:lnTo>
                    <a:lnTo>
                      <a:pt x="366" y="29"/>
                    </a:lnTo>
                    <a:lnTo>
                      <a:pt x="366" y="31"/>
                    </a:lnTo>
                    <a:lnTo>
                      <a:pt x="366" y="31"/>
                    </a:lnTo>
                    <a:lnTo>
                      <a:pt x="366" y="31"/>
                    </a:lnTo>
                    <a:lnTo>
                      <a:pt x="366" y="31"/>
                    </a:lnTo>
                    <a:lnTo>
                      <a:pt x="366" y="29"/>
                    </a:lnTo>
                    <a:lnTo>
                      <a:pt x="369" y="26"/>
                    </a:lnTo>
                    <a:lnTo>
                      <a:pt x="369" y="21"/>
                    </a:lnTo>
                    <a:lnTo>
                      <a:pt x="369" y="19"/>
                    </a:lnTo>
                    <a:lnTo>
                      <a:pt x="371" y="21"/>
                    </a:lnTo>
                    <a:lnTo>
                      <a:pt x="373" y="24"/>
                    </a:lnTo>
                    <a:lnTo>
                      <a:pt x="371" y="26"/>
                    </a:lnTo>
                    <a:lnTo>
                      <a:pt x="371" y="29"/>
                    </a:lnTo>
                    <a:lnTo>
                      <a:pt x="373" y="24"/>
                    </a:lnTo>
                    <a:lnTo>
                      <a:pt x="371" y="19"/>
                    </a:lnTo>
                    <a:lnTo>
                      <a:pt x="373" y="17"/>
                    </a:lnTo>
                    <a:lnTo>
                      <a:pt x="373" y="17"/>
                    </a:lnTo>
                    <a:lnTo>
                      <a:pt x="376" y="17"/>
                    </a:lnTo>
                    <a:lnTo>
                      <a:pt x="376" y="17"/>
                    </a:lnTo>
                    <a:lnTo>
                      <a:pt x="376" y="17"/>
                    </a:lnTo>
                    <a:lnTo>
                      <a:pt x="376" y="19"/>
                    </a:lnTo>
                    <a:lnTo>
                      <a:pt x="373" y="19"/>
                    </a:lnTo>
                    <a:lnTo>
                      <a:pt x="373" y="21"/>
                    </a:lnTo>
                    <a:lnTo>
                      <a:pt x="373" y="21"/>
                    </a:lnTo>
                    <a:lnTo>
                      <a:pt x="376" y="24"/>
                    </a:lnTo>
                    <a:lnTo>
                      <a:pt x="371" y="29"/>
                    </a:lnTo>
                    <a:lnTo>
                      <a:pt x="373" y="29"/>
                    </a:lnTo>
                    <a:lnTo>
                      <a:pt x="373" y="29"/>
                    </a:lnTo>
                    <a:lnTo>
                      <a:pt x="373" y="29"/>
                    </a:lnTo>
                    <a:lnTo>
                      <a:pt x="373" y="29"/>
                    </a:lnTo>
                    <a:lnTo>
                      <a:pt x="373" y="29"/>
                    </a:lnTo>
                    <a:lnTo>
                      <a:pt x="376" y="29"/>
                    </a:lnTo>
                    <a:lnTo>
                      <a:pt x="373" y="26"/>
                    </a:lnTo>
                    <a:lnTo>
                      <a:pt x="376" y="26"/>
                    </a:lnTo>
                    <a:lnTo>
                      <a:pt x="376" y="26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73" y="31"/>
                    </a:lnTo>
                    <a:lnTo>
                      <a:pt x="373" y="31"/>
                    </a:lnTo>
                    <a:lnTo>
                      <a:pt x="373" y="31"/>
                    </a:lnTo>
                    <a:lnTo>
                      <a:pt x="373" y="31"/>
                    </a:lnTo>
                    <a:lnTo>
                      <a:pt x="376" y="31"/>
                    </a:lnTo>
                    <a:lnTo>
                      <a:pt x="376" y="31"/>
                    </a:lnTo>
                    <a:lnTo>
                      <a:pt x="376" y="31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6"/>
                    </a:lnTo>
                    <a:lnTo>
                      <a:pt x="378" y="24"/>
                    </a:lnTo>
                    <a:lnTo>
                      <a:pt x="378" y="19"/>
                    </a:lnTo>
                    <a:lnTo>
                      <a:pt x="378" y="19"/>
                    </a:lnTo>
                    <a:lnTo>
                      <a:pt x="378" y="19"/>
                    </a:lnTo>
                    <a:lnTo>
                      <a:pt x="378" y="19"/>
                    </a:lnTo>
                    <a:lnTo>
                      <a:pt x="378" y="21"/>
                    </a:lnTo>
                    <a:lnTo>
                      <a:pt x="380" y="17"/>
                    </a:lnTo>
                    <a:lnTo>
                      <a:pt x="380" y="17"/>
                    </a:lnTo>
                    <a:lnTo>
                      <a:pt x="383" y="17"/>
                    </a:lnTo>
                    <a:lnTo>
                      <a:pt x="383" y="14"/>
                    </a:lnTo>
                    <a:lnTo>
                      <a:pt x="383" y="14"/>
                    </a:lnTo>
                    <a:lnTo>
                      <a:pt x="383" y="12"/>
                    </a:lnTo>
                    <a:lnTo>
                      <a:pt x="383" y="12"/>
                    </a:lnTo>
                    <a:lnTo>
                      <a:pt x="385" y="12"/>
                    </a:lnTo>
                    <a:lnTo>
                      <a:pt x="387" y="12"/>
                    </a:lnTo>
                    <a:lnTo>
                      <a:pt x="387" y="12"/>
                    </a:lnTo>
                    <a:lnTo>
                      <a:pt x="390" y="12"/>
                    </a:lnTo>
                    <a:lnTo>
                      <a:pt x="390" y="14"/>
                    </a:lnTo>
                    <a:lnTo>
                      <a:pt x="387" y="14"/>
                    </a:lnTo>
                    <a:lnTo>
                      <a:pt x="387" y="17"/>
                    </a:lnTo>
                    <a:lnTo>
                      <a:pt x="387" y="14"/>
                    </a:lnTo>
                    <a:lnTo>
                      <a:pt x="387" y="17"/>
                    </a:lnTo>
                    <a:lnTo>
                      <a:pt x="387" y="17"/>
                    </a:lnTo>
                    <a:lnTo>
                      <a:pt x="387" y="17"/>
                    </a:lnTo>
                    <a:lnTo>
                      <a:pt x="385" y="19"/>
                    </a:lnTo>
                    <a:lnTo>
                      <a:pt x="385" y="19"/>
                    </a:lnTo>
                    <a:lnTo>
                      <a:pt x="383" y="21"/>
                    </a:lnTo>
                    <a:lnTo>
                      <a:pt x="383" y="21"/>
                    </a:lnTo>
                    <a:lnTo>
                      <a:pt x="383" y="21"/>
                    </a:lnTo>
                    <a:lnTo>
                      <a:pt x="383" y="24"/>
                    </a:lnTo>
                    <a:lnTo>
                      <a:pt x="383" y="26"/>
                    </a:lnTo>
                    <a:lnTo>
                      <a:pt x="380" y="26"/>
                    </a:lnTo>
                    <a:lnTo>
                      <a:pt x="383" y="26"/>
                    </a:lnTo>
                    <a:lnTo>
                      <a:pt x="383" y="26"/>
                    </a:lnTo>
                    <a:lnTo>
                      <a:pt x="385" y="26"/>
                    </a:lnTo>
                    <a:lnTo>
                      <a:pt x="385" y="29"/>
                    </a:lnTo>
                    <a:lnTo>
                      <a:pt x="387" y="31"/>
                    </a:lnTo>
                    <a:lnTo>
                      <a:pt x="387" y="31"/>
                    </a:lnTo>
                    <a:lnTo>
                      <a:pt x="385" y="33"/>
                    </a:lnTo>
                    <a:lnTo>
                      <a:pt x="387" y="36"/>
                    </a:lnTo>
                    <a:lnTo>
                      <a:pt x="385" y="36"/>
                    </a:lnTo>
                    <a:lnTo>
                      <a:pt x="383" y="38"/>
                    </a:lnTo>
                    <a:lnTo>
                      <a:pt x="383" y="40"/>
                    </a:lnTo>
                    <a:lnTo>
                      <a:pt x="383" y="40"/>
                    </a:lnTo>
                    <a:lnTo>
                      <a:pt x="383" y="40"/>
                    </a:lnTo>
                    <a:lnTo>
                      <a:pt x="385" y="38"/>
                    </a:lnTo>
                    <a:lnTo>
                      <a:pt x="385" y="36"/>
                    </a:lnTo>
                    <a:lnTo>
                      <a:pt x="385" y="36"/>
                    </a:lnTo>
                    <a:lnTo>
                      <a:pt x="385" y="36"/>
                    </a:lnTo>
                    <a:lnTo>
                      <a:pt x="387" y="36"/>
                    </a:lnTo>
                    <a:lnTo>
                      <a:pt x="387" y="36"/>
                    </a:lnTo>
                    <a:lnTo>
                      <a:pt x="387" y="38"/>
                    </a:lnTo>
                    <a:lnTo>
                      <a:pt x="390" y="40"/>
                    </a:lnTo>
                    <a:lnTo>
                      <a:pt x="385" y="40"/>
                    </a:lnTo>
                    <a:lnTo>
                      <a:pt x="385" y="43"/>
                    </a:lnTo>
                    <a:lnTo>
                      <a:pt x="385" y="43"/>
                    </a:lnTo>
                    <a:lnTo>
                      <a:pt x="385" y="45"/>
                    </a:lnTo>
                    <a:lnTo>
                      <a:pt x="383" y="45"/>
                    </a:lnTo>
                    <a:lnTo>
                      <a:pt x="383" y="45"/>
                    </a:lnTo>
                    <a:lnTo>
                      <a:pt x="380" y="43"/>
                    </a:lnTo>
                    <a:lnTo>
                      <a:pt x="380" y="43"/>
                    </a:lnTo>
                    <a:lnTo>
                      <a:pt x="380" y="45"/>
                    </a:lnTo>
                    <a:lnTo>
                      <a:pt x="380" y="45"/>
                    </a:lnTo>
                    <a:lnTo>
                      <a:pt x="383" y="45"/>
                    </a:lnTo>
                    <a:lnTo>
                      <a:pt x="383" y="45"/>
                    </a:lnTo>
                    <a:lnTo>
                      <a:pt x="385" y="45"/>
                    </a:lnTo>
                    <a:lnTo>
                      <a:pt x="385" y="43"/>
                    </a:lnTo>
                    <a:lnTo>
                      <a:pt x="387" y="40"/>
                    </a:lnTo>
                    <a:lnTo>
                      <a:pt x="390" y="40"/>
                    </a:lnTo>
                    <a:lnTo>
                      <a:pt x="390" y="40"/>
                    </a:lnTo>
                    <a:lnTo>
                      <a:pt x="390" y="38"/>
                    </a:lnTo>
                    <a:lnTo>
                      <a:pt x="387" y="38"/>
                    </a:lnTo>
                    <a:lnTo>
                      <a:pt x="387" y="38"/>
                    </a:lnTo>
                    <a:lnTo>
                      <a:pt x="390" y="36"/>
                    </a:lnTo>
                    <a:lnTo>
                      <a:pt x="390" y="36"/>
                    </a:lnTo>
                    <a:lnTo>
                      <a:pt x="390" y="33"/>
                    </a:lnTo>
                    <a:lnTo>
                      <a:pt x="390" y="36"/>
                    </a:lnTo>
                    <a:lnTo>
                      <a:pt x="387" y="36"/>
                    </a:lnTo>
                    <a:lnTo>
                      <a:pt x="387" y="36"/>
                    </a:lnTo>
                    <a:lnTo>
                      <a:pt x="387" y="36"/>
                    </a:lnTo>
                    <a:lnTo>
                      <a:pt x="387" y="33"/>
                    </a:lnTo>
                    <a:lnTo>
                      <a:pt x="387" y="33"/>
                    </a:lnTo>
                    <a:lnTo>
                      <a:pt x="390" y="33"/>
                    </a:lnTo>
                    <a:lnTo>
                      <a:pt x="387" y="33"/>
                    </a:lnTo>
                    <a:lnTo>
                      <a:pt x="387" y="31"/>
                    </a:lnTo>
                    <a:lnTo>
                      <a:pt x="392" y="29"/>
                    </a:lnTo>
                    <a:lnTo>
                      <a:pt x="392" y="31"/>
                    </a:lnTo>
                    <a:lnTo>
                      <a:pt x="392" y="29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29"/>
                    </a:lnTo>
                    <a:lnTo>
                      <a:pt x="392" y="29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21"/>
                    </a:lnTo>
                    <a:lnTo>
                      <a:pt x="394" y="19"/>
                    </a:lnTo>
                    <a:lnTo>
                      <a:pt x="394" y="17"/>
                    </a:lnTo>
                    <a:lnTo>
                      <a:pt x="394" y="14"/>
                    </a:lnTo>
                    <a:lnTo>
                      <a:pt x="397" y="12"/>
                    </a:lnTo>
                    <a:lnTo>
                      <a:pt x="397" y="12"/>
                    </a:lnTo>
                    <a:lnTo>
                      <a:pt x="397" y="12"/>
                    </a:lnTo>
                    <a:lnTo>
                      <a:pt x="397" y="12"/>
                    </a:lnTo>
                    <a:lnTo>
                      <a:pt x="394" y="12"/>
                    </a:lnTo>
                    <a:lnTo>
                      <a:pt x="397" y="10"/>
                    </a:lnTo>
                    <a:lnTo>
                      <a:pt x="397" y="10"/>
                    </a:lnTo>
                    <a:lnTo>
                      <a:pt x="397" y="12"/>
                    </a:lnTo>
                    <a:lnTo>
                      <a:pt x="399" y="12"/>
                    </a:lnTo>
                    <a:lnTo>
                      <a:pt x="399" y="12"/>
                    </a:lnTo>
                    <a:lnTo>
                      <a:pt x="399" y="17"/>
                    </a:lnTo>
                    <a:lnTo>
                      <a:pt x="399" y="17"/>
                    </a:lnTo>
                    <a:lnTo>
                      <a:pt x="397" y="19"/>
                    </a:lnTo>
                    <a:lnTo>
                      <a:pt x="397" y="17"/>
                    </a:lnTo>
                    <a:lnTo>
                      <a:pt x="397" y="19"/>
                    </a:lnTo>
                    <a:lnTo>
                      <a:pt x="394" y="24"/>
                    </a:lnTo>
                    <a:lnTo>
                      <a:pt x="394" y="26"/>
                    </a:lnTo>
                    <a:lnTo>
                      <a:pt x="397" y="26"/>
                    </a:lnTo>
                    <a:lnTo>
                      <a:pt x="397" y="26"/>
                    </a:lnTo>
                    <a:lnTo>
                      <a:pt x="397" y="29"/>
                    </a:lnTo>
                    <a:lnTo>
                      <a:pt x="397" y="29"/>
                    </a:lnTo>
                    <a:lnTo>
                      <a:pt x="394" y="31"/>
                    </a:lnTo>
                    <a:lnTo>
                      <a:pt x="394" y="33"/>
                    </a:lnTo>
                    <a:lnTo>
                      <a:pt x="394" y="33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7" y="38"/>
                    </a:lnTo>
                    <a:lnTo>
                      <a:pt x="394" y="38"/>
                    </a:lnTo>
                    <a:lnTo>
                      <a:pt x="394" y="40"/>
                    </a:lnTo>
                    <a:lnTo>
                      <a:pt x="394" y="40"/>
                    </a:lnTo>
                    <a:lnTo>
                      <a:pt x="394" y="43"/>
                    </a:lnTo>
                    <a:lnTo>
                      <a:pt x="394" y="43"/>
                    </a:lnTo>
                    <a:lnTo>
                      <a:pt x="392" y="43"/>
                    </a:lnTo>
                    <a:lnTo>
                      <a:pt x="392" y="43"/>
                    </a:lnTo>
                    <a:lnTo>
                      <a:pt x="392" y="43"/>
                    </a:lnTo>
                    <a:lnTo>
                      <a:pt x="392" y="43"/>
                    </a:lnTo>
                    <a:lnTo>
                      <a:pt x="387" y="43"/>
                    </a:lnTo>
                    <a:lnTo>
                      <a:pt x="387" y="40"/>
                    </a:lnTo>
                    <a:lnTo>
                      <a:pt x="385" y="45"/>
                    </a:lnTo>
                    <a:lnTo>
                      <a:pt x="385" y="47"/>
                    </a:lnTo>
                    <a:lnTo>
                      <a:pt x="383" y="50"/>
                    </a:lnTo>
                    <a:lnTo>
                      <a:pt x="385" y="47"/>
                    </a:lnTo>
                    <a:lnTo>
                      <a:pt x="385" y="47"/>
                    </a:lnTo>
                    <a:lnTo>
                      <a:pt x="387" y="45"/>
                    </a:lnTo>
                    <a:lnTo>
                      <a:pt x="387" y="47"/>
                    </a:lnTo>
                    <a:lnTo>
                      <a:pt x="387" y="47"/>
                    </a:lnTo>
                    <a:lnTo>
                      <a:pt x="387" y="45"/>
                    </a:lnTo>
                    <a:lnTo>
                      <a:pt x="387" y="45"/>
                    </a:lnTo>
                    <a:lnTo>
                      <a:pt x="387" y="43"/>
                    </a:lnTo>
                    <a:lnTo>
                      <a:pt x="390" y="43"/>
                    </a:lnTo>
                    <a:lnTo>
                      <a:pt x="390" y="45"/>
                    </a:lnTo>
                    <a:lnTo>
                      <a:pt x="392" y="43"/>
                    </a:lnTo>
                    <a:lnTo>
                      <a:pt x="394" y="43"/>
                    </a:lnTo>
                    <a:lnTo>
                      <a:pt x="394" y="43"/>
                    </a:lnTo>
                    <a:lnTo>
                      <a:pt x="397" y="40"/>
                    </a:lnTo>
                    <a:lnTo>
                      <a:pt x="397" y="38"/>
                    </a:lnTo>
                    <a:lnTo>
                      <a:pt x="397" y="38"/>
                    </a:lnTo>
                    <a:lnTo>
                      <a:pt x="397" y="36"/>
                    </a:lnTo>
                    <a:lnTo>
                      <a:pt x="397" y="31"/>
                    </a:lnTo>
                    <a:lnTo>
                      <a:pt x="397" y="31"/>
                    </a:lnTo>
                    <a:lnTo>
                      <a:pt x="402" y="29"/>
                    </a:lnTo>
                    <a:lnTo>
                      <a:pt x="402" y="31"/>
                    </a:lnTo>
                    <a:lnTo>
                      <a:pt x="402" y="29"/>
                    </a:lnTo>
                    <a:lnTo>
                      <a:pt x="402" y="29"/>
                    </a:lnTo>
                    <a:lnTo>
                      <a:pt x="402" y="29"/>
                    </a:lnTo>
                    <a:lnTo>
                      <a:pt x="402" y="31"/>
                    </a:lnTo>
                    <a:lnTo>
                      <a:pt x="402" y="31"/>
                    </a:lnTo>
                    <a:lnTo>
                      <a:pt x="402" y="33"/>
                    </a:lnTo>
                    <a:lnTo>
                      <a:pt x="399" y="33"/>
                    </a:lnTo>
                    <a:lnTo>
                      <a:pt x="399" y="36"/>
                    </a:lnTo>
                    <a:lnTo>
                      <a:pt x="397" y="36"/>
                    </a:lnTo>
                    <a:lnTo>
                      <a:pt x="399" y="36"/>
                    </a:lnTo>
                    <a:lnTo>
                      <a:pt x="399" y="33"/>
                    </a:lnTo>
                    <a:lnTo>
                      <a:pt x="402" y="33"/>
                    </a:lnTo>
                    <a:lnTo>
                      <a:pt x="402" y="38"/>
                    </a:lnTo>
                    <a:lnTo>
                      <a:pt x="399" y="38"/>
                    </a:lnTo>
                    <a:lnTo>
                      <a:pt x="399" y="38"/>
                    </a:lnTo>
                    <a:lnTo>
                      <a:pt x="397" y="40"/>
                    </a:lnTo>
                    <a:lnTo>
                      <a:pt x="399" y="40"/>
                    </a:lnTo>
                    <a:lnTo>
                      <a:pt x="399" y="38"/>
                    </a:lnTo>
                    <a:lnTo>
                      <a:pt x="399" y="40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2" y="40"/>
                    </a:lnTo>
                    <a:lnTo>
                      <a:pt x="402" y="40"/>
                    </a:lnTo>
                    <a:lnTo>
                      <a:pt x="402" y="40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2" y="36"/>
                    </a:lnTo>
                    <a:lnTo>
                      <a:pt x="402" y="33"/>
                    </a:lnTo>
                    <a:lnTo>
                      <a:pt x="404" y="31"/>
                    </a:lnTo>
                    <a:lnTo>
                      <a:pt x="404" y="31"/>
                    </a:lnTo>
                    <a:lnTo>
                      <a:pt x="404" y="31"/>
                    </a:lnTo>
                    <a:lnTo>
                      <a:pt x="404" y="31"/>
                    </a:lnTo>
                    <a:lnTo>
                      <a:pt x="406" y="29"/>
                    </a:lnTo>
                    <a:lnTo>
                      <a:pt x="409" y="29"/>
                    </a:lnTo>
                    <a:lnTo>
                      <a:pt x="406" y="33"/>
                    </a:lnTo>
                    <a:lnTo>
                      <a:pt x="406" y="31"/>
                    </a:lnTo>
                    <a:lnTo>
                      <a:pt x="404" y="33"/>
                    </a:lnTo>
                    <a:lnTo>
                      <a:pt x="406" y="33"/>
                    </a:lnTo>
                    <a:lnTo>
                      <a:pt x="406" y="33"/>
                    </a:lnTo>
                    <a:lnTo>
                      <a:pt x="406" y="36"/>
                    </a:lnTo>
                    <a:lnTo>
                      <a:pt x="404" y="36"/>
                    </a:lnTo>
                    <a:lnTo>
                      <a:pt x="404" y="36"/>
                    </a:lnTo>
                    <a:lnTo>
                      <a:pt x="404" y="38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4" y="38"/>
                    </a:lnTo>
                    <a:lnTo>
                      <a:pt x="404" y="38"/>
                    </a:lnTo>
                    <a:lnTo>
                      <a:pt x="406" y="36"/>
                    </a:lnTo>
                    <a:lnTo>
                      <a:pt x="406" y="36"/>
                    </a:lnTo>
                    <a:lnTo>
                      <a:pt x="406" y="36"/>
                    </a:lnTo>
                    <a:lnTo>
                      <a:pt x="406" y="36"/>
                    </a:lnTo>
                    <a:lnTo>
                      <a:pt x="409" y="36"/>
                    </a:lnTo>
                    <a:lnTo>
                      <a:pt x="406" y="38"/>
                    </a:lnTo>
                    <a:lnTo>
                      <a:pt x="406" y="38"/>
                    </a:lnTo>
                    <a:lnTo>
                      <a:pt x="406" y="38"/>
                    </a:lnTo>
                    <a:lnTo>
                      <a:pt x="404" y="38"/>
                    </a:lnTo>
                    <a:lnTo>
                      <a:pt x="404" y="40"/>
                    </a:lnTo>
                    <a:lnTo>
                      <a:pt x="404" y="40"/>
                    </a:lnTo>
                    <a:lnTo>
                      <a:pt x="404" y="40"/>
                    </a:lnTo>
                    <a:lnTo>
                      <a:pt x="404" y="45"/>
                    </a:lnTo>
                    <a:lnTo>
                      <a:pt x="404" y="43"/>
                    </a:lnTo>
                    <a:lnTo>
                      <a:pt x="406" y="40"/>
                    </a:lnTo>
                    <a:lnTo>
                      <a:pt x="404" y="38"/>
                    </a:lnTo>
                    <a:lnTo>
                      <a:pt x="404" y="38"/>
                    </a:lnTo>
                    <a:lnTo>
                      <a:pt x="406" y="38"/>
                    </a:lnTo>
                    <a:lnTo>
                      <a:pt x="406" y="38"/>
                    </a:lnTo>
                    <a:lnTo>
                      <a:pt x="406" y="38"/>
                    </a:lnTo>
                    <a:lnTo>
                      <a:pt x="409" y="38"/>
                    </a:lnTo>
                    <a:lnTo>
                      <a:pt x="409" y="36"/>
                    </a:lnTo>
                    <a:lnTo>
                      <a:pt x="411" y="33"/>
                    </a:lnTo>
                    <a:lnTo>
                      <a:pt x="411" y="33"/>
                    </a:lnTo>
                    <a:lnTo>
                      <a:pt x="411" y="36"/>
                    </a:lnTo>
                    <a:lnTo>
                      <a:pt x="411" y="36"/>
                    </a:lnTo>
                    <a:lnTo>
                      <a:pt x="411" y="36"/>
                    </a:lnTo>
                    <a:lnTo>
                      <a:pt x="411" y="38"/>
                    </a:lnTo>
                    <a:lnTo>
                      <a:pt x="409" y="40"/>
                    </a:lnTo>
                    <a:lnTo>
                      <a:pt x="409" y="40"/>
                    </a:lnTo>
                    <a:lnTo>
                      <a:pt x="409" y="40"/>
                    </a:lnTo>
                    <a:lnTo>
                      <a:pt x="411" y="38"/>
                    </a:lnTo>
                    <a:lnTo>
                      <a:pt x="411" y="40"/>
                    </a:lnTo>
                    <a:lnTo>
                      <a:pt x="409" y="40"/>
                    </a:lnTo>
                    <a:lnTo>
                      <a:pt x="409" y="43"/>
                    </a:lnTo>
                    <a:lnTo>
                      <a:pt x="406" y="43"/>
                    </a:lnTo>
                    <a:lnTo>
                      <a:pt x="409" y="43"/>
                    </a:lnTo>
                    <a:lnTo>
                      <a:pt x="411" y="40"/>
                    </a:lnTo>
                    <a:lnTo>
                      <a:pt x="411" y="43"/>
                    </a:lnTo>
                    <a:lnTo>
                      <a:pt x="411" y="45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09" y="47"/>
                    </a:lnTo>
                    <a:lnTo>
                      <a:pt x="411" y="47"/>
                    </a:lnTo>
                    <a:lnTo>
                      <a:pt x="411" y="47"/>
                    </a:lnTo>
                    <a:lnTo>
                      <a:pt x="413" y="45"/>
                    </a:lnTo>
                    <a:lnTo>
                      <a:pt x="411" y="45"/>
                    </a:lnTo>
                    <a:lnTo>
                      <a:pt x="413" y="43"/>
                    </a:lnTo>
                    <a:lnTo>
                      <a:pt x="413" y="40"/>
                    </a:lnTo>
                    <a:lnTo>
                      <a:pt x="413" y="43"/>
                    </a:lnTo>
                    <a:lnTo>
                      <a:pt x="416" y="40"/>
                    </a:lnTo>
                    <a:lnTo>
                      <a:pt x="416" y="40"/>
                    </a:lnTo>
                    <a:lnTo>
                      <a:pt x="416" y="40"/>
                    </a:lnTo>
                    <a:lnTo>
                      <a:pt x="413" y="40"/>
                    </a:lnTo>
                    <a:lnTo>
                      <a:pt x="413" y="40"/>
                    </a:lnTo>
                    <a:lnTo>
                      <a:pt x="416" y="38"/>
                    </a:lnTo>
                    <a:lnTo>
                      <a:pt x="416" y="40"/>
                    </a:lnTo>
                    <a:lnTo>
                      <a:pt x="416" y="38"/>
                    </a:lnTo>
                    <a:lnTo>
                      <a:pt x="416" y="36"/>
                    </a:lnTo>
                    <a:lnTo>
                      <a:pt x="418" y="36"/>
                    </a:lnTo>
                    <a:lnTo>
                      <a:pt x="418" y="36"/>
                    </a:lnTo>
                    <a:lnTo>
                      <a:pt x="418" y="36"/>
                    </a:lnTo>
                    <a:lnTo>
                      <a:pt x="420" y="36"/>
                    </a:lnTo>
                    <a:lnTo>
                      <a:pt x="420" y="36"/>
                    </a:lnTo>
                    <a:lnTo>
                      <a:pt x="418" y="36"/>
                    </a:lnTo>
                    <a:lnTo>
                      <a:pt x="420" y="33"/>
                    </a:lnTo>
                    <a:lnTo>
                      <a:pt x="423" y="33"/>
                    </a:lnTo>
                    <a:lnTo>
                      <a:pt x="425" y="36"/>
                    </a:lnTo>
                    <a:lnTo>
                      <a:pt x="423" y="38"/>
                    </a:lnTo>
                    <a:lnTo>
                      <a:pt x="423" y="40"/>
                    </a:lnTo>
                    <a:lnTo>
                      <a:pt x="423" y="40"/>
                    </a:lnTo>
                    <a:lnTo>
                      <a:pt x="420" y="38"/>
                    </a:lnTo>
                    <a:lnTo>
                      <a:pt x="420" y="40"/>
                    </a:lnTo>
                    <a:lnTo>
                      <a:pt x="420" y="40"/>
                    </a:lnTo>
                    <a:lnTo>
                      <a:pt x="420" y="40"/>
                    </a:lnTo>
                    <a:lnTo>
                      <a:pt x="420" y="40"/>
                    </a:lnTo>
                    <a:lnTo>
                      <a:pt x="418" y="43"/>
                    </a:lnTo>
                    <a:lnTo>
                      <a:pt x="418" y="40"/>
                    </a:lnTo>
                    <a:lnTo>
                      <a:pt x="418" y="43"/>
                    </a:lnTo>
                    <a:lnTo>
                      <a:pt x="418" y="43"/>
                    </a:lnTo>
                    <a:lnTo>
                      <a:pt x="416" y="43"/>
                    </a:lnTo>
                    <a:lnTo>
                      <a:pt x="416" y="45"/>
                    </a:lnTo>
                    <a:lnTo>
                      <a:pt x="413" y="50"/>
                    </a:lnTo>
                    <a:lnTo>
                      <a:pt x="416" y="50"/>
                    </a:lnTo>
                    <a:lnTo>
                      <a:pt x="416" y="52"/>
                    </a:lnTo>
                    <a:lnTo>
                      <a:pt x="413" y="52"/>
                    </a:lnTo>
                    <a:lnTo>
                      <a:pt x="413" y="50"/>
                    </a:lnTo>
                    <a:lnTo>
                      <a:pt x="416" y="55"/>
                    </a:lnTo>
                    <a:lnTo>
                      <a:pt x="416" y="55"/>
                    </a:lnTo>
                    <a:lnTo>
                      <a:pt x="413" y="57"/>
                    </a:lnTo>
                    <a:lnTo>
                      <a:pt x="416" y="57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18" y="59"/>
                    </a:lnTo>
                    <a:lnTo>
                      <a:pt x="418" y="62"/>
                    </a:lnTo>
                    <a:lnTo>
                      <a:pt x="416" y="64"/>
                    </a:lnTo>
                    <a:lnTo>
                      <a:pt x="416" y="64"/>
                    </a:lnTo>
                    <a:lnTo>
                      <a:pt x="413" y="64"/>
                    </a:lnTo>
                    <a:lnTo>
                      <a:pt x="413" y="64"/>
                    </a:lnTo>
                    <a:lnTo>
                      <a:pt x="413" y="64"/>
                    </a:lnTo>
                    <a:lnTo>
                      <a:pt x="413" y="66"/>
                    </a:lnTo>
                    <a:lnTo>
                      <a:pt x="413" y="64"/>
                    </a:lnTo>
                    <a:lnTo>
                      <a:pt x="416" y="64"/>
                    </a:lnTo>
                    <a:lnTo>
                      <a:pt x="418" y="66"/>
                    </a:lnTo>
                    <a:lnTo>
                      <a:pt x="418" y="64"/>
                    </a:lnTo>
                    <a:lnTo>
                      <a:pt x="418" y="64"/>
                    </a:lnTo>
                    <a:lnTo>
                      <a:pt x="418" y="64"/>
                    </a:lnTo>
                    <a:lnTo>
                      <a:pt x="418" y="59"/>
                    </a:lnTo>
                    <a:lnTo>
                      <a:pt x="416" y="57"/>
                    </a:lnTo>
                    <a:lnTo>
                      <a:pt x="416" y="57"/>
                    </a:lnTo>
                    <a:lnTo>
                      <a:pt x="418" y="55"/>
                    </a:lnTo>
                    <a:lnTo>
                      <a:pt x="418" y="55"/>
                    </a:lnTo>
                    <a:lnTo>
                      <a:pt x="420" y="50"/>
                    </a:lnTo>
                    <a:lnTo>
                      <a:pt x="423" y="50"/>
                    </a:lnTo>
                    <a:lnTo>
                      <a:pt x="423" y="50"/>
                    </a:lnTo>
                    <a:lnTo>
                      <a:pt x="423" y="50"/>
                    </a:lnTo>
                    <a:lnTo>
                      <a:pt x="423" y="52"/>
                    </a:lnTo>
                    <a:lnTo>
                      <a:pt x="423" y="55"/>
                    </a:lnTo>
                    <a:lnTo>
                      <a:pt x="420" y="55"/>
                    </a:lnTo>
                    <a:lnTo>
                      <a:pt x="423" y="57"/>
                    </a:lnTo>
                    <a:lnTo>
                      <a:pt x="423" y="57"/>
                    </a:lnTo>
                    <a:lnTo>
                      <a:pt x="423" y="59"/>
                    </a:lnTo>
                    <a:lnTo>
                      <a:pt x="420" y="55"/>
                    </a:lnTo>
                    <a:lnTo>
                      <a:pt x="423" y="55"/>
                    </a:lnTo>
                    <a:lnTo>
                      <a:pt x="423" y="52"/>
                    </a:lnTo>
                    <a:lnTo>
                      <a:pt x="423" y="52"/>
                    </a:lnTo>
                    <a:lnTo>
                      <a:pt x="425" y="52"/>
                    </a:lnTo>
                    <a:lnTo>
                      <a:pt x="425" y="55"/>
                    </a:lnTo>
                    <a:lnTo>
                      <a:pt x="423" y="55"/>
                    </a:lnTo>
                    <a:lnTo>
                      <a:pt x="423" y="55"/>
                    </a:lnTo>
                    <a:lnTo>
                      <a:pt x="425" y="55"/>
                    </a:lnTo>
                    <a:lnTo>
                      <a:pt x="423" y="55"/>
                    </a:lnTo>
                    <a:lnTo>
                      <a:pt x="423" y="55"/>
                    </a:lnTo>
                    <a:lnTo>
                      <a:pt x="425" y="55"/>
                    </a:lnTo>
                    <a:lnTo>
                      <a:pt x="425" y="55"/>
                    </a:lnTo>
                    <a:lnTo>
                      <a:pt x="423" y="52"/>
                    </a:lnTo>
                    <a:lnTo>
                      <a:pt x="425" y="50"/>
                    </a:lnTo>
                    <a:lnTo>
                      <a:pt x="425" y="50"/>
                    </a:lnTo>
                    <a:lnTo>
                      <a:pt x="425" y="50"/>
                    </a:lnTo>
                    <a:lnTo>
                      <a:pt x="428" y="50"/>
                    </a:lnTo>
                    <a:lnTo>
                      <a:pt x="428" y="50"/>
                    </a:lnTo>
                    <a:lnTo>
                      <a:pt x="428" y="52"/>
                    </a:lnTo>
                    <a:lnTo>
                      <a:pt x="430" y="50"/>
                    </a:lnTo>
                    <a:lnTo>
                      <a:pt x="430" y="50"/>
                    </a:lnTo>
                    <a:lnTo>
                      <a:pt x="430" y="50"/>
                    </a:lnTo>
                    <a:lnTo>
                      <a:pt x="425" y="50"/>
                    </a:lnTo>
                    <a:lnTo>
                      <a:pt x="425" y="47"/>
                    </a:lnTo>
                    <a:lnTo>
                      <a:pt x="428" y="47"/>
                    </a:lnTo>
                    <a:lnTo>
                      <a:pt x="430" y="45"/>
                    </a:lnTo>
                    <a:lnTo>
                      <a:pt x="430" y="45"/>
                    </a:lnTo>
                    <a:lnTo>
                      <a:pt x="430" y="45"/>
                    </a:lnTo>
                    <a:lnTo>
                      <a:pt x="430" y="45"/>
                    </a:lnTo>
                    <a:lnTo>
                      <a:pt x="430" y="47"/>
                    </a:lnTo>
                    <a:lnTo>
                      <a:pt x="430" y="45"/>
                    </a:lnTo>
                    <a:lnTo>
                      <a:pt x="432" y="45"/>
                    </a:lnTo>
                    <a:lnTo>
                      <a:pt x="430" y="45"/>
                    </a:lnTo>
                    <a:lnTo>
                      <a:pt x="430" y="45"/>
                    </a:lnTo>
                    <a:lnTo>
                      <a:pt x="428" y="45"/>
                    </a:lnTo>
                    <a:lnTo>
                      <a:pt x="430" y="45"/>
                    </a:lnTo>
                    <a:lnTo>
                      <a:pt x="428" y="45"/>
                    </a:lnTo>
                    <a:lnTo>
                      <a:pt x="428" y="45"/>
                    </a:lnTo>
                    <a:lnTo>
                      <a:pt x="428" y="43"/>
                    </a:lnTo>
                    <a:lnTo>
                      <a:pt x="428" y="43"/>
                    </a:lnTo>
                    <a:lnTo>
                      <a:pt x="430" y="40"/>
                    </a:lnTo>
                    <a:lnTo>
                      <a:pt x="430" y="40"/>
                    </a:lnTo>
                    <a:lnTo>
                      <a:pt x="432" y="40"/>
                    </a:lnTo>
                    <a:lnTo>
                      <a:pt x="430" y="40"/>
                    </a:lnTo>
                    <a:lnTo>
                      <a:pt x="430" y="40"/>
                    </a:lnTo>
                    <a:lnTo>
                      <a:pt x="432" y="40"/>
                    </a:lnTo>
                    <a:lnTo>
                      <a:pt x="432" y="43"/>
                    </a:lnTo>
                    <a:lnTo>
                      <a:pt x="432" y="40"/>
                    </a:lnTo>
                    <a:lnTo>
                      <a:pt x="432" y="40"/>
                    </a:lnTo>
                    <a:lnTo>
                      <a:pt x="432" y="40"/>
                    </a:lnTo>
                    <a:lnTo>
                      <a:pt x="432" y="40"/>
                    </a:lnTo>
                    <a:lnTo>
                      <a:pt x="432" y="40"/>
                    </a:lnTo>
                    <a:lnTo>
                      <a:pt x="432" y="38"/>
                    </a:lnTo>
                    <a:lnTo>
                      <a:pt x="430" y="38"/>
                    </a:lnTo>
                    <a:lnTo>
                      <a:pt x="430" y="36"/>
                    </a:lnTo>
                    <a:lnTo>
                      <a:pt x="432" y="36"/>
                    </a:lnTo>
                    <a:lnTo>
                      <a:pt x="435" y="36"/>
                    </a:lnTo>
                    <a:lnTo>
                      <a:pt x="435" y="38"/>
                    </a:lnTo>
                    <a:lnTo>
                      <a:pt x="435" y="38"/>
                    </a:lnTo>
                    <a:lnTo>
                      <a:pt x="435" y="40"/>
                    </a:lnTo>
                    <a:lnTo>
                      <a:pt x="437" y="38"/>
                    </a:lnTo>
                    <a:lnTo>
                      <a:pt x="437" y="40"/>
                    </a:lnTo>
                    <a:lnTo>
                      <a:pt x="437" y="43"/>
                    </a:lnTo>
                    <a:lnTo>
                      <a:pt x="437" y="43"/>
                    </a:lnTo>
                    <a:lnTo>
                      <a:pt x="437" y="45"/>
                    </a:lnTo>
                    <a:lnTo>
                      <a:pt x="437" y="47"/>
                    </a:lnTo>
                    <a:lnTo>
                      <a:pt x="437" y="43"/>
                    </a:lnTo>
                    <a:lnTo>
                      <a:pt x="437" y="43"/>
                    </a:lnTo>
                    <a:lnTo>
                      <a:pt x="439" y="50"/>
                    </a:lnTo>
                    <a:lnTo>
                      <a:pt x="437" y="50"/>
                    </a:lnTo>
                    <a:lnTo>
                      <a:pt x="437" y="50"/>
                    </a:lnTo>
                    <a:lnTo>
                      <a:pt x="437" y="50"/>
                    </a:lnTo>
                    <a:lnTo>
                      <a:pt x="435" y="52"/>
                    </a:lnTo>
                    <a:lnTo>
                      <a:pt x="435" y="52"/>
                    </a:lnTo>
                    <a:lnTo>
                      <a:pt x="435" y="52"/>
                    </a:lnTo>
                    <a:lnTo>
                      <a:pt x="430" y="55"/>
                    </a:lnTo>
                    <a:lnTo>
                      <a:pt x="428" y="57"/>
                    </a:lnTo>
                    <a:lnTo>
                      <a:pt x="428" y="57"/>
                    </a:lnTo>
                    <a:lnTo>
                      <a:pt x="425" y="57"/>
                    </a:lnTo>
                    <a:lnTo>
                      <a:pt x="425" y="59"/>
                    </a:lnTo>
                    <a:lnTo>
                      <a:pt x="428" y="62"/>
                    </a:lnTo>
                    <a:lnTo>
                      <a:pt x="428" y="62"/>
                    </a:lnTo>
                    <a:lnTo>
                      <a:pt x="428" y="62"/>
                    </a:lnTo>
                    <a:lnTo>
                      <a:pt x="425" y="57"/>
                    </a:lnTo>
                    <a:lnTo>
                      <a:pt x="428" y="57"/>
                    </a:lnTo>
                    <a:lnTo>
                      <a:pt x="430" y="57"/>
                    </a:lnTo>
                    <a:lnTo>
                      <a:pt x="430" y="57"/>
                    </a:lnTo>
                    <a:lnTo>
                      <a:pt x="432" y="57"/>
                    </a:lnTo>
                    <a:lnTo>
                      <a:pt x="432" y="59"/>
                    </a:lnTo>
                    <a:lnTo>
                      <a:pt x="430" y="59"/>
                    </a:lnTo>
                    <a:lnTo>
                      <a:pt x="430" y="62"/>
                    </a:lnTo>
                    <a:lnTo>
                      <a:pt x="430" y="64"/>
                    </a:lnTo>
                    <a:lnTo>
                      <a:pt x="430" y="64"/>
                    </a:lnTo>
                    <a:lnTo>
                      <a:pt x="428" y="66"/>
                    </a:lnTo>
                    <a:lnTo>
                      <a:pt x="428" y="66"/>
                    </a:lnTo>
                    <a:lnTo>
                      <a:pt x="428" y="66"/>
                    </a:lnTo>
                    <a:lnTo>
                      <a:pt x="425" y="64"/>
                    </a:lnTo>
                    <a:lnTo>
                      <a:pt x="425" y="66"/>
                    </a:lnTo>
                    <a:lnTo>
                      <a:pt x="425" y="69"/>
                    </a:lnTo>
                    <a:lnTo>
                      <a:pt x="425" y="69"/>
                    </a:lnTo>
                    <a:lnTo>
                      <a:pt x="425" y="71"/>
                    </a:lnTo>
                    <a:lnTo>
                      <a:pt x="425" y="69"/>
                    </a:lnTo>
                    <a:lnTo>
                      <a:pt x="425" y="66"/>
                    </a:lnTo>
                    <a:lnTo>
                      <a:pt x="428" y="66"/>
                    </a:lnTo>
                    <a:lnTo>
                      <a:pt x="428" y="66"/>
                    </a:lnTo>
                    <a:lnTo>
                      <a:pt x="430" y="66"/>
                    </a:lnTo>
                    <a:lnTo>
                      <a:pt x="430" y="64"/>
                    </a:lnTo>
                    <a:lnTo>
                      <a:pt x="430" y="64"/>
                    </a:lnTo>
                    <a:lnTo>
                      <a:pt x="430" y="62"/>
                    </a:lnTo>
                    <a:lnTo>
                      <a:pt x="430" y="59"/>
                    </a:lnTo>
                    <a:lnTo>
                      <a:pt x="432" y="59"/>
                    </a:lnTo>
                    <a:lnTo>
                      <a:pt x="432" y="57"/>
                    </a:lnTo>
                    <a:lnTo>
                      <a:pt x="432" y="57"/>
                    </a:lnTo>
                    <a:lnTo>
                      <a:pt x="435" y="59"/>
                    </a:lnTo>
                    <a:lnTo>
                      <a:pt x="432" y="59"/>
                    </a:lnTo>
                    <a:lnTo>
                      <a:pt x="432" y="59"/>
                    </a:lnTo>
                    <a:lnTo>
                      <a:pt x="435" y="62"/>
                    </a:lnTo>
                    <a:lnTo>
                      <a:pt x="435" y="62"/>
                    </a:lnTo>
                    <a:lnTo>
                      <a:pt x="435" y="62"/>
                    </a:lnTo>
                    <a:lnTo>
                      <a:pt x="435" y="57"/>
                    </a:lnTo>
                    <a:lnTo>
                      <a:pt x="435" y="57"/>
                    </a:lnTo>
                    <a:lnTo>
                      <a:pt x="437" y="59"/>
                    </a:lnTo>
                    <a:lnTo>
                      <a:pt x="435" y="62"/>
                    </a:lnTo>
                    <a:lnTo>
                      <a:pt x="435" y="64"/>
                    </a:lnTo>
                    <a:lnTo>
                      <a:pt x="435" y="66"/>
                    </a:lnTo>
                    <a:lnTo>
                      <a:pt x="435" y="66"/>
                    </a:lnTo>
                    <a:lnTo>
                      <a:pt x="435" y="69"/>
                    </a:lnTo>
                    <a:lnTo>
                      <a:pt x="432" y="71"/>
                    </a:lnTo>
                    <a:lnTo>
                      <a:pt x="432" y="73"/>
                    </a:lnTo>
                    <a:lnTo>
                      <a:pt x="432" y="73"/>
                    </a:lnTo>
                    <a:lnTo>
                      <a:pt x="432" y="76"/>
                    </a:lnTo>
                    <a:lnTo>
                      <a:pt x="432" y="76"/>
                    </a:lnTo>
                    <a:lnTo>
                      <a:pt x="430" y="76"/>
                    </a:lnTo>
                    <a:lnTo>
                      <a:pt x="430" y="76"/>
                    </a:lnTo>
                    <a:lnTo>
                      <a:pt x="430" y="76"/>
                    </a:lnTo>
                    <a:lnTo>
                      <a:pt x="430" y="76"/>
                    </a:lnTo>
                    <a:lnTo>
                      <a:pt x="430" y="76"/>
                    </a:lnTo>
                    <a:lnTo>
                      <a:pt x="432" y="76"/>
                    </a:lnTo>
                    <a:lnTo>
                      <a:pt x="430" y="83"/>
                    </a:lnTo>
                    <a:lnTo>
                      <a:pt x="430" y="83"/>
                    </a:lnTo>
                    <a:lnTo>
                      <a:pt x="428" y="83"/>
                    </a:lnTo>
                    <a:lnTo>
                      <a:pt x="428" y="83"/>
                    </a:lnTo>
                    <a:lnTo>
                      <a:pt x="425" y="83"/>
                    </a:lnTo>
                    <a:lnTo>
                      <a:pt x="425" y="85"/>
                    </a:lnTo>
                    <a:lnTo>
                      <a:pt x="425" y="85"/>
                    </a:lnTo>
                    <a:lnTo>
                      <a:pt x="423" y="88"/>
                    </a:lnTo>
                    <a:lnTo>
                      <a:pt x="425" y="85"/>
                    </a:lnTo>
                    <a:lnTo>
                      <a:pt x="425" y="85"/>
                    </a:lnTo>
                    <a:lnTo>
                      <a:pt x="425" y="83"/>
                    </a:lnTo>
                    <a:lnTo>
                      <a:pt x="428" y="85"/>
                    </a:lnTo>
                    <a:lnTo>
                      <a:pt x="428" y="83"/>
                    </a:lnTo>
                    <a:lnTo>
                      <a:pt x="430" y="83"/>
                    </a:lnTo>
                    <a:lnTo>
                      <a:pt x="428" y="85"/>
                    </a:lnTo>
                    <a:lnTo>
                      <a:pt x="428" y="85"/>
                    </a:lnTo>
                    <a:lnTo>
                      <a:pt x="425" y="88"/>
                    </a:lnTo>
                    <a:lnTo>
                      <a:pt x="428" y="85"/>
                    </a:lnTo>
                    <a:lnTo>
                      <a:pt x="428" y="85"/>
                    </a:lnTo>
                    <a:lnTo>
                      <a:pt x="430" y="83"/>
                    </a:lnTo>
                    <a:lnTo>
                      <a:pt x="430" y="83"/>
                    </a:lnTo>
                    <a:lnTo>
                      <a:pt x="430" y="88"/>
                    </a:lnTo>
                    <a:lnTo>
                      <a:pt x="430" y="90"/>
                    </a:lnTo>
                    <a:lnTo>
                      <a:pt x="430" y="92"/>
                    </a:lnTo>
                    <a:lnTo>
                      <a:pt x="430" y="90"/>
                    </a:lnTo>
                    <a:lnTo>
                      <a:pt x="432" y="90"/>
                    </a:lnTo>
                    <a:lnTo>
                      <a:pt x="432" y="88"/>
                    </a:lnTo>
                    <a:lnTo>
                      <a:pt x="432" y="85"/>
                    </a:lnTo>
                    <a:lnTo>
                      <a:pt x="432" y="83"/>
                    </a:lnTo>
                    <a:lnTo>
                      <a:pt x="435" y="78"/>
                    </a:lnTo>
                    <a:lnTo>
                      <a:pt x="435" y="73"/>
                    </a:lnTo>
                    <a:lnTo>
                      <a:pt x="435" y="73"/>
                    </a:lnTo>
                    <a:lnTo>
                      <a:pt x="439" y="73"/>
                    </a:lnTo>
                    <a:lnTo>
                      <a:pt x="439" y="76"/>
                    </a:lnTo>
                    <a:lnTo>
                      <a:pt x="439" y="76"/>
                    </a:lnTo>
                    <a:lnTo>
                      <a:pt x="442" y="76"/>
                    </a:lnTo>
                    <a:lnTo>
                      <a:pt x="442" y="76"/>
                    </a:lnTo>
                    <a:lnTo>
                      <a:pt x="444" y="76"/>
                    </a:lnTo>
                    <a:lnTo>
                      <a:pt x="444" y="76"/>
                    </a:lnTo>
                    <a:lnTo>
                      <a:pt x="442" y="73"/>
                    </a:lnTo>
                    <a:lnTo>
                      <a:pt x="444" y="71"/>
                    </a:lnTo>
                    <a:lnTo>
                      <a:pt x="444" y="71"/>
                    </a:lnTo>
                    <a:lnTo>
                      <a:pt x="444" y="71"/>
                    </a:lnTo>
                    <a:lnTo>
                      <a:pt x="444" y="66"/>
                    </a:lnTo>
                    <a:lnTo>
                      <a:pt x="444" y="66"/>
                    </a:lnTo>
                    <a:lnTo>
                      <a:pt x="449" y="64"/>
                    </a:lnTo>
                    <a:lnTo>
                      <a:pt x="451" y="62"/>
                    </a:lnTo>
                    <a:lnTo>
                      <a:pt x="451" y="62"/>
                    </a:lnTo>
                    <a:lnTo>
                      <a:pt x="451" y="64"/>
                    </a:lnTo>
                    <a:lnTo>
                      <a:pt x="454" y="62"/>
                    </a:lnTo>
                    <a:lnTo>
                      <a:pt x="454" y="62"/>
                    </a:lnTo>
                    <a:lnTo>
                      <a:pt x="454" y="59"/>
                    </a:lnTo>
                    <a:lnTo>
                      <a:pt x="454" y="59"/>
                    </a:lnTo>
                    <a:lnTo>
                      <a:pt x="456" y="59"/>
                    </a:lnTo>
                    <a:lnTo>
                      <a:pt x="456" y="57"/>
                    </a:lnTo>
                    <a:lnTo>
                      <a:pt x="456" y="57"/>
                    </a:lnTo>
                    <a:lnTo>
                      <a:pt x="456" y="55"/>
                    </a:lnTo>
                    <a:lnTo>
                      <a:pt x="456" y="55"/>
                    </a:lnTo>
                    <a:lnTo>
                      <a:pt x="456" y="57"/>
                    </a:lnTo>
                    <a:lnTo>
                      <a:pt x="458" y="55"/>
                    </a:lnTo>
                    <a:lnTo>
                      <a:pt x="458" y="55"/>
                    </a:lnTo>
                    <a:lnTo>
                      <a:pt x="458" y="57"/>
                    </a:lnTo>
                    <a:lnTo>
                      <a:pt x="458" y="57"/>
                    </a:lnTo>
                    <a:lnTo>
                      <a:pt x="458" y="57"/>
                    </a:lnTo>
                    <a:lnTo>
                      <a:pt x="458" y="57"/>
                    </a:lnTo>
                    <a:lnTo>
                      <a:pt x="458" y="59"/>
                    </a:lnTo>
                    <a:lnTo>
                      <a:pt x="458" y="59"/>
                    </a:lnTo>
                    <a:lnTo>
                      <a:pt x="458" y="59"/>
                    </a:lnTo>
                    <a:lnTo>
                      <a:pt x="458" y="57"/>
                    </a:lnTo>
                    <a:lnTo>
                      <a:pt x="458" y="59"/>
                    </a:lnTo>
                    <a:lnTo>
                      <a:pt x="458" y="59"/>
                    </a:lnTo>
                    <a:lnTo>
                      <a:pt x="458" y="62"/>
                    </a:lnTo>
                    <a:lnTo>
                      <a:pt x="456" y="64"/>
                    </a:lnTo>
                    <a:lnTo>
                      <a:pt x="458" y="64"/>
                    </a:lnTo>
                    <a:lnTo>
                      <a:pt x="458" y="62"/>
                    </a:lnTo>
                    <a:lnTo>
                      <a:pt x="458" y="64"/>
                    </a:lnTo>
                    <a:lnTo>
                      <a:pt x="458" y="66"/>
                    </a:lnTo>
                    <a:lnTo>
                      <a:pt x="461" y="66"/>
                    </a:lnTo>
                    <a:lnTo>
                      <a:pt x="461" y="66"/>
                    </a:lnTo>
                    <a:lnTo>
                      <a:pt x="461" y="66"/>
                    </a:lnTo>
                    <a:lnTo>
                      <a:pt x="461" y="66"/>
                    </a:lnTo>
                    <a:lnTo>
                      <a:pt x="461" y="66"/>
                    </a:lnTo>
                    <a:lnTo>
                      <a:pt x="458" y="66"/>
                    </a:lnTo>
                    <a:lnTo>
                      <a:pt x="458" y="64"/>
                    </a:lnTo>
                    <a:lnTo>
                      <a:pt x="461" y="62"/>
                    </a:lnTo>
                    <a:lnTo>
                      <a:pt x="458" y="59"/>
                    </a:lnTo>
                    <a:lnTo>
                      <a:pt x="458" y="57"/>
                    </a:lnTo>
                    <a:lnTo>
                      <a:pt x="458" y="55"/>
                    </a:lnTo>
                    <a:lnTo>
                      <a:pt x="461" y="55"/>
                    </a:lnTo>
                    <a:lnTo>
                      <a:pt x="461" y="52"/>
                    </a:lnTo>
                    <a:lnTo>
                      <a:pt x="461" y="52"/>
                    </a:lnTo>
                    <a:lnTo>
                      <a:pt x="461" y="50"/>
                    </a:lnTo>
                    <a:lnTo>
                      <a:pt x="463" y="47"/>
                    </a:lnTo>
                    <a:lnTo>
                      <a:pt x="461" y="47"/>
                    </a:lnTo>
                    <a:lnTo>
                      <a:pt x="461" y="47"/>
                    </a:lnTo>
                    <a:lnTo>
                      <a:pt x="461" y="47"/>
                    </a:lnTo>
                    <a:lnTo>
                      <a:pt x="461" y="47"/>
                    </a:lnTo>
                    <a:lnTo>
                      <a:pt x="461" y="45"/>
                    </a:lnTo>
                    <a:lnTo>
                      <a:pt x="461" y="45"/>
                    </a:lnTo>
                    <a:lnTo>
                      <a:pt x="461" y="45"/>
                    </a:lnTo>
                    <a:lnTo>
                      <a:pt x="461" y="43"/>
                    </a:lnTo>
                    <a:lnTo>
                      <a:pt x="461" y="43"/>
                    </a:lnTo>
                    <a:lnTo>
                      <a:pt x="463" y="43"/>
                    </a:lnTo>
                    <a:lnTo>
                      <a:pt x="463" y="43"/>
                    </a:lnTo>
                    <a:lnTo>
                      <a:pt x="463" y="45"/>
                    </a:lnTo>
                    <a:lnTo>
                      <a:pt x="463" y="45"/>
                    </a:lnTo>
                    <a:lnTo>
                      <a:pt x="463" y="47"/>
                    </a:lnTo>
                    <a:lnTo>
                      <a:pt x="461" y="50"/>
                    </a:lnTo>
                    <a:lnTo>
                      <a:pt x="463" y="55"/>
                    </a:lnTo>
                    <a:lnTo>
                      <a:pt x="463" y="57"/>
                    </a:lnTo>
                    <a:lnTo>
                      <a:pt x="461" y="57"/>
                    </a:lnTo>
                    <a:lnTo>
                      <a:pt x="461" y="59"/>
                    </a:lnTo>
                    <a:lnTo>
                      <a:pt x="461" y="59"/>
                    </a:lnTo>
                    <a:lnTo>
                      <a:pt x="463" y="59"/>
                    </a:lnTo>
                    <a:lnTo>
                      <a:pt x="463" y="59"/>
                    </a:lnTo>
                    <a:lnTo>
                      <a:pt x="463" y="59"/>
                    </a:lnTo>
                    <a:lnTo>
                      <a:pt x="463" y="62"/>
                    </a:lnTo>
                    <a:lnTo>
                      <a:pt x="463" y="62"/>
                    </a:lnTo>
                    <a:lnTo>
                      <a:pt x="463" y="59"/>
                    </a:lnTo>
                    <a:lnTo>
                      <a:pt x="465" y="59"/>
                    </a:lnTo>
                    <a:lnTo>
                      <a:pt x="463" y="59"/>
                    </a:lnTo>
                    <a:lnTo>
                      <a:pt x="463" y="59"/>
                    </a:lnTo>
                    <a:lnTo>
                      <a:pt x="463" y="59"/>
                    </a:lnTo>
                    <a:lnTo>
                      <a:pt x="463" y="57"/>
                    </a:lnTo>
                    <a:lnTo>
                      <a:pt x="463" y="57"/>
                    </a:lnTo>
                    <a:lnTo>
                      <a:pt x="465" y="57"/>
                    </a:lnTo>
                    <a:lnTo>
                      <a:pt x="465" y="57"/>
                    </a:lnTo>
                    <a:lnTo>
                      <a:pt x="463" y="57"/>
                    </a:lnTo>
                    <a:lnTo>
                      <a:pt x="465" y="55"/>
                    </a:lnTo>
                    <a:lnTo>
                      <a:pt x="465" y="55"/>
                    </a:lnTo>
                    <a:lnTo>
                      <a:pt x="465" y="57"/>
                    </a:lnTo>
                    <a:lnTo>
                      <a:pt x="465" y="57"/>
                    </a:lnTo>
                    <a:lnTo>
                      <a:pt x="465" y="57"/>
                    </a:lnTo>
                    <a:lnTo>
                      <a:pt x="463" y="59"/>
                    </a:lnTo>
                    <a:lnTo>
                      <a:pt x="465" y="57"/>
                    </a:lnTo>
                    <a:lnTo>
                      <a:pt x="465" y="59"/>
                    </a:lnTo>
                    <a:lnTo>
                      <a:pt x="468" y="57"/>
                    </a:lnTo>
                    <a:lnTo>
                      <a:pt x="468" y="55"/>
                    </a:lnTo>
                    <a:lnTo>
                      <a:pt x="465" y="52"/>
                    </a:lnTo>
                    <a:lnTo>
                      <a:pt x="465" y="52"/>
                    </a:lnTo>
                    <a:lnTo>
                      <a:pt x="465" y="50"/>
                    </a:lnTo>
                    <a:lnTo>
                      <a:pt x="465" y="50"/>
                    </a:lnTo>
                    <a:lnTo>
                      <a:pt x="465" y="50"/>
                    </a:lnTo>
                    <a:lnTo>
                      <a:pt x="465" y="52"/>
                    </a:lnTo>
                    <a:lnTo>
                      <a:pt x="465" y="50"/>
                    </a:lnTo>
                    <a:lnTo>
                      <a:pt x="468" y="50"/>
                    </a:lnTo>
                    <a:lnTo>
                      <a:pt x="468" y="52"/>
                    </a:lnTo>
                    <a:lnTo>
                      <a:pt x="468" y="52"/>
                    </a:lnTo>
                    <a:lnTo>
                      <a:pt x="465" y="52"/>
                    </a:lnTo>
                    <a:lnTo>
                      <a:pt x="468" y="52"/>
                    </a:lnTo>
                    <a:lnTo>
                      <a:pt x="465" y="55"/>
                    </a:lnTo>
                    <a:lnTo>
                      <a:pt x="465" y="55"/>
                    </a:lnTo>
                    <a:lnTo>
                      <a:pt x="468" y="55"/>
                    </a:lnTo>
                    <a:lnTo>
                      <a:pt x="468" y="55"/>
                    </a:lnTo>
                    <a:lnTo>
                      <a:pt x="468" y="59"/>
                    </a:lnTo>
                    <a:lnTo>
                      <a:pt x="468" y="59"/>
                    </a:lnTo>
                    <a:lnTo>
                      <a:pt x="465" y="64"/>
                    </a:lnTo>
                    <a:lnTo>
                      <a:pt x="468" y="62"/>
                    </a:lnTo>
                    <a:lnTo>
                      <a:pt x="468" y="59"/>
                    </a:lnTo>
                    <a:lnTo>
                      <a:pt x="468" y="57"/>
                    </a:lnTo>
                    <a:lnTo>
                      <a:pt x="468" y="57"/>
                    </a:lnTo>
                    <a:lnTo>
                      <a:pt x="470" y="59"/>
                    </a:lnTo>
                    <a:lnTo>
                      <a:pt x="470" y="59"/>
                    </a:lnTo>
                    <a:lnTo>
                      <a:pt x="470" y="59"/>
                    </a:lnTo>
                    <a:lnTo>
                      <a:pt x="472" y="59"/>
                    </a:lnTo>
                    <a:lnTo>
                      <a:pt x="475" y="57"/>
                    </a:lnTo>
                    <a:lnTo>
                      <a:pt x="475" y="57"/>
                    </a:lnTo>
                    <a:lnTo>
                      <a:pt x="475" y="59"/>
                    </a:lnTo>
                    <a:lnTo>
                      <a:pt x="477" y="59"/>
                    </a:lnTo>
                    <a:lnTo>
                      <a:pt x="480" y="59"/>
                    </a:lnTo>
                    <a:lnTo>
                      <a:pt x="480" y="62"/>
                    </a:lnTo>
                    <a:lnTo>
                      <a:pt x="480" y="62"/>
                    </a:lnTo>
                    <a:lnTo>
                      <a:pt x="480" y="59"/>
                    </a:lnTo>
                    <a:lnTo>
                      <a:pt x="480" y="59"/>
                    </a:lnTo>
                    <a:lnTo>
                      <a:pt x="480" y="57"/>
                    </a:lnTo>
                    <a:lnTo>
                      <a:pt x="482" y="57"/>
                    </a:lnTo>
                    <a:lnTo>
                      <a:pt x="484" y="59"/>
                    </a:lnTo>
                    <a:lnTo>
                      <a:pt x="482" y="59"/>
                    </a:lnTo>
                    <a:lnTo>
                      <a:pt x="482" y="59"/>
                    </a:lnTo>
                    <a:lnTo>
                      <a:pt x="482" y="62"/>
                    </a:lnTo>
                    <a:lnTo>
                      <a:pt x="482" y="62"/>
                    </a:lnTo>
                    <a:lnTo>
                      <a:pt x="482" y="59"/>
                    </a:lnTo>
                    <a:lnTo>
                      <a:pt x="482" y="59"/>
                    </a:lnTo>
                    <a:lnTo>
                      <a:pt x="484" y="62"/>
                    </a:lnTo>
                    <a:lnTo>
                      <a:pt x="484" y="62"/>
                    </a:lnTo>
                    <a:lnTo>
                      <a:pt x="484" y="62"/>
                    </a:lnTo>
                    <a:lnTo>
                      <a:pt x="482" y="59"/>
                    </a:lnTo>
                    <a:lnTo>
                      <a:pt x="487" y="59"/>
                    </a:lnTo>
                    <a:lnTo>
                      <a:pt x="487" y="59"/>
                    </a:lnTo>
                    <a:lnTo>
                      <a:pt x="484" y="59"/>
                    </a:lnTo>
                    <a:lnTo>
                      <a:pt x="484" y="57"/>
                    </a:lnTo>
                    <a:lnTo>
                      <a:pt x="487" y="57"/>
                    </a:lnTo>
                    <a:lnTo>
                      <a:pt x="489" y="55"/>
                    </a:lnTo>
                    <a:lnTo>
                      <a:pt x="489" y="52"/>
                    </a:lnTo>
                    <a:lnTo>
                      <a:pt x="491" y="55"/>
                    </a:lnTo>
                    <a:lnTo>
                      <a:pt x="491" y="52"/>
                    </a:lnTo>
                    <a:lnTo>
                      <a:pt x="494" y="55"/>
                    </a:lnTo>
                    <a:lnTo>
                      <a:pt x="491" y="52"/>
                    </a:lnTo>
                    <a:lnTo>
                      <a:pt x="491" y="50"/>
                    </a:lnTo>
                    <a:lnTo>
                      <a:pt x="494" y="50"/>
                    </a:lnTo>
                    <a:lnTo>
                      <a:pt x="494" y="50"/>
                    </a:lnTo>
                    <a:lnTo>
                      <a:pt x="491" y="50"/>
                    </a:lnTo>
                    <a:lnTo>
                      <a:pt x="494" y="50"/>
                    </a:lnTo>
                    <a:lnTo>
                      <a:pt x="496" y="50"/>
                    </a:lnTo>
                    <a:lnTo>
                      <a:pt x="496" y="50"/>
                    </a:lnTo>
                    <a:lnTo>
                      <a:pt x="494" y="50"/>
                    </a:lnTo>
                    <a:lnTo>
                      <a:pt x="496" y="50"/>
                    </a:lnTo>
                    <a:lnTo>
                      <a:pt x="496" y="50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8" y="52"/>
                    </a:lnTo>
                    <a:lnTo>
                      <a:pt x="498" y="50"/>
                    </a:lnTo>
                    <a:lnTo>
                      <a:pt x="496" y="55"/>
                    </a:lnTo>
                    <a:lnTo>
                      <a:pt x="496" y="59"/>
                    </a:lnTo>
                    <a:lnTo>
                      <a:pt x="496" y="57"/>
                    </a:lnTo>
                    <a:lnTo>
                      <a:pt x="496" y="55"/>
                    </a:lnTo>
                    <a:lnTo>
                      <a:pt x="494" y="57"/>
                    </a:lnTo>
                    <a:lnTo>
                      <a:pt x="494" y="59"/>
                    </a:lnTo>
                    <a:lnTo>
                      <a:pt x="491" y="57"/>
                    </a:lnTo>
                    <a:lnTo>
                      <a:pt x="489" y="57"/>
                    </a:lnTo>
                    <a:lnTo>
                      <a:pt x="491" y="57"/>
                    </a:lnTo>
                    <a:lnTo>
                      <a:pt x="494" y="59"/>
                    </a:lnTo>
                    <a:lnTo>
                      <a:pt x="494" y="59"/>
                    </a:lnTo>
                    <a:lnTo>
                      <a:pt x="494" y="59"/>
                    </a:lnTo>
                    <a:lnTo>
                      <a:pt x="491" y="59"/>
                    </a:lnTo>
                    <a:lnTo>
                      <a:pt x="491" y="59"/>
                    </a:lnTo>
                    <a:lnTo>
                      <a:pt x="494" y="59"/>
                    </a:lnTo>
                    <a:lnTo>
                      <a:pt x="491" y="62"/>
                    </a:lnTo>
                    <a:lnTo>
                      <a:pt x="491" y="62"/>
                    </a:lnTo>
                    <a:lnTo>
                      <a:pt x="489" y="64"/>
                    </a:lnTo>
                    <a:lnTo>
                      <a:pt x="491" y="64"/>
                    </a:lnTo>
                    <a:lnTo>
                      <a:pt x="489" y="64"/>
                    </a:lnTo>
                    <a:lnTo>
                      <a:pt x="489" y="66"/>
                    </a:lnTo>
                    <a:lnTo>
                      <a:pt x="489" y="66"/>
                    </a:lnTo>
                    <a:lnTo>
                      <a:pt x="487" y="66"/>
                    </a:lnTo>
                    <a:lnTo>
                      <a:pt x="487" y="69"/>
                    </a:lnTo>
                    <a:lnTo>
                      <a:pt x="487" y="71"/>
                    </a:lnTo>
                    <a:lnTo>
                      <a:pt x="487" y="71"/>
                    </a:lnTo>
                    <a:lnTo>
                      <a:pt x="487" y="73"/>
                    </a:lnTo>
                    <a:lnTo>
                      <a:pt x="489" y="76"/>
                    </a:lnTo>
                    <a:lnTo>
                      <a:pt x="489" y="73"/>
                    </a:lnTo>
                    <a:lnTo>
                      <a:pt x="489" y="73"/>
                    </a:lnTo>
                    <a:lnTo>
                      <a:pt x="491" y="73"/>
                    </a:lnTo>
                    <a:lnTo>
                      <a:pt x="494" y="76"/>
                    </a:lnTo>
                    <a:lnTo>
                      <a:pt x="494" y="76"/>
                    </a:lnTo>
                    <a:lnTo>
                      <a:pt x="494" y="76"/>
                    </a:lnTo>
                    <a:lnTo>
                      <a:pt x="496" y="73"/>
                    </a:lnTo>
                    <a:lnTo>
                      <a:pt x="496" y="71"/>
                    </a:lnTo>
                    <a:lnTo>
                      <a:pt x="498" y="71"/>
                    </a:lnTo>
                    <a:lnTo>
                      <a:pt x="501" y="73"/>
                    </a:lnTo>
                    <a:lnTo>
                      <a:pt x="501" y="73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3" y="76"/>
                    </a:lnTo>
                    <a:lnTo>
                      <a:pt x="501" y="73"/>
                    </a:lnTo>
                    <a:lnTo>
                      <a:pt x="501" y="73"/>
                    </a:lnTo>
                    <a:lnTo>
                      <a:pt x="503" y="76"/>
                    </a:lnTo>
                    <a:lnTo>
                      <a:pt x="503" y="78"/>
                    </a:lnTo>
                    <a:lnTo>
                      <a:pt x="501" y="81"/>
                    </a:lnTo>
                    <a:lnTo>
                      <a:pt x="503" y="81"/>
                    </a:lnTo>
                    <a:lnTo>
                      <a:pt x="503" y="78"/>
                    </a:lnTo>
                    <a:lnTo>
                      <a:pt x="503" y="76"/>
                    </a:lnTo>
                    <a:lnTo>
                      <a:pt x="503" y="76"/>
                    </a:lnTo>
                    <a:lnTo>
                      <a:pt x="503" y="71"/>
                    </a:lnTo>
                    <a:lnTo>
                      <a:pt x="503" y="71"/>
                    </a:lnTo>
                    <a:lnTo>
                      <a:pt x="503" y="71"/>
                    </a:lnTo>
                    <a:lnTo>
                      <a:pt x="503" y="71"/>
                    </a:lnTo>
                    <a:lnTo>
                      <a:pt x="503" y="71"/>
                    </a:lnTo>
                    <a:lnTo>
                      <a:pt x="503" y="71"/>
                    </a:lnTo>
                    <a:lnTo>
                      <a:pt x="506" y="71"/>
                    </a:lnTo>
                    <a:lnTo>
                      <a:pt x="506" y="69"/>
                    </a:lnTo>
                    <a:lnTo>
                      <a:pt x="506" y="71"/>
                    </a:lnTo>
                    <a:lnTo>
                      <a:pt x="506" y="76"/>
                    </a:lnTo>
                    <a:lnTo>
                      <a:pt x="506" y="76"/>
                    </a:lnTo>
                    <a:lnTo>
                      <a:pt x="506" y="76"/>
                    </a:lnTo>
                    <a:lnTo>
                      <a:pt x="506" y="76"/>
                    </a:lnTo>
                    <a:lnTo>
                      <a:pt x="508" y="76"/>
                    </a:lnTo>
                    <a:lnTo>
                      <a:pt x="506" y="73"/>
                    </a:lnTo>
                    <a:lnTo>
                      <a:pt x="506" y="73"/>
                    </a:lnTo>
                    <a:lnTo>
                      <a:pt x="508" y="76"/>
                    </a:lnTo>
                    <a:lnTo>
                      <a:pt x="508" y="73"/>
                    </a:lnTo>
                    <a:lnTo>
                      <a:pt x="508" y="71"/>
                    </a:lnTo>
                    <a:lnTo>
                      <a:pt x="510" y="69"/>
                    </a:lnTo>
                    <a:lnTo>
                      <a:pt x="513" y="69"/>
                    </a:lnTo>
                    <a:lnTo>
                      <a:pt x="513" y="69"/>
                    </a:lnTo>
                    <a:lnTo>
                      <a:pt x="513" y="69"/>
                    </a:lnTo>
                    <a:lnTo>
                      <a:pt x="513" y="69"/>
                    </a:lnTo>
                    <a:lnTo>
                      <a:pt x="513" y="66"/>
                    </a:lnTo>
                    <a:lnTo>
                      <a:pt x="513" y="71"/>
                    </a:lnTo>
                    <a:lnTo>
                      <a:pt x="510" y="73"/>
                    </a:lnTo>
                    <a:lnTo>
                      <a:pt x="510" y="76"/>
                    </a:lnTo>
                    <a:lnTo>
                      <a:pt x="510" y="76"/>
                    </a:lnTo>
                    <a:lnTo>
                      <a:pt x="508" y="76"/>
                    </a:lnTo>
                    <a:lnTo>
                      <a:pt x="510" y="76"/>
                    </a:lnTo>
                    <a:lnTo>
                      <a:pt x="513" y="73"/>
                    </a:lnTo>
                    <a:lnTo>
                      <a:pt x="513" y="73"/>
                    </a:lnTo>
                    <a:lnTo>
                      <a:pt x="513" y="71"/>
                    </a:lnTo>
                    <a:lnTo>
                      <a:pt x="515" y="71"/>
                    </a:lnTo>
                    <a:lnTo>
                      <a:pt x="515" y="71"/>
                    </a:lnTo>
                    <a:lnTo>
                      <a:pt x="515" y="71"/>
                    </a:lnTo>
                    <a:lnTo>
                      <a:pt x="515" y="73"/>
                    </a:lnTo>
                    <a:lnTo>
                      <a:pt x="513" y="73"/>
                    </a:lnTo>
                    <a:lnTo>
                      <a:pt x="515" y="73"/>
                    </a:lnTo>
                    <a:lnTo>
                      <a:pt x="515" y="71"/>
                    </a:lnTo>
                    <a:lnTo>
                      <a:pt x="515" y="69"/>
                    </a:lnTo>
                    <a:lnTo>
                      <a:pt x="517" y="69"/>
                    </a:lnTo>
                    <a:lnTo>
                      <a:pt x="517" y="71"/>
                    </a:lnTo>
                    <a:lnTo>
                      <a:pt x="517" y="71"/>
                    </a:lnTo>
                    <a:lnTo>
                      <a:pt x="517" y="73"/>
                    </a:lnTo>
                    <a:lnTo>
                      <a:pt x="520" y="76"/>
                    </a:lnTo>
                    <a:lnTo>
                      <a:pt x="520" y="76"/>
                    </a:lnTo>
                    <a:lnTo>
                      <a:pt x="520" y="81"/>
                    </a:lnTo>
                    <a:lnTo>
                      <a:pt x="517" y="83"/>
                    </a:lnTo>
                    <a:lnTo>
                      <a:pt x="517" y="81"/>
                    </a:lnTo>
                    <a:lnTo>
                      <a:pt x="517" y="81"/>
                    </a:lnTo>
                    <a:lnTo>
                      <a:pt x="515" y="81"/>
                    </a:lnTo>
                    <a:lnTo>
                      <a:pt x="515" y="81"/>
                    </a:lnTo>
                    <a:lnTo>
                      <a:pt x="515" y="81"/>
                    </a:lnTo>
                    <a:lnTo>
                      <a:pt x="513" y="81"/>
                    </a:lnTo>
                    <a:lnTo>
                      <a:pt x="513" y="78"/>
                    </a:lnTo>
                    <a:lnTo>
                      <a:pt x="513" y="81"/>
                    </a:lnTo>
                    <a:lnTo>
                      <a:pt x="508" y="81"/>
                    </a:lnTo>
                    <a:lnTo>
                      <a:pt x="508" y="81"/>
                    </a:lnTo>
                    <a:lnTo>
                      <a:pt x="506" y="81"/>
                    </a:lnTo>
                    <a:lnTo>
                      <a:pt x="508" y="81"/>
                    </a:lnTo>
                    <a:lnTo>
                      <a:pt x="508" y="81"/>
                    </a:lnTo>
                    <a:lnTo>
                      <a:pt x="506" y="83"/>
                    </a:lnTo>
                    <a:lnTo>
                      <a:pt x="506" y="83"/>
                    </a:lnTo>
                    <a:lnTo>
                      <a:pt x="506" y="85"/>
                    </a:lnTo>
                    <a:lnTo>
                      <a:pt x="503" y="83"/>
                    </a:lnTo>
                    <a:lnTo>
                      <a:pt x="501" y="85"/>
                    </a:lnTo>
                    <a:lnTo>
                      <a:pt x="503" y="83"/>
                    </a:lnTo>
                    <a:lnTo>
                      <a:pt x="503" y="85"/>
                    </a:lnTo>
                    <a:lnTo>
                      <a:pt x="503" y="85"/>
                    </a:lnTo>
                    <a:lnTo>
                      <a:pt x="503" y="85"/>
                    </a:lnTo>
                    <a:lnTo>
                      <a:pt x="503" y="85"/>
                    </a:lnTo>
                    <a:lnTo>
                      <a:pt x="501" y="88"/>
                    </a:lnTo>
                    <a:lnTo>
                      <a:pt x="501" y="88"/>
                    </a:lnTo>
                    <a:lnTo>
                      <a:pt x="501" y="88"/>
                    </a:lnTo>
                    <a:lnTo>
                      <a:pt x="503" y="88"/>
                    </a:lnTo>
                    <a:lnTo>
                      <a:pt x="503" y="90"/>
                    </a:lnTo>
                    <a:lnTo>
                      <a:pt x="503" y="90"/>
                    </a:lnTo>
                    <a:lnTo>
                      <a:pt x="503" y="90"/>
                    </a:lnTo>
                    <a:lnTo>
                      <a:pt x="503" y="90"/>
                    </a:lnTo>
                    <a:lnTo>
                      <a:pt x="506" y="90"/>
                    </a:lnTo>
                    <a:lnTo>
                      <a:pt x="506" y="92"/>
                    </a:lnTo>
                    <a:lnTo>
                      <a:pt x="503" y="92"/>
                    </a:lnTo>
                    <a:lnTo>
                      <a:pt x="503" y="92"/>
                    </a:lnTo>
                    <a:lnTo>
                      <a:pt x="503" y="92"/>
                    </a:lnTo>
                    <a:lnTo>
                      <a:pt x="506" y="92"/>
                    </a:lnTo>
                    <a:lnTo>
                      <a:pt x="506" y="92"/>
                    </a:lnTo>
                    <a:lnTo>
                      <a:pt x="506" y="90"/>
                    </a:lnTo>
                    <a:lnTo>
                      <a:pt x="506" y="90"/>
                    </a:lnTo>
                    <a:lnTo>
                      <a:pt x="506" y="90"/>
                    </a:lnTo>
                    <a:lnTo>
                      <a:pt x="503" y="90"/>
                    </a:lnTo>
                    <a:lnTo>
                      <a:pt x="503" y="88"/>
                    </a:lnTo>
                    <a:lnTo>
                      <a:pt x="506" y="88"/>
                    </a:lnTo>
                    <a:lnTo>
                      <a:pt x="508" y="90"/>
                    </a:lnTo>
                    <a:lnTo>
                      <a:pt x="508" y="90"/>
                    </a:lnTo>
                    <a:lnTo>
                      <a:pt x="513" y="90"/>
                    </a:lnTo>
                    <a:lnTo>
                      <a:pt x="513" y="90"/>
                    </a:lnTo>
                    <a:lnTo>
                      <a:pt x="513" y="90"/>
                    </a:lnTo>
                    <a:lnTo>
                      <a:pt x="513" y="92"/>
                    </a:lnTo>
                    <a:lnTo>
                      <a:pt x="513" y="92"/>
                    </a:lnTo>
                    <a:lnTo>
                      <a:pt x="513" y="92"/>
                    </a:lnTo>
                    <a:lnTo>
                      <a:pt x="510" y="92"/>
                    </a:lnTo>
                    <a:lnTo>
                      <a:pt x="510" y="92"/>
                    </a:lnTo>
                    <a:lnTo>
                      <a:pt x="508" y="92"/>
                    </a:lnTo>
                    <a:lnTo>
                      <a:pt x="510" y="92"/>
                    </a:lnTo>
                    <a:lnTo>
                      <a:pt x="510" y="95"/>
                    </a:lnTo>
                    <a:lnTo>
                      <a:pt x="508" y="97"/>
                    </a:lnTo>
                    <a:lnTo>
                      <a:pt x="506" y="97"/>
                    </a:lnTo>
                    <a:lnTo>
                      <a:pt x="503" y="99"/>
                    </a:lnTo>
                    <a:lnTo>
                      <a:pt x="503" y="99"/>
                    </a:lnTo>
                    <a:lnTo>
                      <a:pt x="501" y="99"/>
                    </a:lnTo>
                    <a:lnTo>
                      <a:pt x="501" y="99"/>
                    </a:lnTo>
                    <a:lnTo>
                      <a:pt x="498" y="99"/>
                    </a:lnTo>
                    <a:lnTo>
                      <a:pt x="498" y="99"/>
                    </a:lnTo>
                    <a:lnTo>
                      <a:pt x="498" y="102"/>
                    </a:lnTo>
                    <a:lnTo>
                      <a:pt x="501" y="99"/>
                    </a:lnTo>
                    <a:lnTo>
                      <a:pt x="501" y="102"/>
                    </a:lnTo>
                    <a:lnTo>
                      <a:pt x="498" y="102"/>
                    </a:lnTo>
                    <a:lnTo>
                      <a:pt x="498" y="102"/>
                    </a:lnTo>
                    <a:lnTo>
                      <a:pt x="496" y="102"/>
                    </a:lnTo>
                    <a:lnTo>
                      <a:pt x="494" y="104"/>
                    </a:lnTo>
                    <a:lnTo>
                      <a:pt x="498" y="102"/>
                    </a:lnTo>
                    <a:lnTo>
                      <a:pt x="498" y="102"/>
                    </a:lnTo>
                    <a:lnTo>
                      <a:pt x="501" y="102"/>
                    </a:lnTo>
                    <a:lnTo>
                      <a:pt x="503" y="99"/>
                    </a:lnTo>
                    <a:lnTo>
                      <a:pt x="506" y="99"/>
                    </a:lnTo>
                    <a:lnTo>
                      <a:pt x="510" y="97"/>
                    </a:lnTo>
                    <a:lnTo>
                      <a:pt x="510" y="99"/>
                    </a:lnTo>
                    <a:lnTo>
                      <a:pt x="510" y="99"/>
                    </a:lnTo>
                    <a:lnTo>
                      <a:pt x="508" y="102"/>
                    </a:lnTo>
                    <a:lnTo>
                      <a:pt x="506" y="102"/>
                    </a:lnTo>
                    <a:lnTo>
                      <a:pt x="506" y="102"/>
                    </a:lnTo>
                    <a:lnTo>
                      <a:pt x="508" y="102"/>
                    </a:lnTo>
                    <a:lnTo>
                      <a:pt x="508" y="102"/>
                    </a:lnTo>
                    <a:lnTo>
                      <a:pt x="513" y="99"/>
                    </a:lnTo>
                    <a:lnTo>
                      <a:pt x="513" y="99"/>
                    </a:lnTo>
                    <a:lnTo>
                      <a:pt x="513" y="99"/>
                    </a:lnTo>
                    <a:lnTo>
                      <a:pt x="513" y="99"/>
                    </a:lnTo>
                    <a:lnTo>
                      <a:pt x="513" y="99"/>
                    </a:lnTo>
                    <a:lnTo>
                      <a:pt x="513" y="95"/>
                    </a:lnTo>
                    <a:lnTo>
                      <a:pt x="515" y="95"/>
                    </a:lnTo>
                    <a:lnTo>
                      <a:pt x="517" y="95"/>
                    </a:lnTo>
                    <a:lnTo>
                      <a:pt x="517" y="92"/>
                    </a:lnTo>
                    <a:lnTo>
                      <a:pt x="520" y="92"/>
                    </a:lnTo>
                    <a:lnTo>
                      <a:pt x="520" y="95"/>
                    </a:lnTo>
                    <a:lnTo>
                      <a:pt x="517" y="95"/>
                    </a:lnTo>
                    <a:lnTo>
                      <a:pt x="517" y="99"/>
                    </a:lnTo>
                    <a:lnTo>
                      <a:pt x="517" y="99"/>
                    </a:lnTo>
                    <a:lnTo>
                      <a:pt x="515" y="99"/>
                    </a:lnTo>
                    <a:lnTo>
                      <a:pt x="515" y="99"/>
                    </a:lnTo>
                    <a:lnTo>
                      <a:pt x="515" y="99"/>
                    </a:lnTo>
                    <a:lnTo>
                      <a:pt x="515" y="102"/>
                    </a:lnTo>
                    <a:lnTo>
                      <a:pt x="515" y="99"/>
                    </a:lnTo>
                    <a:lnTo>
                      <a:pt x="517" y="99"/>
                    </a:lnTo>
                    <a:lnTo>
                      <a:pt x="517" y="99"/>
                    </a:lnTo>
                    <a:lnTo>
                      <a:pt x="517" y="97"/>
                    </a:lnTo>
                    <a:lnTo>
                      <a:pt x="520" y="95"/>
                    </a:lnTo>
                    <a:lnTo>
                      <a:pt x="520" y="95"/>
                    </a:lnTo>
                    <a:lnTo>
                      <a:pt x="520" y="97"/>
                    </a:lnTo>
                    <a:lnTo>
                      <a:pt x="520" y="99"/>
                    </a:lnTo>
                    <a:lnTo>
                      <a:pt x="520" y="97"/>
                    </a:lnTo>
                    <a:lnTo>
                      <a:pt x="520" y="95"/>
                    </a:lnTo>
                    <a:lnTo>
                      <a:pt x="520" y="92"/>
                    </a:lnTo>
                    <a:lnTo>
                      <a:pt x="520" y="92"/>
                    </a:lnTo>
                    <a:lnTo>
                      <a:pt x="520" y="92"/>
                    </a:lnTo>
                    <a:lnTo>
                      <a:pt x="520" y="92"/>
                    </a:lnTo>
                    <a:lnTo>
                      <a:pt x="522" y="92"/>
                    </a:lnTo>
                    <a:lnTo>
                      <a:pt x="520" y="90"/>
                    </a:lnTo>
                    <a:lnTo>
                      <a:pt x="520" y="90"/>
                    </a:lnTo>
                    <a:lnTo>
                      <a:pt x="522" y="90"/>
                    </a:lnTo>
                    <a:lnTo>
                      <a:pt x="524" y="90"/>
                    </a:lnTo>
                    <a:lnTo>
                      <a:pt x="527" y="92"/>
                    </a:lnTo>
                    <a:lnTo>
                      <a:pt x="527" y="92"/>
                    </a:lnTo>
                    <a:lnTo>
                      <a:pt x="524" y="92"/>
                    </a:lnTo>
                    <a:lnTo>
                      <a:pt x="522" y="97"/>
                    </a:lnTo>
                    <a:lnTo>
                      <a:pt x="522" y="99"/>
                    </a:lnTo>
                    <a:lnTo>
                      <a:pt x="522" y="102"/>
                    </a:lnTo>
                    <a:lnTo>
                      <a:pt x="522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99"/>
                    </a:lnTo>
                    <a:lnTo>
                      <a:pt x="524" y="99"/>
                    </a:lnTo>
                    <a:lnTo>
                      <a:pt x="527" y="95"/>
                    </a:lnTo>
                    <a:lnTo>
                      <a:pt x="529" y="97"/>
                    </a:lnTo>
                    <a:lnTo>
                      <a:pt x="529" y="97"/>
                    </a:lnTo>
                    <a:lnTo>
                      <a:pt x="524" y="99"/>
                    </a:lnTo>
                    <a:lnTo>
                      <a:pt x="527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7" y="104"/>
                    </a:lnTo>
                    <a:lnTo>
                      <a:pt x="527" y="104"/>
                    </a:lnTo>
                    <a:lnTo>
                      <a:pt x="527" y="106"/>
                    </a:lnTo>
                    <a:lnTo>
                      <a:pt x="527" y="109"/>
                    </a:lnTo>
                    <a:lnTo>
                      <a:pt x="529" y="106"/>
                    </a:lnTo>
                    <a:lnTo>
                      <a:pt x="532" y="104"/>
                    </a:lnTo>
                    <a:lnTo>
                      <a:pt x="532" y="104"/>
                    </a:lnTo>
                    <a:lnTo>
                      <a:pt x="534" y="102"/>
                    </a:lnTo>
                    <a:lnTo>
                      <a:pt x="534" y="104"/>
                    </a:lnTo>
                    <a:lnTo>
                      <a:pt x="534" y="106"/>
                    </a:lnTo>
                    <a:lnTo>
                      <a:pt x="532" y="109"/>
                    </a:lnTo>
                    <a:lnTo>
                      <a:pt x="529" y="111"/>
                    </a:lnTo>
                    <a:lnTo>
                      <a:pt x="529" y="111"/>
                    </a:lnTo>
                    <a:lnTo>
                      <a:pt x="527" y="111"/>
                    </a:lnTo>
                    <a:lnTo>
                      <a:pt x="527" y="111"/>
                    </a:lnTo>
                    <a:lnTo>
                      <a:pt x="524" y="114"/>
                    </a:lnTo>
                    <a:lnTo>
                      <a:pt x="527" y="111"/>
                    </a:lnTo>
                    <a:lnTo>
                      <a:pt x="527" y="114"/>
                    </a:lnTo>
                    <a:lnTo>
                      <a:pt x="527" y="111"/>
                    </a:lnTo>
                    <a:lnTo>
                      <a:pt x="529" y="111"/>
                    </a:lnTo>
                    <a:lnTo>
                      <a:pt x="529" y="111"/>
                    </a:lnTo>
                    <a:lnTo>
                      <a:pt x="529" y="114"/>
                    </a:lnTo>
                    <a:lnTo>
                      <a:pt x="529" y="114"/>
                    </a:lnTo>
                    <a:lnTo>
                      <a:pt x="529" y="114"/>
                    </a:lnTo>
                    <a:lnTo>
                      <a:pt x="532" y="116"/>
                    </a:lnTo>
                    <a:lnTo>
                      <a:pt x="532" y="114"/>
                    </a:lnTo>
                    <a:lnTo>
                      <a:pt x="529" y="114"/>
                    </a:lnTo>
                    <a:lnTo>
                      <a:pt x="534" y="111"/>
                    </a:lnTo>
                    <a:lnTo>
                      <a:pt x="534" y="114"/>
                    </a:lnTo>
                    <a:lnTo>
                      <a:pt x="534" y="111"/>
                    </a:lnTo>
                    <a:lnTo>
                      <a:pt x="534" y="114"/>
                    </a:lnTo>
                    <a:lnTo>
                      <a:pt x="534" y="114"/>
                    </a:lnTo>
                    <a:lnTo>
                      <a:pt x="534" y="114"/>
                    </a:lnTo>
                    <a:lnTo>
                      <a:pt x="534" y="111"/>
                    </a:lnTo>
                    <a:lnTo>
                      <a:pt x="536" y="111"/>
                    </a:lnTo>
                    <a:lnTo>
                      <a:pt x="536" y="111"/>
                    </a:lnTo>
                    <a:lnTo>
                      <a:pt x="539" y="116"/>
                    </a:lnTo>
                    <a:lnTo>
                      <a:pt x="539" y="118"/>
                    </a:lnTo>
                    <a:lnTo>
                      <a:pt x="541" y="118"/>
                    </a:lnTo>
                    <a:lnTo>
                      <a:pt x="541" y="121"/>
                    </a:lnTo>
                    <a:lnTo>
                      <a:pt x="539" y="121"/>
                    </a:lnTo>
                    <a:lnTo>
                      <a:pt x="539" y="118"/>
                    </a:lnTo>
                    <a:lnTo>
                      <a:pt x="539" y="121"/>
                    </a:lnTo>
                    <a:lnTo>
                      <a:pt x="536" y="118"/>
                    </a:lnTo>
                    <a:lnTo>
                      <a:pt x="536" y="121"/>
                    </a:lnTo>
                    <a:lnTo>
                      <a:pt x="536" y="121"/>
                    </a:lnTo>
                    <a:lnTo>
                      <a:pt x="536" y="121"/>
                    </a:lnTo>
                    <a:lnTo>
                      <a:pt x="539" y="121"/>
                    </a:lnTo>
                    <a:lnTo>
                      <a:pt x="541" y="123"/>
                    </a:lnTo>
                    <a:lnTo>
                      <a:pt x="539" y="123"/>
                    </a:lnTo>
                    <a:lnTo>
                      <a:pt x="541" y="123"/>
                    </a:lnTo>
                    <a:lnTo>
                      <a:pt x="541" y="123"/>
                    </a:lnTo>
                    <a:lnTo>
                      <a:pt x="541" y="125"/>
                    </a:lnTo>
                    <a:lnTo>
                      <a:pt x="539" y="128"/>
                    </a:lnTo>
                    <a:lnTo>
                      <a:pt x="541" y="128"/>
                    </a:lnTo>
                    <a:lnTo>
                      <a:pt x="541" y="128"/>
                    </a:lnTo>
                    <a:lnTo>
                      <a:pt x="543" y="128"/>
                    </a:lnTo>
                    <a:lnTo>
                      <a:pt x="543" y="128"/>
                    </a:lnTo>
                    <a:lnTo>
                      <a:pt x="541" y="130"/>
                    </a:lnTo>
                    <a:lnTo>
                      <a:pt x="539" y="132"/>
                    </a:lnTo>
                    <a:lnTo>
                      <a:pt x="539" y="132"/>
                    </a:lnTo>
                    <a:lnTo>
                      <a:pt x="539" y="140"/>
                    </a:lnTo>
                    <a:lnTo>
                      <a:pt x="539" y="144"/>
                    </a:lnTo>
                    <a:lnTo>
                      <a:pt x="541" y="142"/>
                    </a:lnTo>
                    <a:lnTo>
                      <a:pt x="543" y="144"/>
                    </a:lnTo>
                    <a:lnTo>
                      <a:pt x="543" y="144"/>
                    </a:lnTo>
                    <a:lnTo>
                      <a:pt x="548" y="147"/>
                    </a:lnTo>
                    <a:lnTo>
                      <a:pt x="548" y="149"/>
                    </a:lnTo>
                    <a:lnTo>
                      <a:pt x="548" y="149"/>
                    </a:lnTo>
                    <a:lnTo>
                      <a:pt x="546" y="151"/>
                    </a:lnTo>
                    <a:lnTo>
                      <a:pt x="548" y="149"/>
                    </a:lnTo>
                    <a:lnTo>
                      <a:pt x="548" y="149"/>
                    </a:lnTo>
                    <a:lnTo>
                      <a:pt x="548" y="149"/>
                    </a:lnTo>
                    <a:lnTo>
                      <a:pt x="550" y="151"/>
                    </a:lnTo>
                    <a:lnTo>
                      <a:pt x="553" y="154"/>
                    </a:lnTo>
                    <a:lnTo>
                      <a:pt x="550" y="154"/>
                    </a:lnTo>
                    <a:lnTo>
                      <a:pt x="550" y="156"/>
                    </a:lnTo>
                    <a:lnTo>
                      <a:pt x="550" y="156"/>
                    </a:lnTo>
                    <a:lnTo>
                      <a:pt x="550" y="154"/>
                    </a:lnTo>
                    <a:lnTo>
                      <a:pt x="550" y="156"/>
                    </a:lnTo>
                    <a:lnTo>
                      <a:pt x="550" y="156"/>
                    </a:lnTo>
                    <a:lnTo>
                      <a:pt x="550" y="156"/>
                    </a:lnTo>
                    <a:lnTo>
                      <a:pt x="550" y="154"/>
                    </a:lnTo>
                    <a:lnTo>
                      <a:pt x="553" y="156"/>
                    </a:lnTo>
                    <a:lnTo>
                      <a:pt x="553" y="158"/>
                    </a:lnTo>
                    <a:lnTo>
                      <a:pt x="553" y="163"/>
                    </a:lnTo>
                    <a:lnTo>
                      <a:pt x="553" y="161"/>
                    </a:lnTo>
                    <a:lnTo>
                      <a:pt x="553" y="163"/>
                    </a:lnTo>
                    <a:lnTo>
                      <a:pt x="553" y="163"/>
                    </a:lnTo>
                    <a:lnTo>
                      <a:pt x="555" y="163"/>
                    </a:lnTo>
                    <a:lnTo>
                      <a:pt x="557" y="168"/>
                    </a:lnTo>
                    <a:lnTo>
                      <a:pt x="557" y="168"/>
                    </a:lnTo>
                    <a:lnTo>
                      <a:pt x="557" y="170"/>
                    </a:lnTo>
                    <a:lnTo>
                      <a:pt x="557" y="170"/>
                    </a:lnTo>
                    <a:lnTo>
                      <a:pt x="555" y="173"/>
                    </a:lnTo>
                    <a:lnTo>
                      <a:pt x="555" y="173"/>
                    </a:lnTo>
                    <a:lnTo>
                      <a:pt x="553" y="173"/>
                    </a:lnTo>
                    <a:lnTo>
                      <a:pt x="550" y="173"/>
                    </a:lnTo>
                    <a:lnTo>
                      <a:pt x="553" y="173"/>
                    </a:lnTo>
                    <a:lnTo>
                      <a:pt x="555" y="175"/>
                    </a:lnTo>
                    <a:lnTo>
                      <a:pt x="555" y="175"/>
                    </a:lnTo>
                    <a:lnTo>
                      <a:pt x="555" y="177"/>
                    </a:lnTo>
                    <a:lnTo>
                      <a:pt x="553" y="180"/>
                    </a:lnTo>
                    <a:lnTo>
                      <a:pt x="550" y="180"/>
                    </a:lnTo>
                    <a:lnTo>
                      <a:pt x="550" y="180"/>
                    </a:lnTo>
                    <a:lnTo>
                      <a:pt x="550" y="180"/>
                    </a:lnTo>
                    <a:lnTo>
                      <a:pt x="550" y="180"/>
                    </a:lnTo>
                    <a:lnTo>
                      <a:pt x="555" y="184"/>
                    </a:lnTo>
                    <a:lnTo>
                      <a:pt x="555" y="184"/>
                    </a:lnTo>
                    <a:lnTo>
                      <a:pt x="560" y="192"/>
                    </a:lnTo>
                    <a:lnTo>
                      <a:pt x="562" y="192"/>
                    </a:lnTo>
                    <a:lnTo>
                      <a:pt x="562" y="189"/>
                    </a:lnTo>
                    <a:lnTo>
                      <a:pt x="565" y="189"/>
                    </a:lnTo>
                    <a:lnTo>
                      <a:pt x="569" y="189"/>
                    </a:lnTo>
                    <a:lnTo>
                      <a:pt x="569" y="189"/>
                    </a:lnTo>
                    <a:lnTo>
                      <a:pt x="574" y="187"/>
                    </a:lnTo>
                    <a:lnTo>
                      <a:pt x="574" y="187"/>
                    </a:lnTo>
                    <a:lnTo>
                      <a:pt x="579" y="187"/>
                    </a:lnTo>
                    <a:lnTo>
                      <a:pt x="579" y="184"/>
                    </a:lnTo>
                    <a:lnTo>
                      <a:pt x="581" y="184"/>
                    </a:lnTo>
                    <a:lnTo>
                      <a:pt x="583" y="184"/>
                    </a:lnTo>
                    <a:lnTo>
                      <a:pt x="586" y="182"/>
                    </a:lnTo>
                    <a:lnTo>
                      <a:pt x="583" y="182"/>
                    </a:lnTo>
                    <a:lnTo>
                      <a:pt x="586" y="182"/>
                    </a:lnTo>
                    <a:lnTo>
                      <a:pt x="586" y="182"/>
                    </a:lnTo>
                    <a:lnTo>
                      <a:pt x="588" y="180"/>
                    </a:lnTo>
                    <a:lnTo>
                      <a:pt x="588" y="182"/>
                    </a:lnTo>
                    <a:lnTo>
                      <a:pt x="588" y="180"/>
                    </a:lnTo>
                    <a:lnTo>
                      <a:pt x="588" y="180"/>
                    </a:lnTo>
                    <a:lnTo>
                      <a:pt x="591" y="180"/>
                    </a:lnTo>
                    <a:lnTo>
                      <a:pt x="591" y="180"/>
                    </a:lnTo>
                    <a:lnTo>
                      <a:pt x="591" y="180"/>
                    </a:lnTo>
                    <a:lnTo>
                      <a:pt x="591" y="180"/>
                    </a:lnTo>
                    <a:lnTo>
                      <a:pt x="591" y="182"/>
                    </a:lnTo>
                    <a:lnTo>
                      <a:pt x="591" y="180"/>
                    </a:lnTo>
                    <a:lnTo>
                      <a:pt x="591" y="182"/>
                    </a:lnTo>
                    <a:lnTo>
                      <a:pt x="593" y="180"/>
                    </a:lnTo>
                    <a:lnTo>
                      <a:pt x="591" y="180"/>
                    </a:lnTo>
                    <a:lnTo>
                      <a:pt x="591" y="180"/>
                    </a:lnTo>
                    <a:lnTo>
                      <a:pt x="591" y="177"/>
                    </a:lnTo>
                    <a:lnTo>
                      <a:pt x="593" y="177"/>
                    </a:lnTo>
                    <a:lnTo>
                      <a:pt x="598" y="180"/>
                    </a:lnTo>
                    <a:lnTo>
                      <a:pt x="598" y="177"/>
                    </a:lnTo>
                    <a:lnTo>
                      <a:pt x="600" y="177"/>
                    </a:lnTo>
                    <a:lnTo>
                      <a:pt x="600" y="177"/>
                    </a:lnTo>
                    <a:lnTo>
                      <a:pt x="598" y="180"/>
                    </a:lnTo>
                    <a:lnTo>
                      <a:pt x="600" y="184"/>
                    </a:lnTo>
                    <a:lnTo>
                      <a:pt x="600" y="184"/>
                    </a:lnTo>
                    <a:lnTo>
                      <a:pt x="598" y="184"/>
                    </a:lnTo>
                    <a:lnTo>
                      <a:pt x="598" y="184"/>
                    </a:lnTo>
                    <a:lnTo>
                      <a:pt x="598" y="184"/>
                    </a:lnTo>
                    <a:lnTo>
                      <a:pt x="598" y="184"/>
                    </a:lnTo>
                    <a:lnTo>
                      <a:pt x="595" y="182"/>
                    </a:lnTo>
                    <a:lnTo>
                      <a:pt x="595" y="182"/>
                    </a:lnTo>
                    <a:lnTo>
                      <a:pt x="595" y="182"/>
                    </a:lnTo>
                    <a:lnTo>
                      <a:pt x="595" y="184"/>
                    </a:lnTo>
                    <a:lnTo>
                      <a:pt x="595" y="184"/>
                    </a:lnTo>
                    <a:lnTo>
                      <a:pt x="595" y="182"/>
                    </a:lnTo>
                    <a:lnTo>
                      <a:pt x="593" y="184"/>
                    </a:lnTo>
                    <a:lnTo>
                      <a:pt x="593" y="182"/>
                    </a:lnTo>
                    <a:lnTo>
                      <a:pt x="593" y="184"/>
                    </a:lnTo>
                    <a:lnTo>
                      <a:pt x="595" y="184"/>
                    </a:lnTo>
                    <a:lnTo>
                      <a:pt x="593" y="184"/>
                    </a:lnTo>
                    <a:lnTo>
                      <a:pt x="591" y="184"/>
                    </a:lnTo>
                    <a:lnTo>
                      <a:pt x="588" y="187"/>
                    </a:lnTo>
                    <a:lnTo>
                      <a:pt x="588" y="187"/>
                    </a:lnTo>
                    <a:lnTo>
                      <a:pt x="588" y="187"/>
                    </a:lnTo>
                    <a:lnTo>
                      <a:pt x="591" y="187"/>
                    </a:lnTo>
                    <a:lnTo>
                      <a:pt x="591" y="184"/>
                    </a:lnTo>
                    <a:lnTo>
                      <a:pt x="591" y="187"/>
                    </a:lnTo>
                    <a:lnTo>
                      <a:pt x="595" y="187"/>
                    </a:lnTo>
                    <a:lnTo>
                      <a:pt x="593" y="187"/>
                    </a:lnTo>
                    <a:lnTo>
                      <a:pt x="593" y="187"/>
                    </a:lnTo>
                    <a:lnTo>
                      <a:pt x="595" y="189"/>
                    </a:lnTo>
                    <a:lnTo>
                      <a:pt x="595" y="187"/>
                    </a:lnTo>
                    <a:lnTo>
                      <a:pt x="598" y="187"/>
                    </a:lnTo>
                    <a:lnTo>
                      <a:pt x="605" y="187"/>
                    </a:lnTo>
                    <a:lnTo>
                      <a:pt x="607" y="189"/>
                    </a:lnTo>
                    <a:lnTo>
                      <a:pt x="605" y="196"/>
                    </a:lnTo>
                    <a:lnTo>
                      <a:pt x="602" y="201"/>
                    </a:lnTo>
                    <a:lnTo>
                      <a:pt x="605" y="201"/>
                    </a:lnTo>
                    <a:lnTo>
                      <a:pt x="607" y="196"/>
                    </a:lnTo>
                    <a:lnTo>
                      <a:pt x="612" y="192"/>
                    </a:lnTo>
                    <a:lnTo>
                      <a:pt x="614" y="187"/>
                    </a:lnTo>
                    <a:lnTo>
                      <a:pt x="617" y="182"/>
                    </a:lnTo>
                    <a:lnTo>
                      <a:pt x="619" y="177"/>
                    </a:lnTo>
                    <a:lnTo>
                      <a:pt x="621" y="177"/>
                    </a:lnTo>
                    <a:lnTo>
                      <a:pt x="624" y="173"/>
                    </a:lnTo>
                    <a:lnTo>
                      <a:pt x="628" y="170"/>
                    </a:lnTo>
                    <a:lnTo>
                      <a:pt x="631" y="170"/>
                    </a:lnTo>
                    <a:lnTo>
                      <a:pt x="631" y="173"/>
                    </a:lnTo>
                    <a:lnTo>
                      <a:pt x="631" y="173"/>
                    </a:lnTo>
                    <a:lnTo>
                      <a:pt x="631" y="173"/>
                    </a:lnTo>
                    <a:lnTo>
                      <a:pt x="633" y="173"/>
                    </a:lnTo>
                    <a:lnTo>
                      <a:pt x="633" y="175"/>
                    </a:lnTo>
                    <a:lnTo>
                      <a:pt x="633" y="173"/>
                    </a:lnTo>
                    <a:lnTo>
                      <a:pt x="635" y="163"/>
                    </a:lnTo>
                    <a:lnTo>
                      <a:pt x="638" y="163"/>
                    </a:lnTo>
                    <a:lnTo>
                      <a:pt x="645" y="158"/>
                    </a:lnTo>
                    <a:lnTo>
                      <a:pt x="650" y="156"/>
                    </a:lnTo>
                    <a:lnTo>
                      <a:pt x="652" y="154"/>
                    </a:lnTo>
                    <a:lnTo>
                      <a:pt x="654" y="156"/>
                    </a:lnTo>
                    <a:lnTo>
                      <a:pt x="657" y="158"/>
                    </a:lnTo>
                    <a:lnTo>
                      <a:pt x="664" y="170"/>
                    </a:lnTo>
                    <a:lnTo>
                      <a:pt x="664" y="173"/>
                    </a:lnTo>
                    <a:lnTo>
                      <a:pt x="666" y="175"/>
                    </a:lnTo>
                    <a:lnTo>
                      <a:pt x="669" y="173"/>
                    </a:lnTo>
                    <a:lnTo>
                      <a:pt x="671" y="170"/>
                    </a:lnTo>
                    <a:lnTo>
                      <a:pt x="673" y="168"/>
                    </a:lnTo>
                    <a:lnTo>
                      <a:pt x="678" y="168"/>
                    </a:lnTo>
                    <a:lnTo>
                      <a:pt x="680" y="168"/>
                    </a:lnTo>
                    <a:lnTo>
                      <a:pt x="680" y="168"/>
                    </a:lnTo>
                    <a:lnTo>
                      <a:pt x="680" y="168"/>
                    </a:lnTo>
                    <a:lnTo>
                      <a:pt x="683" y="168"/>
                    </a:lnTo>
                    <a:lnTo>
                      <a:pt x="685" y="170"/>
                    </a:lnTo>
                    <a:lnTo>
                      <a:pt x="687" y="170"/>
                    </a:lnTo>
                    <a:lnTo>
                      <a:pt x="690" y="170"/>
                    </a:lnTo>
                    <a:lnTo>
                      <a:pt x="706" y="175"/>
                    </a:lnTo>
                    <a:lnTo>
                      <a:pt x="709" y="175"/>
                    </a:lnTo>
                    <a:lnTo>
                      <a:pt x="716" y="180"/>
                    </a:lnTo>
                    <a:lnTo>
                      <a:pt x="728" y="184"/>
                    </a:lnTo>
                    <a:lnTo>
                      <a:pt x="730" y="187"/>
                    </a:lnTo>
                    <a:lnTo>
                      <a:pt x="735" y="189"/>
                    </a:lnTo>
                    <a:lnTo>
                      <a:pt x="749" y="196"/>
                    </a:lnTo>
                    <a:lnTo>
                      <a:pt x="756" y="199"/>
                    </a:lnTo>
                    <a:lnTo>
                      <a:pt x="761" y="199"/>
                    </a:lnTo>
                    <a:lnTo>
                      <a:pt x="758" y="201"/>
                    </a:lnTo>
                    <a:lnTo>
                      <a:pt x="758" y="201"/>
                    </a:lnTo>
                    <a:lnTo>
                      <a:pt x="761" y="201"/>
                    </a:lnTo>
                    <a:lnTo>
                      <a:pt x="761" y="199"/>
                    </a:lnTo>
                    <a:lnTo>
                      <a:pt x="761" y="196"/>
                    </a:lnTo>
                    <a:lnTo>
                      <a:pt x="761" y="199"/>
                    </a:lnTo>
                    <a:lnTo>
                      <a:pt x="761" y="196"/>
                    </a:lnTo>
                    <a:lnTo>
                      <a:pt x="761" y="196"/>
                    </a:lnTo>
                    <a:lnTo>
                      <a:pt x="763" y="201"/>
                    </a:lnTo>
                    <a:lnTo>
                      <a:pt x="763" y="201"/>
                    </a:lnTo>
                    <a:lnTo>
                      <a:pt x="763" y="201"/>
                    </a:lnTo>
                    <a:lnTo>
                      <a:pt x="763" y="203"/>
                    </a:lnTo>
                    <a:lnTo>
                      <a:pt x="768" y="203"/>
                    </a:lnTo>
                    <a:lnTo>
                      <a:pt x="768" y="206"/>
                    </a:lnTo>
                    <a:lnTo>
                      <a:pt x="768" y="206"/>
                    </a:lnTo>
                    <a:lnTo>
                      <a:pt x="765" y="210"/>
                    </a:lnTo>
                    <a:lnTo>
                      <a:pt x="768" y="210"/>
                    </a:lnTo>
                    <a:lnTo>
                      <a:pt x="768" y="210"/>
                    </a:lnTo>
                    <a:lnTo>
                      <a:pt x="770" y="206"/>
                    </a:lnTo>
                    <a:lnTo>
                      <a:pt x="768" y="203"/>
                    </a:lnTo>
                    <a:lnTo>
                      <a:pt x="765" y="201"/>
                    </a:lnTo>
                    <a:lnTo>
                      <a:pt x="765" y="201"/>
                    </a:lnTo>
                    <a:lnTo>
                      <a:pt x="763" y="201"/>
                    </a:lnTo>
                    <a:lnTo>
                      <a:pt x="763" y="201"/>
                    </a:lnTo>
                    <a:lnTo>
                      <a:pt x="765" y="201"/>
                    </a:lnTo>
                    <a:lnTo>
                      <a:pt x="765" y="199"/>
                    </a:lnTo>
                    <a:lnTo>
                      <a:pt x="765" y="199"/>
                    </a:lnTo>
                    <a:lnTo>
                      <a:pt x="763" y="199"/>
                    </a:lnTo>
                    <a:lnTo>
                      <a:pt x="763" y="199"/>
                    </a:lnTo>
                    <a:lnTo>
                      <a:pt x="761" y="199"/>
                    </a:lnTo>
                    <a:lnTo>
                      <a:pt x="763" y="196"/>
                    </a:lnTo>
                    <a:lnTo>
                      <a:pt x="763" y="196"/>
                    </a:lnTo>
                    <a:lnTo>
                      <a:pt x="765" y="199"/>
                    </a:lnTo>
                    <a:lnTo>
                      <a:pt x="775" y="208"/>
                    </a:lnTo>
                    <a:lnTo>
                      <a:pt x="780" y="213"/>
                    </a:lnTo>
                    <a:lnTo>
                      <a:pt x="784" y="215"/>
                    </a:lnTo>
                    <a:lnTo>
                      <a:pt x="787" y="215"/>
                    </a:lnTo>
                    <a:lnTo>
                      <a:pt x="787" y="215"/>
                    </a:lnTo>
                    <a:lnTo>
                      <a:pt x="791" y="215"/>
                    </a:lnTo>
                    <a:lnTo>
                      <a:pt x="794" y="218"/>
                    </a:lnTo>
                    <a:lnTo>
                      <a:pt x="796" y="220"/>
                    </a:lnTo>
                    <a:lnTo>
                      <a:pt x="794" y="215"/>
                    </a:lnTo>
                    <a:lnTo>
                      <a:pt x="796" y="215"/>
                    </a:lnTo>
                    <a:lnTo>
                      <a:pt x="801" y="218"/>
                    </a:lnTo>
                    <a:lnTo>
                      <a:pt x="808" y="220"/>
                    </a:lnTo>
                    <a:lnTo>
                      <a:pt x="815" y="215"/>
                    </a:lnTo>
                    <a:lnTo>
                      <a:pt x="815" y="215"/>
                    </a:lnTo>
                    <a:lnTo>
                      <a:pt x="815" y="215"/>
                    </a:lnTo>
                    <a:lnTo>
                      <a:pt x="817" y="215"/>
                    </a:lnTo>
                    <a:lnTo>
                      <a:pt x="820" y="215"/>
                    </a:lnTo>
                    <a:lnTo>
                      <a:pt x="822" y="215"/>
                    </a:lnTo>
                    <a:lnTo>
                      <a:pt x="827" y="213"/>
                    </a:lnTo>
                    <a:lnTo>
                      <a:pt x="827" y="213"/>
                    </a:lnTo>
                    <a:lnTo>
                      <a:pt x="827" y="213"/>
                    </a:lnTo>
                    <a:lnTo>
                      <a:pt x="827" y="215"/>
                    </a:lnTo>
                    <a:lnTo>
                      <a:pt x="829" y="218"/>
                    </a:lnTo>
                    <a:lnTo>
                      <a:pt x="829" y="215"/>
                    </a:lnTo>
                    <a:lnTo>
                      <a:pt x="827" y="215"/>
                    </a:lnTo>
                    <a:lnTo>
                      <a:pt x="829" y="215"/>
                    </a:lnTo>
                    <a:lnTo>
                      <a:pt x="836" y="215"/>
                    </a:lnTo>
                    <a:lnTo>
                      <a:pt x="841" y="215"/>
                    </a:lnTo>
                    <a:lnTo>
                      <a:pt x="846" y="215"/>
                    </a:lnTo>
                    <a:lnTo>
                      <a:pt x="848" y="215"/>
                    </a:lnTo>
                    <a:lnTo>
                      <a:pt x="848" y="215"/>
                    </a:lnTo>
                    <a:lnTo>
                      <a:pt x="848" y="215"/>
                    </a:lnTo>
                    <a:lnTo>
                      <a:pt x="848" y="215"/>
                    </a:lnTo>
                    <a:lnTo>
                      <a:pt x="848" y="218"/>
                    </a:lnTo>
                    <a:lnTo>
                      <a:pt x="853" y="222"/>
                    </a:lnTo>
                    <a:lnTo>
                      <a:pt x="853" y="225"/>
                    </a:lnTo>
                    <a:lnTo>
                      <a:pt x="853" y="222"/>
                    </a:lnTo>
                    <a:lnTo>
                      <a:pt x="855" y="222"/>
                    </a:lnTo>
                    <a:lnTo>
                      <a:pt x="853" y="220"/>
                    </a:lnTo>
                    <a:lnTo>
                      <a:pt x="855" y="220"/>
                    </a:lnTo>
                    <a:lnTo>
                      <a:pt x="857" y="220"/>
                    </a:lnTo>
                    <a:lnTo>
                      <a:pt x="860" y="220"/>
                    </a:lnTo>
                    <a:lnTo>
                      <a:pt x="862" y="220"/>
                    </a:lnTo>
                    <a:lnTo>
                      <a:pt x="867" y="220"/>
                    </a:lnTo>
                    <a:lnTo>
                      <a:pt x="867" y="220"/>
                    </a:lnTo>
                    <a:lnTo>
                      <a:pt x="869" y="220"/>
                    </a:lnTo>
                    <a:lnTo>
                      <a:pt x="874" y="220"/>
                    </a:lnTo>
                    <a:lnTo>
                      <a:pt x="879" y="220"/>
                    </a:lnTo>
                    <a:lnTo>
                      <a:pt x="879" y="220"/>
                    </a:lnTo>
                    <a:lnTo>
                      <a:pt x="879" y="220"/>
                    </a:lnTo>
                    <a:lnTo>
                      <a:pt x="879" y="222"/>
                    </a:lnTo>
                    <a:lnTo>
                      <a:pt x="879" y="225"/>
                    </a:lnTo>
                    <a:lnTo>
                      <a:pt x="874" y="227"/>
                    </a:lnTo>
                    <a:lnTo>
                      <a:pt x="874" y="232"/>
                    </a:lnTo>
                    <a:lnTo>
                      <a:pt x="876" y="232"/>
                    </a:lnTo>
                    <a:lnTo>
                      <a:pt x="876" y="234"/>
                    </a:lnTo>
                    <a:lnTo>
                      <a:pt x="874" y="234"/>
                    </a:lnTo>
                    <a:lnTo>
                      <a:pt x="874" y="236"/>
                    </a:lnTo>
                    <a:lnTo>
                      <a:pt x="872" y="241"/>
                    </a:lnTo>
                    <a:lnTo>
                      <a:pt x="874" y="241"/>
                    </a:lnTo>
                    <a:lnTo>
                      <a:pt x="876" y="246"/>
                    </a:lnTo>
                    <a:lnTo>
                      <a:pt x="876" y="246"/>
                    </a:lnTo>
                    <a:lnTo>
                      <a:pt x="881" y="248"/>
                    </a:lnTo>
                    <a:lnTo>
                      <a:pt x="881" y="248"/>
                    </a:lnTo>
                    <a:lnTo>
                      <a:pt x="881" y="251"/>
                    </a:lnTo>
                    <a:lnTo>
                      <a:pt x="879" y="255"/>
                    </a:lnTo>
                    <a:lnTo>
                      <a:pt x="879" y="255"/>
                    </a:lnTo>
                    <a:lnTo>
                      <a:pt x="879" y="260"/>
                    </a:lnTo>
                    <a:lnTo>
                      <a:pt x="876" y="260"/>
                    </a:lnTo>
                    <a:lnTo>
                      <a:pt x="874" y="262"/>
                    </a:lnTo>
                    <a:lnTo>
                      <a:pt x="872" y="265"/>
                    </a:lnTo>
                    <a:lnTo>
                      <a:pt x="869" y="267"/>
                    </a:lnTo>
                    <a:lnTo>
                      <a:pt x="869" y="269"/>
                    </a:lnTo>
                    <a:lnTo>
                      <a:pt x="867" y="269"/>
                    </a:lnTo>
                    <a:lnTo>
                      <a:pt x="865" y="269"/>
                    </a:lnTo>
                    <a:lnTo>
                      <a:pt x="865" y="272"/>
                    </a:lnTo>
                    <a:lnTo>
                      <a:pt x="865" y="274"/>
                    </a:lnTo>
                    <a:lnTo>
                      <a:pt x="865" y="277"/>
                    </a:lnTo>
                    <a:lnTo>
                      <a:pt x="865" y="277"/>
                    </a:lnTo>
                    <a:lnTo>
                      <a:pt x="865" y="281"/>
                    </a:lnTo>
                    <a:lnTo>
                      <a:pt x="862" y="281"/>
                    </a:lnTo>
                    <a:lnTo>
                      <a:pt x="862" y="279"/>
                    </a:lnTo>
                    <a:lnTo>
                      <a:pt x="860" y="279"/>
                    </a:lnTo>
                    <a:lnTo>
                      <a:pt x="860" y="281"/>
                    </a:lnTo>
                    <a:lnTo>
                      <a:pt x="857" y="284"/>
                    </a:lnTo>
                    <a:lnTo>
                      <a:pt x="857" y="286"/>
                    </a:lnTo>
                    <a:lnTo>
                      <a:pt x="857" y="286"/>
                    </a:lnTo>
                    <a:lnTo>
                      <a:pt x="855" y="288"/>
                    </a:lnTo>
                    <a:lnTo>
                      <a:pt x="855" y="288"/>
                    </a:lnTo>
                    <a:lnTo>
                      <a:pt x="853" y="288"/>
                    </a:lnTo>
                    <a:lnTo>
                      <a:pt x="848" y="288"/>
                    </a:lnTo>
                    <a:lnTo>
                      <a:pt x="846" y="291"/>
                    </a:lnTo>
                    <a:lnTo>
                      <a:pt x="841" y="291"/>
                    </a:lnTo>
                    <a:lnTo>
                      <a:pt x="839" y="293"/>
                    </a:lnTo>
                    <a:lnTo>
                      <a:pt x="839" y="293"/>
                    </a:lnTo>
                    <a:lnTo>
                      <a:pt x="839" y="295"/>
                    </a:lnTo>
                    <a:lnTo>
                      <a:pt x="843" y="295"/>
                    </a:lnTo>
                    <a:lnTo>
                      <a:pt x="843" y="295"/>
                    </a:lnTo>
                    <a:lnTo>
                      <a:pt x="843" y="295"/>
                    </a:lnTo>
                    <a:lnTo>
                      <a:pt x="843" y="295"/>
                    </a:lnTo>
                    <a:lnTo>
                      <a:pt x="843" y="298"/>
                    </a:lnTo>
                    <a:lnTo>
                      <a:pt x="841" y="298"/>
                    </a:lnTo>
                    <a:lnTo>
                      <a:pt x="841" y="298"/>
                    </a:lnTo>
                    <a:lnTo>
                      <a:pt x="839" y="300"/>
                    </a:lnTo>
                    <a:lnTo>
                      <a:pt x="839" y="303"/>
                    </a:lnTo>
                    <a:lnTo>
                      <a:pt x="839" y="303"/>
                    </a:lnTo>
                    <a:lnTo>
                      <a:pt x="839" y="303"/>
                    </a:lnTo>
                    <a:lnTo>
                      <a:pt x="836" y="307"/>
                    </a:lnTo>
                    <a:lnTo>
                      <a:pt x="832" y="307"/>
                    </a:lnTo>
                    <a:lnTo>
                      <a:pt x="832" y="307"/>
                    </a:lnTo>
                    <a:lnTo>
                      <a:pt x="829" y="310"/>
                    </a:lnTo>
                    <a:lnTo>
                      <a:pt x="832" y="312"/>
                    </a:lnTo>
                    <a:lnTo>
                      <a:pt x="829" y="314"/>
                    </a:lnTo>
                    <a:lnTo>
                      <a:pt x="829" y="312"/>
                    </a:lnTo>
                    <a:lnTo>
                      <a:pt x="829" y="314"/>
                    </a:lnTo>
                    <a:lnTo>
                      <a:pt x="824" y="312"/>
                    </a:lnTo>
                    <a:lnTo>
                      <a:pt x="820" y="314"/>
                    </a:lnTo>
                    <a:lnTo>
                      <a:pt x="820" y="314"/>
                    </a:lnTo>
                    <a:lnTo>
                      <a:pt x="817" y="314"/>
                    </a:lnTo>
                    <a:lnTo>
                      <a:pt x="815" y="314"/>
                    </a:lnTo>
                    <a:lnTo>
                      <a:pt x="815" y="312"/>
                    </a:lnTo>
                    <a:lnTo>
                      <a:pt x="810" y="314"/>
                    </a:lnTo>
                    <a:lnTo>
                      <a:pt x="808" y="314"/>
                    </a:lnTo>
                    <a:lnTo>
                      <a:pt x="806" y="314"/>
                    </a:lnTo>
                    <a:lnTo>
                      <a:pt x="806" y="317"/>
                    </a:lnTo>
                    <a:lnTo>
                      <a:pt x="806" y="317"/>
                    </a:lnTo>
                    <a:lnTo>
                      <a:pt x="803" y="319"/>
                    </a:lnTo>
                    <a:lnTo>
                      <a:pt x="803" y="317"/>
                    </a:lnTo>
                    <a:lnTo>
                      <a:pt x="803" y="317"/>
                    </a:lnTo>
                    <a:lnTo>
                      <a:pt x="801" y="317"/>
                    </a:lnTo>
                    <a:lnTo>
                      <a:pt x="801" y="317"/>
                    </a:lnTo>
                    <a:lnTo>
                      <a:pt x="798" y="319"/>
                    </a:lnTo>
                    <a:lnTo>
                      <a:pt x="798" y="319"/>
                    </a:lnTo>
                    <a:lnTo>
                      <a:pt x="796" y="319"/>
                    </a:lnTo>
                    <a:lnTo>
                      <a:pt x="796" y="319"/>
                    </a:lnTo>
                    <a:lnTo>
                      <a:pt x="794" y="317"/>
                    </a:lnTo>
                    <a:lnTo>
                      <a:pt x="794" y="314"/>
                    </a:lnTo>
                    <a:lnTo>
                      <a:pt x="794" y="314"/>
                    </a:lnTo>
                    <a:lnTo>
                      <a:pt x="791" y="314"/>
                    </a:lnTo>
                    <a:lnTo>
                      <a:pt x="791" y="317"/>
                    </a:lnTo>
                    <a:lnTo>
                      <a:pt x="791" y="319"/>
                    </a:lnTo>
                    <a:lnTo>
                      <a:pt x="789" y="321"/>
                    </a:lnTo>
                    <a:lnTo>
                      <a:pt x="789" y="321"/>
                    </a:lnTo>
                    <a:lnTo>
                      <a:pt x="789" y="324"/>
                    </a:lnTo>
                    <a:lnTo>
                      <a:pt x="789" y="324"/>
                    </a:lnTo>
                    <a:lnTo>
                      <a:pt x="789" y="324"/>
                    </a:lnTo>
                    <a:lnTo>
                      <a:pt x="784" y="329"/>
                    </a:lnTo>
                    <a:lnTo>
                      <a:pt x="782" y="331"/>
                    </a:lnTo>
                    <a:lnTo>
                      <a:pt x="782" y="331"/>
                    </a:lnTo>
                    <a:lnTo>
                      <a:pt x="780" y="333"/>
                    </a:lnTo>
                    <a:lnTo>
                      <a:pt x="777" y="336"/>
                    </a:lnTo>
                    <a:lnTo>
                      <a:pt x="777" y="338"/>
                    </a:lnTo>
                    <a:lnTo>
                      <a:pt x="777" y="338"/>
                    </a:lnTo>
                    <a:lnTo>
                      <a:pt x="775" y="338"/>
                    </a:lnTo>
                    <a:lnTo>
                      <a:pt x="772" y="343"/>
                    </a:lnTo>
                    <a:lnTo>
                      <a:pt x="770" y="345"/>
                    </a:lnTo>
                    <a:lnTo>
                      <a:pt x="770" y="347"/>
                    </a:lnTo>
                    <a:lnTo>
                      <a:pt x="770" y="347"/>
                    </a:lnTo>
                    <a:lnTo>
                      <a:pt x="770" y="347"/>
                    </a:lnTo>
                    <a:lnTo>
                      <a:pt x="770" y="352"/>
                    </a:lnTo>
                    <a:lnTo>
                      <a:pt x="770" y="352"/>
                    </a:lnTo>
                    <a:lnTo>
                      <a:pt x="770" y="355"/>
                    </a:lnTo>
                    <a:lnTo>
                      <a:pt x="770" y="357"/>
                    </a:lnTo>
                    <a:lnTo>
                      <a:pt x="770" y="359"/>
                    </a:lnTo>
                    <a:lnTo>
                      <a:pt x="770" y="359"/>
                    </a:lnTo>
                    <a:lnTo>
                      <a:pt x="770" y="362"/>
                    </a:lnTo>
                    <a:lnTo>
                      <a:pt x="770" y="362"/>
                    </a:lnTo>
                    <a:lnTo>
                      <a:pt x="763" y="371"/>
                    </a:lnTo>
                    <a:lnTo>
                      <a:pt x="763" y="371"/>
                    </a:lnTo>
                    <a:lnTo>
                      <a:pt x="763" y="373"/>
                    </a:lnTo>
                    <a:lnTo>
                      <a:pt x="763" y="376"/>
                    </a:lnTo>
                    <a:lnTo>
                      <a:pt x="763" y="378"/>
                    </a:lnTo>
                    <a:lnTo>
                      <a:pt x="756" y="380"/>
                    </a:lnTo>
                    <a:lnTo>
                      <a:pt x="756" y="385"/>
                    </a:lnTo>
                    <a:lnTo>
                      <a:pt x="754" y="388"/>
                    </a:lnTo>
                    <a:lnTo>
                      <a:pt x="754" y="388"/>
                    </a:lnTo>
                    <a:lnTo>
                      <a:pt x="754" y="385"/>
                    </a:lnTo>
                    <a:lnTo>
                      <a:pt x="751" y="385"/>
                    </a:lnTo>
                    <a:lnTo>
                      <a:pt x="749" y="390"/>
                    </a:lnTo>
                    <a:lnTo>
                      <a:pt x="749" y="392"/>
                    </a:lnTo>
                    <a:lnTo>
                      <a:pt x="746" y="397"/>
                    </a:lnTo>
                    <a:lnTo>
                      <a:pt x="746" y="399"/>
                    </a:lnTo>
                    <a:lnTo>
                      <a:pt x="744" y="402"/>
                    </a:lnTo>
                    <a:lnTo>
                      <a:pt x="742" y="402"/>
                    </a:lnTo>
                    <a:lnTo>
                      <a:pt x="742" y="404"/>
                    </a:lnTo>
                    <a:lnTo>
                      <a:pt x="742" y="404"/>
                    </a:lnTo>
                    <a:lnTo>
                      <a:pt x="744" y="406"/>
                    </a:lnTo>
                    <a:lnTo>
                      <a:pt x="744" y="406"/>
                    </a:lnTo>
                    <a:lnTo>
                      <a:pt x="737" y="406"/>
                    </a:lnTo>
                    <a:lnTo>
                      <a:pt x="737" y="409"/>
                    </a:lnTo>
                    <a:lnTo>
                      <a:pt x="737" y="409"/>
                    </a:lnTo>
                    <a:lnTo>
                      <a:pt x="732" y="416"/>
                    </a:lnTo>
                    <a:lnTo>
                      <a:pt x="730" y="418"/>
                    </a:lnTo>
                    <a:lnTo>
                      <a:pt x="730" y="421"/>
                    </a:lnTo>
                    <a:lnTo>
                      <a:pt x="732" y="425"/>
                    </a:lnTo>
                    <a:lnTo>
                      <a:pt x="732" y="425"/>
                    </a:lnTo>
                    <a:lnTo>
                      <a:pt x="735" y="430"/>
                    </a:lnTo>
                    <a:lnTo>
                      <a:pt x="735" y="432"/>
                    </a:lnTo>
                    <a:lnTo>
                      <a:pt x="735" y="437"/>
                    </a:lnTo>
                    <a:lnTo>
                      <a:pt x="735" y="437"/>
                    </a:lnTo>
                    <a:lnTo>
                      <a:pt x="735" y="437"/>
                    </a:lnTo>
                    <a:lnTo>
                      <a:pt x="737" y="437"/>
                    </a:lnTo>
                    <a:lnTo>
                      <a:pt x="737" y="437"/>
                    </a:lnTo>
                    <a:lnTo>
                      <a:pt x="737" y="437"/>
                    </a:lnTo>
                    <a:lnTo>
                      <a:pt x="744" y="442"/>
                    </a:lnTo>
                    <a:lnTo>
                      <a:pt x="744" y="442"/>
                    </a:lnTo>
                    <a:lnTo>
                      <a:pt x="744" y="447"/>
                    </a:lnTo>
                    <a:lnTo>
                      <a:pt x="744" y="449"/>
                    </a:lnTo>
                    <a:lnTo>
                      <a:pt x="746" y="449"/>
                    </a:lnTo>
                    <a:lnTo>
                      <a:pt x="746" y="451"/>
                    </a:lnTo>
                    <a:lnTo>
                      <a:pt x="746" y="451"/>
                    </a:lnTo>
                    <a:lnTo>
                      <a:pt x="746" y="451"/>
                    </a:lnTo>
                    <a:lnTo>
                      <a:pt x="746" y="451"/>
                    </a:lnTo>
                    <a:lnTo>
                      <a:pt x="746" y="454"/>
                    </a:lnTo>
                    <a:lnTo>
                      <a:pt x="744" y="458"/>
                    </a:lnTo>
                    <a:lnTo>
                      <a:pt x="746" y="461"/>
                    </a:lnTo>
                    <a:lnTo>
                      <a:pt x="746" y="461"/>
                    </a:lnTo>
                    <a:lnTo>
                      <a:pt x="744" y="463"/>
                    </a:lnTo>
                    <a:lnTo>
                      <a:pt x="744" y="466"/>
                    </a:lnTo>
                    <a:lnTo>
                      <a:pt x="739" y="470"/>
                    </a:lnTo>
                    <a:lnTo>
                      <a:pt x="739" y="473"/>
                    </a:lnTo>
                    <a:lnTo>
                      <a:pt x="739" y="473"/>
                    </a:lnTo>
                    <a:lnTo>
                      <a:pt x="737" y="473"/>
                    </a:lnTo>
                    <a:lnTo>
                      <a:pt x="735" y="475"/>
                    </a:lnTo>
                    <a:lnTo>
                      <a:pt x="735" y="477"/>
                    </a:lnTo>
                    <a:lnTo>
                      <a:pt x="735" y="480"/>
                    </a:lnTo>
                    <a:lnTo>
                      <a:pt x="737" y="480"/>
                    </a:lnTo>
                    <a:lnTo>
                      <a:pt x="739" y="482"/>
                    </a:lnTo>
                    <a:lnTo>
                      <a:pt x="739" y="482"/>
                    </a:lnTo>
                    <a:lnTo>
                      <a:pt x="737" y="484"/>
                    </a:lnTo>
                    <a:lnTo>
                      <a:pt x="735" y="487"/>
                    </a:lnTo>
                    <a:lnTo>
                      <a:pt x="735" y="489"/>
                    </a:lnTo>
                    <a:lnTo>
                      <a:pt x="737" y="494"/>
                    </a:lnTo>
                    <a:lnTo>
                      <a:pt x="737" y="494"/>
                    </a:lnTo>
                    <a:lnTo>
                      <a:pt x="742" y="496"/>
                    </a:lnTo>
                    <a:lnTo>
                      <a:pt x="742" y="499"/>
                    </a:lnTo>
                    <a:lnTo>
                      <a:pt x="742" y="503"/>
                    </a:lnTo>
                    <a:lnTo>
                      <a:pt x="742" y="503"/>
                    </a:lnTo>
                    <a:lnTo>
                      <a:pt x="746" y="508"/>
                    </a:lnTo>
                    <a:lnTo>
                      <a:pt x="746" y="508"/>
                    </a:lnTo>
                    <a:lnTo>
                      <a:pt x="746" y="510"/>
                    </a:lnTo>
                    <a:lnTo>
                      <a:pt x="746" y="515"/>
                    </a:lnTo>
                    <a:lnTo>
                      <a:pt x="746" y="515"/>
                    </a:lnTo>
                    <a:lnTo>
                      <a:pt x="749" y="522"/>
                    </a:lnTo>
                    <a:lnTo>
                      <a:pt x="749" y="525"/>
                    </a:lnTo>
                    <a:lnTo>
                      <a:pt x="749" y="527"/>
                    </a:lnTo>
                    <a:lnTo>
                      <a:pt x="751" y="527"/>
                    </a:lnTo>
                    <a:lnTo>
                      <a:pt x="751" y="529"/>
                    </a:lnTo>
                    <a:lnTo>
                      <a:pt x="754" y="534"/>
                    </a:lnTo>
                    <a:lnTo>
                      <a:pt x="754" y="536"/>
                    </a:lnTo>
                    <a:lnTo>
                      <a:pt x="754" y="541"/>
                    </a:lnTo>
                    <a:lnTo>
                      <a:pt x="754" y="543"/>
                    </a:lnTo>
                    <a:lnTo>
                      <a:pt x="751" y="548"/>
                    </a:lnTo>
                    <a:lnTo>
                      <a:pt x="751" y="551"/>
                    </a:lnTo>
                    <a:lnTo>
                      <a:pt x="754" y="555"/>
                    </a:lnTo>
                    <a:lnTo>
                      <a:pt x="754" y="555"/>
                    </a:lnTo>
                    <a:lnTo>
                      <a:pt x="754" y="558"/>
                    </a:lnTo>
                    <a:lnTo>
                      <a:pt x="751" y="562"/>
                    </a:lnTo>
                    <a:lnTo>
                      <a:pt x="751" y="562"/>
                    </a:lnTo>
                    <a:lnTo>
                      <a:pt x="749" y="565"/>
                    </a:lnTo>
                    <a:lnTo>
                      <a:pt x="746" y="565"/>
                    </a:lnTo>
                    <a:lnTo>
                      <a:pt x="746" y="567"/>
                    </a:lnTo>
                    <a:lnTo>
                      <a:pt x="744" y="569"/>
                    </a:lnTo>
                    <a:lnTo>
                      <a:pt x="742" y="569"/>
                    </a:lnTo>
                    <a:lnTo>
                      <a:pt x="739" y="569"/>
                    </a:lnTo>
                    <a:lnTo>
                      <a:pt x="739" y="574"/>
                    </a:lnTo>
                    <a:lnTo>
                      <a:pt x="737" y="577"/>
                    </a:lnTo>
                    <a:lnTo>
                      <a:pt x="735" y="577"/>
                    </a:lnTo>
                    <a:lnTo>
                      <a:pt x="732" y="577"/>
                    </a:lnTo>
                    <a:lnTo>
                      <a:pt x="732" y="581"/>
                    </a:lnTo>
                    <a:lnTo>
                      <a:pt x="732" y="581"/>
                    </a:lnTo>
                    <a:lnTo>
                      <a:pt x="730" y="584"/>
                    </a:lnTo>
                    <a:lnTo>
                      <a:pt x="728" y="588"/>
                    </a:lnTo>
                    <a:lnTo>
                      <a:pt x="725" y="591"/>
                    </a:lnTo>
                    <a:lnTo>
                      <a:pt x="725" y="593"/>
                    </a:lnTo>
                    <a:lnTo>
                      <a:pt x="725" y="595"/>
                    </a:lnTo>
                    <a:lnTo>
                      <a:pt x="723" y="595"/>
                    </a:lnTo>
                    <a:lnTo>
                      <a:pt x="718" y="595"/>
                    </a:lnTo>
                    <a:lnTo>
                      <a:pt x="718" y="598"/>
                    </a:lnTo>
                    <a:lnTo>
                      <a:pt x="716" y="598"/>
                    </a:lnTo>
                    <a:lnTo>
                      <a:pt x="716" y="600"/>
                    </a:lnTo>
                    <a:lnTo>
                      <a:pt x="718" y="600"/>
                    </a:lnTo>
                    <a:lnTo>
                      <a:pt x="718" y="603"/>
                    </a:lnTo>
                    <a:lnTo>
                      <a:pt x="718" y="603"/>
                    </a:lnTo>
                    <a:lnTo>
                      <a:pt x="718" y="607"/>
                    </a:lnTo>
                    <a:lnTo>
                      <a:pt x="718" y="614"/>
                    </a:lnTo>
                    <a:lnTo>
                      <a:pt x="718" y="614"/>
                    </a:lnTo>
                    <a:lnTo>
                      <a:pt x="716" y="614"/>
                    </a:lnTo>
                    <a:lnTo>
                      <a:pt x="716" y="617"/>
                    </a:lnTo>
                    <a:lnTo>
                      <a:pt x="716" y="617"/>
                    </a:lnTo>
                    <a:lnTo>
                      <a:pt x="716" y="621"/>
                    </a:lnTo>
                    <a:lnTo>
                      <a:pt x="718" y="624"/>
                    </a:lnTo>
                    <a:lnTo>
                      <a:pt x="716" y="626"/>
                    </a:lnTo>
                    <a:lnTo>
                      <a:pt x="718" y="631"/>
                    </a:lnTo>
                    <a:lnTo>
                      <a:pt x="716" y="636"/>
                    </a:lnTo>
                    <a:lnTo>
                      <a:pt x="716" y="638"/>
                    </a:lnTo>
                    <a:lnTo>
                      <a:pt x="718" y="638"/>
                    </a:lnTo>
                    <a:lnTo>
                      <a:pt x="718" y="643"/>
                    </a:lnTo>
                    <a:lnTo>
                      <a:pt x="718" y="643"/>
                    </a:lnTo>
                    <a:lnTo>
                      <a:pt x="720" y="645"/>
                    </a:lnTo>
                    <a:lnTo>
                      <a:pt x="723" y="647"/>
                    </a:lnTo>
                    <a:lnTo>
                      <a:pt x="723" y="647"/>
                    </a:lnTo>
                    <a:lnTo>
                      <a:pt x="723" y="650"/>
                    </a:lnTo>
                    <a:lnTo>
                      <a:pt x="723" y="652"/>
                    </a:lnTo>
                    <a:lnTo>
                      <a:pt x="723" y="652"/>
                    </a:lnTo>
                    <a:lnTo>
                      <a:pt x="723" y="652"/>
                    </a:lnTo>
                    <a:lnTo>
                      <a:pt x="720" y="655"/>
                    </a:lnTo>
                    <a:lnTo>
                      <a:pt x="718" y="655"/>
                    </a:lnTo>
                    <a:lnTo>
                      <a:pt x="718" y="655"/>
                    </a:lnTo>
                    <a:lnTo>
                      <a:pt x="723" y="657"/>
                    </a:lnTo>
                    <a:lnTo>
                      <a:pt x="723" y="662"/>
                    </a:lnTo>
                    <a:lnTo>
                      <a:pt x="725" y="664"/>
                    </a:lnTo>
                    <a:lnTo>
                      <a:pt x="728" y="664"/>
                    </a:lnTo>
                    <a:lnTo>
                      <a:pt x="730" y="664"/>
                    </a:lnTo>
                    <a:lnTo>
                      <a:pt x="732" y="664"/>
                    </a:lnTo>
                    <a:lnTo>
                      <a:pt x="732" y="666"/>
                    </a:lnTo>
                    <a:lnTo>
                      <a:pt x="732" y="671"/>
                    </a:lnTo>
                    <a:lnTo>
                      <a:pt x="732" y="671"/>
                    </a:lnTo>
                    <a:lnTo>
                      <a:pt x="735" y="673"/>
                    </a:lnTo>
                    <a:lnTo>
                      <a:pt x="737" y="673"/>
                    </a:lnTo>
                    <a:lnTo>
                      <a:pt x="739" y="678"/>
                    </a:lnTo>
                    <a:lnTo>
                      <a:pt x="742" y="678"/>
                    </a:lnTo>
                    <a:lnTo>
                      <a:pt x="744" y="678"/>
                    </a:lnTo>
                    <a:lnTo>
                      <a:pt x="746" y="678"/>
                    </a:lnTo>
                    <a:lnTo>
                      <a:pt x="746" y="680"/>
                    </a:lnTo>
                    <a:lnTo>
                      <a:pt x="746" y="680"/>
                    </a:lnTo>
                    <a:lnTo>
                      <a:pt x="746" y="683"/>
                    </a:lnTo>
                    <a:lnTo>
                      <a:pt x="746" y="683"/>
                    </a:lnTo>
                    <a:lnTo>
                      <a:pt x="749" y="685"/>
                    </a:lnTo>
                    <a:lnTo>
                      <a:pt x="746" y="690"/>
                    </a:lnTo>
                    <a:lnTo>
                      <a:pt x="746" y="692"/>
                    </a:lnTo>
                    <a:lnTo>
                      <a:pt x="746" y="692"/>
                    </a:lnTo>
                    <a:lnTo>
                      <a:pt x="749" y="692"/>
                    </a:lnTo>
                    <a:lnTo>
                      <a:pt x="751" y="692"/>
                    </a:lnTo>
                    <a:lnTo>
                      <a:pt x="751" y="692"/>
                    </a:lnTo>
                    <a:lnTo>
                      <a:pt x="746" y="697"/>
                    </a:lnTo>
                    <a:lnTo>
                      <a:pt x="746" y="697"/>
                    </a:lnTo>
                    <a:lnTo>
                      <a:pt x="746" y="699"/>
                    </a:lnTo>
                    <a:lnTo>
                      <a:pt x="744" y="704"/>
                    </a:lnTo>
                    <a:lnTo>
                      <a:pt x="744" y="704"/>
                    </a:lnTo>
                    <a:lnTo>
                      <a:pt x="746" y="706"/>
                    </a:lnTo>
                    <a:lnTo>
                      <a:pt x="744" y="709"/>
                    </a:lnTo>
                    <a:lnTo>
                      <a:pt x="746" y="711"/>
                    </a:lnTo>
                    <a:lnTo>
                      <a:pt x="744" y="714"/>
                    </a:lnTo>
                    <a:lnTo>
                      <a:pt x="744" y="714"/>
                    </a:lnTo>
                    <a:lnTo>
                      <a:pt x="744" y="716"/>
                    </a:lnTo>
                    <a:lnTo>
                      <a:pt x="744" y="716"/>
                    </a:lnTo>
                    <a:lnTo>
                      <a:pt x="744" y="718"/>
                    </a:lnTo>
                    <a:lnTo>
                      <a:pt x="744" y="721"/>
                    </a:lnTo>
                    <a:lnTo>
                      <a:pt x="744" y="723"/>
                    </a:lnTo>
                    <a:lnTo>
                      <a:pt x="742" y="728"/>
                    </a:lnTo>
                    <a:lnTo>
                      <a:pt x="739" y="732"/>
                    </a:lnTo>
                    <a:lnTo>
                      <a:pt x="739" y="732"/>
                    </a:lnTo>
                    <a:lnTo>
                      <a:pt x="739" y="735"/>
                    </a:lnTo>
                    <a:lnTo>
                      <a:pt x="739" y="737"/>
                    </a:lnTo>
                    <a:lnTo>
                      <a:pt x="735" y="740"/>
                    </a:lnTo>
                    <a:lnTo>
                      <a:pt x="732" y="742"/>
                    </a:lnTo>
                    <a:lnTo>
                      <a:pt x="730" y="747"/>
                    </a:lnTo>
                    <a:lnTo>
                      <a:pt x="728" y="747"/>
                    </a:lnTo>
                    <a:lnTo>
                      <a:pt x="728" y="747"/>
                    </a:lnTo>
                    <a:lnTo>
                      <a:pt x="725" y="749"/>
                    </a:lnTo>
                    <a:lnTo>
                      <a:pt x="723" y="749"/>
                    </a:lnTo>
                    <a:lnTo>
                      <a:pt x="720" y="747"/>
                    </a:lnTo>
                    <a:lnTo>
                      <a:pt x="718" y="747"/>
                    </a:lnTo>
                    <a:lnTo>
                      <a:pt x="716" y="749"/>
                    </a:lnTo>
                    <a:lnTo>
                      <a:pt x="713" y="751"/>
                    </a:lnTo>
                    <a:lnTo>
                      <a:pt x="711" y="751"/>
                    </a:lnTo>
                    <a:lnTo>
                      <a:pt x="709" y="751"/>
                    </a:lnTo>
                    <a:lnTo>
                      <a:pt x="706" y="749"/>
                    </a:lnTo>
                    <a:lnTo>
                      <a:pt x="704" y="749"/>
                    </a:lnTo>
                    <a:lnTo>
                      <a:pt x="697" y="749"/>
                    </a:lnTo>
                    <a:lnTo>
                      <a:pt x="697" y="749"/>
                    </a:lnTo>
                    <a:lnTo>
                      <a:pt x="697" y="751"/>
                    </a:lnTo>
                    <a:lnTo>
                      <a:pt x="692" y="754"/>
                    </a:lnTo>
                    <a:lnTo>
                      <a:pt x="690" y="754"/>
                    </a:lnTo>
                    <a:lnTo>
                      <a:pt x="685" y="754"/>
                    </a:lnTo>
                    <a:lnTo>
                      <a:pt x="683" y="756"/>
                    </a:lnTo>
                    <a:lnTo>
                      <a:pt x="680" y="756"/>
                    </a:lnTo>
                    <a:lnTo>
                      <a:pt x="680" y="758"/>
                    </a:lnTo>
                    <a:lnTo>
                      <a:pt x="678" y="758"/>
                    </a:lnTo>
                    <a:lnTo>
                      <a:pt x="678" y="758"/>
                    </a:lnTo>
                    <a:lnTo>
                      <a:pt x="676" y="758"/>
                    </a:lnTo>
                    <a:lnTo>
                      <a:pt x="673" y="758"/>
                    </a:lnTo>
                    <a:lnTo>
                      <a:pt x="671" y="758"/>
                    </a:lnTo>
                    <a:lnTo>
                      <a:pt x="671" y="761"/>
                    </a:lnTo>
                    <a:lnTo>
                      <a:pt x="669" y="758"/>
                    </a:lnTo>
                    <a:lnTo>
                      <a:pt x="666" y="756"/>
                    </a:lnTo>
                    <a:lnTo>
                      <a:pt x="666" y="754"/>
                    </a:lnTo>
                    <a:lnTo>
                      <a:pt x="664" y="754"/>
                    </a:lnTo>
                    <a:lnTo>
                      <a:pt x="661" y="751"/>
                    </a:lnTo>
                    <a:lnTo>
                      <a:pt x="659" y="751"/>
                    </a:lnTo>
                    <a:lnTo>
                      <a:pt x="659" y="749"/>
                    </a:lnTo>
                    <a:lnTo>
                      <a:pt x="659" y="747"/>
                    </a:lnTo>
                    <a:lnTo>
                      <a:pt x="659" y="747"/>
                    </a:lnTo>
                    <a:lnTo>
                      <a:pt x="657" y="747"/>
                    </a:lnTo>
                    <a:lnTo>
                      <a:pt x="657" y="747"/>
                    </a:lnTo>
                    <a:lnTo>
                      <a:pt x="657" y="747"/>
                    </a:lnTo>
                    <a:lnTo>
                      <a:pt x="654" y="747"/>
                    </a:lnTo>
                    <a:lnTo>
                      <a:pt x="654" y="747"/>
                    </a:lnTo>
                    <a:lnTo>
                      <a:pt x="652" y="747"/>
                    </a:lnTo>
                    <a:lnTo>
                      <a:pt x="650" y="744"/>
                    </a:lnTo>
                    <a:lnTo>
                      <a:pt x="647" y="742"/>
                    </a:lnTo>
                    <a:lnTo>
                      <a:pt x="645" y="742"/>
                    </a:lnTo>
                    <a:lnTo>
                      <a:pt x="643" y="740"/>
                    </a:lnTo>
                    <a:lnTo>
                      <a:pt x="640" y="742"/>
                    </a:lnTo>
                    <a:lnTo>
                      <a:pt x="640" y="740"/>
                    </a:lnTo>
                    <a:lnTo>
                      <a:pt x="640" y="740"/>
                    </a:lnTo>
                    <a:lnTo>
                      <a:pt x="638" y="740"/>
                    </a:lnTo>
                    <a:lnTo>
                      <a:pt x="635" y="740"/>
                    </a:lnTo>
                    <a:lnTo>
                      <a:pt x="633" y="740"/>
                    </a:lnTo>
                    <a:lnTo>
                      <a:pt x="633" y="740"/>
                    </a:lnTo>
                    <a:lnTo>
                      <a:pt x="631" y="742"/>
                    </a:lnTo>
                    <a:lnTo>
                      <a:pt x="628" y="740"/>
                    </a:lnTo>
                    <a:lnTo>
                      <a:pt x="626" y="742"/>
                    </a:lnTo>
                    <a:lnTo>
                      <a:pt x="626" y="742"/>
                    </a:lnTo>
                    <a:lnTo>
                      <a:pt x="626" y="744"/>
                    </a:lnTo>
                    <a:lnTo>
                      <a:pt x="621" y="744"/>
                    </a:lnTo>
                    <a:lnTo>
                      <a:pt x="617" y="747"/>
                    </a:lnTo>
                    <a:lnTo>
                      <a:pt x="614" y="747"/>
                    </a:lnTo>
                    <a:lnTo>
                      <a:pt x="612" y="747"/>
                    </a:lnTo>
                    <a:lnTo>
                      <a:pt x="612" y="749"/>
                    </a:lnTo>
                    <a:lnTo>
                      <a:pt x="609" y="749"/>
                    </a:lnTo>
                    <a:lnTo>
                      <a:pt x="609" y="749"/>
                    </a:lnTo>
                    <a:lnTo>
                      <a:pt x="609" y="747"/>
                    </a:lnTo>
                    <a:lnTo>
                      <a:pt x="607" y="747"/>
                    </a:lnTo>
                    <a:lnTo>
                      <a:pt x="605" y="747"/>
                    </a:lnTo>
                    <a:lnTo>
                      <a:pt x="605" y="747"/>
                    </a:lnTo>
                    <a:lnTo>
                      <a:pt x="598" y="749"/>
                    </a:lnTo>
                    <a:lnTo>
                      <a:pt x="598" y="749"/>
                    </a:lnTo>
                    <a:lnTo>
                      <a:pt x="595" y="749"/>
                    </a:lnTo>
                    <a:lnTo>
                      <a:pt x="595" y="751"/>
                    </a:lnTo>
                    <a:lnTo>
                      <a:pt x="595" y="754"/>
                    </a:lnTo>
                    <a:lnTo>
                      <a:pt x="593" y="756"/>
                    </a:lnTo>
                    <a:lnTo>
                      <a:pt x="593" y="756"/>
                    </a:lnTo>
                    <a:lnTo>
                      <a:pt x="591" y="754"/>
                    </a:lnTo>
                    <a:lnTo>
                      <a:pt x="588" y="754"/>
                    </a:lnTo>
                    <a:lnTo>
                      <a:pt x="588" y="754"/>
                    </a:lnTo>
                    <a:lnTo>
                      <a:pt x="588" y="754"/>
                    </a:lnTo>
                    <a:lnTo>
                      <a:pt x="588" y="756"/>
                    </a:lnTo>
                    <a:lnTo>
                      <a:pt x="591" y="758"/>
                    </a:lnTo>
                    <a:lnTo>
                      <a:pt x="588" y="761"/>
                    </a:lnTo>
                    <a:lnTo>
                      <a:pt x="588" y="761"/>
                    </a:lnTo>
                    <a:lnTo>
                      <a:pt x="588" y="761"/>
                    </a:lnTo>
                    <a:lnTo>
                      <a:pt x="588" y="758"/>
                    </a:lnTo>
                    <a:lnTo>
                      <a:pt x="586" y="758"/>
                    </a:lnTo>
                    <a:lnTo>
                      <a:pt x="586" y="758"/>
                    </a:lnTo>
                    <a:lnTo>
                      <a:pt x="586" y="761"/>
                    </a:lnTo>
                    <a:lnTo>
                      <a:pt x="581" y="763"/>
                    </a:lnTo>
                    <a:lnTo>
                      <a:pt x="579" y="766"/>
                    </a:lnTo>
                    <a:lnTo>
                      <a:pt x="579" y="766"/>
                    </a:lnTo>
                    <a:lnTo>
                      <a:pt x="579" y="770"/>
                    </a:lnTo>
                    <a:lnTo>
                      <a:pt x="579" y="770"/>
                    </a:lnTo>
                    <a:lnTo>
                      <a:pt x="579" y="770"/>
                    </a:lnTo>
                    <a:lnTo>
                      <a:pt x="576" y="770"/>
                    </a:lnTo>
                    <a:lnTo>
                      <a:pt x="576" y="775"/>
                    </a:lnTo>
                    <a:lnTo>
                      <a:pt x="572" y="780"/>
                    </a:lnTo>
                    <a:lnTo>
                      <a:pt x="569" y="780"/>
                    </a:lnTo>
                    <a:lnTo>
                      <a:pt x="569" y="780"/>
                    </a:lnTo>
                    <a:lnTo>
                      <a:pt x="569" y="782"/>
                    </a:lnTo>
                    <a:lnTo>
                      <a:pt x="567" y="784"/>
                    </a:lnTo>
                    <a:lnTo>
                      <a:pt x="567" y="784"/>
                    </a:lnTo>
                    <a:lnTo>
                      <a:pt x="567" y="789"/>
                    </a:lnTo>
                    <a:lnTo>
                      <a:pt x="567" y="789"/>
                    </a:lnTo>
                    <a:lnTo>
                      <a:pt x="567" y="792"/>
                    </a:lnTo>
                    <a:lnTo>
                      <a:pt x="562" y="794"/>
                    </a:lnTo>
                    <a:lnTo>
                      <a:pt x="562" y="794"/>
                    </a:lnTo>
                    <a:lnTo>
                      <a:pt x="560" y="794"/>
                    </a:lnTo>
                    <a:lnTo>
                      <a:pt x="555" y="794"/>
                    </a:lnTo>
                    <a:lnTo>
                      <a:pt x="553" y="794"/>
                    </a:lnTo>
                    <a:lnTo>
                      <a:pt x="550" y="796"/>
                    </a:lnTo>
                    <a:lnTo>
                      <a:pt x="550" y="799"/>
                    </a:lnTo>
                    <a:lnTo>
                      <a:pt x="548" y="801"/>
                    </a:lnTo>
                    <a:lnTo>
                      <a:pt x="543" y="801"/>
                    </a:lnTo>
                    <a:lnTo>
                      <a:pt x="541" y="803"/>
                    </a:lnTo>
                    <a:lnTo>
                      <a:pt x="541" y="803"/>
                    </a:lnTo>
                    <a:lnTo>
                      <a:pt x="539" y="803"/>
                    </a:lnTo>
                    <a:lnTo>
                      <a:pt x="536" y="806"/>
                    </a:lnTo>
                    <a:lnTo>
                      <a:pt x="536" y="808"/>
                    </a:lnTo>
                    <a:lnTo>
                      <a:pt x="534" y="808"/>
                    </a:lnTo>
                    <a:lnTo>
                      <a:pt x="532" y="810"/>
                    </a:lnTo>
                    <a:lnTo>
                      <a:pt x="529" y="813"/>
                    </a:lnTo>
                    <a:lnTo>
                      <a:pt x="529" y="813"/>
                    </a:lnTo>
                    <a:lnTo>
                      <a:pt x="527" y="815"/>
                    </a:lnTo>
                    <a:lnTo>
                      <a:pt x="527" y="815"/>
                    </a:lnTo>
                    <a:lnTo>
                      <a:pt x="524" y="820"/>
                    </a:lnTo>
                    <a:lnTo>
                      <a:pt x="522" y="820"/>
                    </a:lnTo>
                    <a:lnTo>
                      <a:pt x="520" y="822"/>
                    </a:lnTo>
                    <a:lnTo>
                      <a:pt x="517" y="822"/>
                    </a:lnTo>
                    <a:lnTo>
                      <a:pt x="517" y="822"/>
                    </a:lnTo>
                    <a:lnTo>
                      <a:pt x="517" y="827"/>
                    </a:lnTo>
                    <a:lnTo>
                      <a:pt x="515" y="827"/>
                    </a:lnTo>
                    <a:lnTo>
                      <a:pt x="515" y="832"/>
                    </a:lnTo>
                    <a:lnTo>
                      <a:pt x="513" y="832"/>
                    </a:lnTo>
                    <a:lnTo>
                      <a:pt x="513" y="832"/>
                    </a:lnTo>
                    <a:lnTo>
                      <a:pt x="513" y="832"/>
                    </a:lnTo>
                    <a:lnTo>
                      <a:pt x="510" y="829"/>
                    </a:lnTo>
                    <a:lnTo>
                      <a:pt x="508" y="827"/>
                    </a:lnTo>
                    <a:lnTo>
                      <a:pt x="503" y="829"/>
                    </a:lnTo>
                    <a:lnTo>
                      <a:pt x="503" y="827"/>
                    </a:lnTo>
                    <a:lnTo>
                      <a:pt x="498" y="827"/>
                    </a:lnTo>
                    <a:lnTo>
                      <a:pt x="498" y="829"/>
                    </a:lnTo>
                    <a:lnTo>
                      <a:pt x="494" y="829"/>
                    </a:lnTo>
                    <a:lnTo>
                      <a:pt x="494" y="832"/>
                    </a:lnTo>
                    <a:lnTo>
                      <a:pt x="494" y="832"/>
                    </a:lnTo>
                    <a:lnTo>
                      <a:pt x="494" y="834"/>
                    </a:lnTo>
                    <a:lnTo>
                      <a:pt x="491" y="834"/>
                    </a:lnTo>
                    <a:lnTo>
                      <a:pt x="489" y="836"/>
                    </a:lnTo>
                    <a:lnTo>
                      <a:pt x="489" y="834"/>
                    </a:lnTo>
                    <a:lnTo>
                      <a:pt x="487" y="836"/>
                    </a:lnTo>
                    <a:lnTo>
                      <a:pt x="487" y="836"/>
                    </a:lnTo>
                    <a:lnTo>
                      <a:pt x="487" y="839"/>
                    </a:lnTo>
                    <a:lnTo>
                      <a:pt x="484" y="841"/>
                    </a:lnTo>
                    <a:lnTo>
                      <a:pt x="484" y="841"/>
                    </a:lnTo>
                    <a:lnTo>
                      <a:pt x="484" y="841"/>
                    </a:lnTo>
                    <a:lnTo>
                      <a:pt x="480" y="841"/>
                    </a:lnTo>
                    <a:lnTo>
                      <a:pt x="480" y="843"/>
                    </a:lnTo>
                    <a:lnTo>
                      <a:pt x="477" y="843"/>
                    </a:lnTo>
                    <a:lnTo>
                      <a:pt x="477" y="843"/>
                    </a:lnTo>
                    <a:lnTo>
                      <a:pt x="475" y="843"/>
                    </a:lnTo>
                    <a:lnTo>
                      <a:pt x="472" y="843"/>
                    </a:lnTo>
                    <a:lnTo>
                      <a:pt x="470" y="846"/>
                    </a:lnTo>
                    <a:lnTo>
                      <a:pt x="468" y="846"/>
                    </a:lnTo>
                    <a:lnTo>
                      <a:pt x="468" y="846"/>
                    </a:lnTo>
                    <a:lnTo>
                      <a:pt x="465" y="846"/>
                    </a:lnTo>
                    <a:lnTo>
                      <a:pt x="458" y="846"/>
                    </a:lnTo>
                    <a:lnTo>
                      <a:pt x="458" y="848"/>
                    </a:lnTo>
                    <a:lnTo>
                      <a:pt x="456" y="848"/>
                    </a:lnTo>
                    <a:lnTo>
                      <a:pt x="456" y="846"/>
                    </a:lnTo>
                    <a:lnTo>
                      <a:pt x="454" y="848"/>
                    </a:lnTo>
                    <a:lnTo>
                      <a:pt x="451" y="851"/>
                    </a:lnTo>
                    <a:lnTo>
                      <a:pt x="449" y="853"/>
                    </a:lnTo>
                    <a:lnTo>
                      <a:pt x="449" y="853"/>
                    </a:lnTo>
                    <a:lnTo>
                      <a:pt x="446" y="853"/>
                    </a:lnTo>
                    <a:lnTo>
                      <a:pt x="446" y="853"/>
                    </a:lnTo>
                    <a:lnTo>
                      <a:pt x="444" y="853"/>
                    </a:lnTo>
                    <a:lnTo>
                      <a:pt x="444" y="853"/>
                    </a:lnTo>
                    <a:lnTo>
                      <a:pt x="444" y="853"/>
                    </a:lnTo>
                    <a:lnTo>
                      <a:pt x="442" y="855"/>
                    </a:lnTo>
                    <a:lnTo>
                      <a:pt x="439" y="853"/>
                    </a:lnTo>
                    <a:lnTo>
                      <a:pt x="437" y="855"/>
                    </a:lnTo>
                    <a:lnTo>
                      <a:pt x="437" y="855"/>
                    </a:lnTo>
                    <a:lnTo>
                      <a:pt x="435" y="855"/>
                    </a:lnTo>
                    <a:lnTo>
                      <a:pt x="432" y="855"/>
                    </a:lnTo>
                    <a:lnTo>
                      <a:pt x="432" y="858"/>
                    </a:lnTo>
                    <a:lnTo>
                      <a:pt x="428" y="860"/>
                    </a:lnTo>
                    <a:lnTo>
                      <a:pt x="425" y="860"/>
                    </a:lnTo>
                    <a:lnTo>
                      <a:pt x="425" y="860"/>
                    </a:lnTo>
                    <a:lnTo>
                      <a:pt x="425" y="862"/>
                    </a:lnTo>
                    <a:lnTo>
                      <a:pt x="425" y="862"/>
                    </a:lnTo>
                    <a:lnTo>
                      <a:pt x="423" y="865"/>
                    </a:lnTo>
                    <a:lnTo>
                      <a:pt x="423" y="865"/>
                    </a:lnTo>
                    <a:lnTo>
                      <a:pt x="423" y="865"/>
                    </a:lnTo>
                    <a:lnTo>
                      <a:pt x="423" y="865"/>
                    </a:lnTo>
                    <a:lnTo>
                      <a:pt x="420" y="865"/>
                    </a:lnTo>
                    <a:lnTo>
                      <a:pt x="420" y="867"/>
                    </a:lnTo>
                    <a:lnTo>
                      <a:pt x="420" y="867"/>
                    </a:lnTo>
                    <a:lnTo>
                      <a:pt x="420" y="867"/>
                    </a:lnTo>
                    <a:lnTo>
                      <a:pt x="418" y="867"/>
                    </a:lnTo>
                    <a:lnTo>
                      <a:pt x="416" y="867"/>
                    </a:lnTo>
                    <a:lnTo>
                      <a:pt x="416" y="867"/>
                    </a:lnTo>
                    <a:lnTo>
                      <a:pt x="418" y="869"/>
                    </a:lnTo>
                    <a:lnTo>
                      <a:pt x="416" y="869"/>
                    </a:lnTo>
                    <a:lnTo>
                      <a:pt x="416" y="869"/>
                    </a:lnTo>
                    <a:lnTo>
                      <a:pt x="416" y="872"/>
                    </a:lnTo>
                    <a:lnTo>
                      <a:pt x="416" y="872"/>
                    </a:lnTo>
                    <a:lnTo>
                      <a:pt x="413" y="874"/>
                    </a:lnTo>
                    <a:lnTo>
                      <a:pt x="413" y="874"/>
                    </a:lnTo>
                    <a:lnTo>
                      <a:pt x="413" y="877"/>
                    </a:lnTo>
                    <a:lnTo>
                      <a:pt x="413" y="877"/>
                    </a:lnTo>
                    <a:lnTo>
                      <a:pt x="413" y="877"/>
                    </a:lnTo>
                    <a:lnTo>
                      <a:pt x="413" y="877"/>
                    </a:lnTo>
                    <a:lnTo>
                      <a:pt x="413" y="877"/>
                    </a:lnTo>
                    <a:lnTo>
                      <a:pt x="413" y="879"/>
                    </a:lnTo>
                    <a:lnTo>
                      <a:pt x="413" y="881"/>
                    </a:lnTo>
                    <a:lnTo>
                      <a:pt x="413" y="881"/>
                    </a:lnTo>
                    <a:lnTo>
                      <a:pt x="413" y="884"/>
                    </a:lnTo>
                    <a:lnTo>
                      <a:pt x="411" y="881"/>
                    </a:lnTo>
                    <a:lnTo>
                      <a:pt x="411" y="884"/>
                    </a:lnTo>
                    <a:lnTo>
                      <a:pt x="411" y="884"/>
                    </a:lnTo>
                    <a:lnTo>
                      <a:pt x="411" y="886"/>
                    </a:lnTo>
                    <a:lnTo>
                      <a:pt x="411" y="888"/>
                    </a:lnTo>
                    <a:lnTo>
                      <a:pt x="409" y="891"/>
                    </a:lnTo>
                    <a:lnTo>
                      <a:pt x="409" y="891"/>
                    </a:lnTo>
                    <a:lnTo>
                      <a:pt x="406" y="893"/>
                    </a:lnTo>
                    <a:lnTo>
                      <a:pt x="406" y="893"/>
                    </a:lnTo>
                    <a:lnTo>
                      <a:pt x="406" y="893"/>
                    </a:lnTo>
                    <a:lnTo>
                      <a:pt x="409" y="895"/>
                    </a:lnTo>
                    <a:lnTo>
                      <a:pt x="409" y="895"/>
                    </a:lnTo>
                    <a:lnTo>
                      <a:pt x="406" y="895"/>
                    </a:lnTo>
                    <a:lnTo>
                      <a:pt x="409" y="898"/>
                    </a:lnTo>
                    <a:lnTo>
                      <a:pt x="409" y="900"/>
                    </a:lnTo>
                    <a:lnTo>
                      <a:pt x="406" y="900"/>
                    </a:lnTo>
                    <a:lnTo>
                      <a:pt x="406" y="900"/>
                    </a:lnTo>
                    <a:lnTo>
                      <a:pt x="406" y="900"/>
                    </a:lnTo>
                    <a:lnTo>
                      <a:pt x="406" y="903"/>
                    </a:lnTo>
                    <a:lnTo>
                      <a:pt x="406" y="903"/>
                    </a:lnTo>
                    <a:lnTo>
                      <a:pt x="404" y="905"/>
                    </a:lnTo>
                    <a:lnTo>
                      <a:pt x="406" y="905"/>
                    </a:lnTo>
                    <a:lnTo>
                      <a:pt x="406" y="905"/>
                    </a:lnTo>
                    <a:lnTo>
                      <a:pt x="404" y="907"/>
                    </a:lnTo>
                    <a:lnTo>
                      <a:pt x="404" y="910"/>
                    </a:lnTo>
                    <a:lnTo>
                      <a:pt x="406" y="912"/>
                    </a:lnTo>
                    <a:lnTo>
                      <a:pt x="406" y="912"/>
                    </a:lnTo>
                    <a:lnTo>
                      <a:pt x="404" y="912"/>
                    </a:lnTo>
                    <a:lnTo>
                      <a:pt x="404" y="912"/>
                    </a:lnTo>
                    <a:lnTo>
                      <a:pt x="402" y="914"/>
                    </a:lnTo>
                    <a:lnTo>
                      <a:pt x="404" y="917"/>
                    </a:lnTo>
                    <a:lnTo>
                      <a:pt x="404" y="917"/>
                    </a:lnTo>
                    <a:lnTo>
                      <a:pt x="404" y="919"/>
                    </a:lnTo>
                    <a:lnTo>
                      <a:pt x="402" y="924"/>
                    </a:lnTo>
                    <a:lnTo>
                      <a:pt x="402" y="926"/>
                    </a:lnTo>
                    <a:lnTo>
                      <a:pt x="402" y="926"/>
                    </a:lnTo>
                    <a:lnTo>
                      <a:pt x="402" y="929"/>
                    </a:lnTo>
                    <a:lnTo>
                      <a:pt x="402" y="931"/>
                    </a:lnTo>
                    <a:lnTo>
                      <a:pt x="402" y="933"/>
                    </a:lnTo>
                    <a:lnTo>
                      <a:pt x="399" y="933"/>
                    </a:lnTo>
                    <a:lnTo>
                      <a:pt x="397" y="936"/>
                    </a:lnTo>
                    <a:lnTo>
                      <a:pt x="397" y="936"/>
                    </a:lnTo>
                    <a:lnTo>
                      <a:pt x="397" y="938"/>
                    </a:lnTo>
                    <a:lnTo>
                      <a:pt x="392" y="943"/>
                    </a:lnTo>
                    <a:lnTo>
                      <a:pt x="392" y="947"/>
                    </a:lnTo>
                    <a:lnTo>
                      <a:pt x="390" y="950"/>
                    </a:lnTo>
                    <a:lnTo>
                      <a:pt x="390" y="952"/>
                    </a:lnTo>
                    <a:lnTo>
                      <a:pt x="387" y="955"/>
                    </a:lnTo>
                    <a:lnTo>
                      <a:pt x="387" y="957"/>
                    </a:lnTo>
                    <a:lnTo>
                      <a:pt x="387" y="957"/>
                    </a:lnTo>
                    <a:lnTo>
                      <a:pt x="385" y="959"/>
                    </a:lnTo>
                    <a:lnTo>
                      <a:pt x="387" y="959"/>
                    </a:lnTo>
                    <a:lnTo>
                      <a:pt x="385" y="962"/>
                    </a:lnTo>
                    <a:lnTo>
                      <a:pt x="385" y="962"/>
                    </a:lnTo>
                    <a:lnTo>
                      <a:pt x="383" y="962"/>
                    </a:lnTo>
                    <a:lnTo>
                      <a:pt x="385" y="964"/>
                    </a:lnTo>
                    <a:lnTo>
                      <a:pt x="383" y="964"/>
                    </a:lnTo>
                    <a:lnTo>
                      <a:pt x="383" y="964"/>
                    </a:lnTo>
                    <a:lnTo>
                      <a:pt x="383" y="966"/>
                    </a:lnTo>
                    <a:lnTo>
                      <a:pt x="383" y="966"/>
                    </a:lnTo>
                    <a:lnTo>
                      <a:pt x="383" y="969"/>
                    </a:lnTo>
                    <a:lnTo>
                      <a:pt x="380" y="969"/>
                    </a:lnTo>
                    <a:lnTo>
                      <a:pt x="383" y="973"/>
                    </a:lnTo>
                    <a:lnTo>
                      <a:pt x="380" y="976"/>
                    </a:lnTo>
                    <a:lnTo>
                      <a:pt x="383" y="976"/>
                    </a:lnTo>
                    <a:lnTo>
                      <a:pt x="380" y="978"/>
                    </a:lnTo>
                    <a:lnTo>
                      <a:pt x="378" y="978"/>
                    </a:lnTo>
                    <a:lnTo>
                      <a:pt x="380" y="980"/>
                    </a:lnTo>
                    <a:lnTo>
                      <a:pt x="378" y="983"/>
                    </a:lnTo>
                    <a:lnTo>
                      <a:pt x="378" y="983"/>
                    </a:lnTo>
                    <a:lnTo>
                      <a:pt x="378" y="985"/>
                    </a:lnTo>
                    <a:lnTo>
                      <a:pt x="376" y="988"/>
                    </a:lnTo>
                    <a:lnTo>
                      <a:pt x="376" y="988"/>
                    </a:lnTo>
                    <a:lnTo>
                      <a:pt x="378" y="990"/>
                    </a:lnTo>
                    <a:lnTo>
                      <a:pt x="376" y="992"/>
                    </a:lnTo>
                    <a:lnTo>
                      <a:pt x="373" y="990"/>
                    </a:lnTo>
                    <a:lnTo>
                      <a:pt x="373" y="992"/>
                    </a:lnTo>
                    <a:lnTo>
                      <a:pt x="373" y="992"/>
                    </a:lnTo>
                    <a:lnTo>
                      <a:pt x="373" y="992"/>
                    </a:lnTo>
                    <a:lnTo>
                      <a:pt x="371" y="995"/>
                    </a:lnTo>
                    <a:lnTo>
                      <a:pt x="373" y="997"/>
                    </a:lnTo>
                    <a:lnTo>
                      <a:pt x="371" y="997"/>
                    </a:lnTo>
                    <a:lnTo>
                      <a:pt x="369" y="1004"/>
                    </a:lnTo>
                    <a:lnTo>
                      <a:pt x="366" y="1004"/>
                    </a:lnTo>
                    <a:lnTo>
                      <a:pt x="366" y="1004"/>
                    </a:lnTo>
                    <a:lnTo>
                      <a:pt x="366" y="1006"/>
                    </a:lnTo>
                    <a:lnTo>
                      <a:pt x="364" y="1006"/>
                    </a:lnTo>
                    <a:lnTo>
                      <a:pt x="364" y="1006"/>
                    </a:lnTo>
                    <a:lnTo>
                      <a:pt x="361" y="1011"/>
                    </a:lnTo>
                    <a:lnTo>
                      <a:pt x="359" y="1009"/>
                    </a:lnTo>
                    <a:lnTo>
                      <a:pt x="357" y="1011"/>
                    </a:lnTo>
                    <a:lnTo>
                      <a:pt x="357" y="1011"/>
                    </a:lnTo>
                    <a:lnTo>
                      <a:pt x="357" y="1014"/>
                    </a:lnTo>
                    <a:lnTo>
                      <a:pt x="357" y="1014"/>
                    </a:lnTo>
                    <a:lnTo>
                      <a:pt x="354" y="1016"/>
                    </a:lnTo>
                    <a:lnTo>
                      <a:pt x="352" y="1018"/>
                    </a:lnTo>
                    <a:lnTo>
                      <a:pt x="354" y="1018"/>
                    </a:lnTo>
                    <a:lnTo>
                      <a:pt x="357" y="1018"/>
                    </a:lnTo>
                    <a:lnTo>
                      <a:pt x="357" y="1021"/>
                    </a:lnTo>
                    <a:lnTo>
                      <a:pt x="354" y="1021"/>
                    </a:lnTo>
                    <a:lnTo>
                      <a:pt x="354" y="1021"/>
                    </a:lnTo>
                    <a:lnTo>
                      <a:pt x="352" y="1021"/>
                    </a:lnTo>
                    <a:lnTo>
                      <a:pt x="352" y="1023"/>
                    </a:lnTo>
                    <a:lnTo>
                      <a:pt x="352" y="1023"/>
                    </a:lnTo>
                    <a:lnTo>
                      <a:pt x="352" y="1025"/>
                    </a:lnTo>
                    <a:lnTo>
                      <a:pt x="350" y="1025"/>
                    </a:lnTo>
                    <a:lnTo>
                      <a:pt x="350" y="1028"/>
                    </a:lnTo>
                    <a:lnTo>
                      <a:pt x="350" y="1028"/>
                    </a:lnTo>
                    <a:lnTo>
                      <a:pt x="350" y="1030"/>
                    </a:lnTo>
                    <a:lnTo>
                      <a:pt x="350" y="1030"/>
                    </a:lnTo>
                    <a:lnTo>
                      <a:pt x="350" y="1032"/>
                    </a:lnTo>
                    <a:lnTo>
                      <a:pt x="350" y="1032"/>
                    </a:lnTo>
                    <a:lnTo>
                      <a:pt x="350" y="1037"/>
                    </a:lnTo>
                    <a:lnTo>
                      <a:pt x="350" y="1037"/>
                    </a:lnTo>
                    <a:lnTo>
                      <a:pt x="352" y="1040"/>
                    </a:lnTo>
                    <a:lnTo>
                      <a:pt x="352" y="1042"/>
                    </a:lnTo>
                    <a:lnTo>
                      <a:pt x="357" y="1042"/>
                    </a:lnTo>
                    <a:lnTo>
                      <a:pt x="357" y="1044"/>
                    </a:lnTo>
                    <a:lnTo>
                      <a:pt x="357" y="1047"/>
                    </a:lnTo>
                    <a:lnTo>
                      <a:pt x="357" y="1049"/>
                    </a:lnTo>
                    <a:lnTo>
                      <a:pt x="357" y="1049"/>
                    </a:lnTo>
                    <a:lnTo>
                      <a:pt x="357" y="1049"/>
                    </a:lnTo>
                    <a:lnTo>
                      <a:pt x="357" y="1051"/>
                    </a:lnTo>
                    <a:lnTo>
                      <a:pt x="357" y="1051"/>
                    </a:lnTo>
                    <a:lnTo>
                      <a:pt x="359" y="1051"/>
                    </a:lnTo>
                    <a:lnTo>
                      <a:pt x="359" y="1054"/>
                    </a:lnTo>
                    <a:lnTo>
                      <a:pt x="357" y="1054"/>
                    </a:lnTo>
                    <a:lnTo>
                      <a:pt x="357" y="1056"/>
                    </a:lnTo>
                    <a:lnTo>
                      <a:pt x="357" y="1058"/>
                    </a:lnTo>
                    <a:lnTo>
                      <a:pt x="359" y="1061"/>
                    </a:lnTo>
                    <a:lnTo>
                      <a:pt x="359" y="1063"/>
                    </a:lnTo>
                    <a:lnTo>
                      <a:pt x="359" y="1063"/>
                    </a:lnTo>
                    <a:lnTo>
                      <a:pt x="361" y="1066"/>
                    </a:lnTo>
                    <a:lnTo>
                      <a:pt x="361" y="1066"/>
                    </a:lnTo>
                    <a:lnTo>
                      <a:pt x="359" y="1066"/>
                    </a:lnTo>
                    <a:lnTo>
                      <a:pt x="361" y="1068"/>
                    </a:lnTo>
                    <a:lnTo>
                      <a:pt x="361" y="1070"/>
                    </a:lnTo>
                    <a:lnTo>
                      <a:pt x="361" y="1070"/>
                    </a:lnTo>
                    <a:lnTo>
                      <a:pt x="361" y="1075"/>
                    </a:lnTo>
                    <a:lnTo>
                      <a:pt x="361" y="1075"/>
                    </a:lnTo>
                    <a:lnTo>
                      <a:pt x="361" y="1077"/>
                    </a:lnTo>
                    <a:lnTo>
                      <a:pt x="361" y="1080"/>
                    </a:lnTo>
                    <a:lnTo>
                      <a:pt x="359" y="1080"/>
                    </a:lnTo>
                    <a:lnTo>
                      <a:pt x="359" y="1080"/>
                    </a:lnTo>
                    <a:lnTo>
                      <a:pt x="361" y="1082"/>
                    </a:lnTo>
                    <a:lnTo>
                      <a:pt x="361" y="1082"/>
                    </a:lnTo>
                    <a:lnTo>
                      <a:pt x="361" y="1082"/>
                    </a:lnTo>
                    <a:lnTo>
                      <a:pt x="361" y="1084"/>
                    </a:lnTo>
                    <a:lnTo>
                      <a:pt x="364" y="1084"/>
                    </a:lnTo>
                    <a:lnTo>
                      <a:pt x="361" y="1087"/>
                    </a:lnTo>
                    <a:lnTo>
                      <a:pt x="364" y="1087"/>
                    </a:lnTo>
                    <a:lnTo>
                      <a:pt x="364" y="1087"/>
                    </a:lnTo>
                    <a:lnTo>
                      <a:pt x="364" y="1087"/>
                    </a:lnTo>
                    <a:lnTo>
                      <a:pt x="366" y="1087"/>
                    </a:lnTo>
                    <a:lnTo>
                      <a:pt x="369" y="1087"/>
                    </a:lnTo>
                    <a:lnTo>
                      <a:pt x="369" y="1089"/>
                    </a:lnTo>
                    <a:lnTo>
                      <a:pt x="371" y="1089"/>
                    </a:lnTo>
                    <a:lnTo>
                      <a:pt x="371" y="1092"/>
                    </a:lnTo>
                    <a:lnTo>
                      <a:pt x="373" y="1096"/>
                    </a:lnTo>
                    <a:lnTo>
                      <a:pt x="373" y="1096"/>
                    </a:lnTo>
                    <a:lnTo>
                      <a:pt x="373" y="1099"/>
                    </a:lnTo>
                    <a:lnTo>
                      <a:pt x="376" y="1099"/>
                    </a:lnTo>
                    <a:lnTo>
                      <a:pt x="373" y="1099"/>
                    </a:lnTo>
                    <a:lnTo>
                      <a:pt x="376" y="1099"/>
                    </a:lnTo>
                    <a:lnTo>
                      <a:pt x="376" y="1101"/>
                    </a:lnTo>
                    <a:lnTo>
                      <a:pt x="376" y="1101"/>
                    </a:lnTo>
                    <a:lnTo>
                      <a:pt x="376" y="1101"/>
                    </a:lnTo>
                    <a:lnTo>
                      <a:pt x="376" y="1101"/>
                    </a:lnTo>
                    <a:lnTo>
                      <a:pt x="376" y="1103"/>
                    </a:lnTo>
                    <a:lnTo>
                      <a:pt x="376" y="1103"/>
                    </a:lnTo>
                    <a:lnTo>
                      <a:pt x="373" y="1106"/>
                    </a:lnTo>
                    <a:lnTo>
                      <a:pt x="373" y="1106"/>
                    </a:lnTo>
                    <a:lnTo>
                      <a:pt x="373" y="1106"/>
                    </a:lnTo>
                    <a:lnTo>
                      <a:pt x="371" y="1110"/>
                    </a:lnTo>
                    <a:lnTo>
                      <a:pt x="371" y="1110"/>
                    </a:lnTo>
                    <a:lnTo>
                      <a:pt x="369" y="1110"/>
                    </a:lnTo>
                    <a:lnTo>
                      <a:pt x="371" y="1113"/>
                    </a:lnTo>
                    <a:lnTo>
                      <a:pt x="369" y="1115"/>
                    </a:lnTo>
                    <a:lnTo>
                      <a:pt x="369" y="1115"/>
                    </a:lnTo>
                    <a:lnTo>
                      <a:pt x="369" y="1117"/>
                    </a:lnTo>
                    <a:lnTo>
                      <a:pt x="369" y="1120"/>
                    </a:lnTo>
                    <a:lnTo>
                      <a:pt x="369" y="1120"/>
                    </a:lnTo>
                    <a:lnTo>
                      <a:pt x="371" y="1120"/>
                    </a:lnTo>
                    <a:lnTo>
                      <a:pt x="371" y="1122"/>
                    </a:lnTo>
                    <a:lnTo>
                      <a:pt x="371" y="1122"/>
                    </a:lnTo>
                    <a:lnTo>
                      <a:pt x="371" y="1122"/>
                    </a:lnTo>
                    <a:lnTo>
                      <a:pt x="371" y="1125"/>
                    </a:lnTo>
                    <a:lnTo>
                      <a:pt x="369" y="1127"/>
                    </a:lnTo>
                    <a:lnTo>
                      <a:pt x="371" y="1129"/>
                    </a:lnTo>
                    <a:lnTo>
                      <a:pt x="369" y="1132"/>
                    </a:lnTo>
                    <a:lnTo>
                      <a:pt x="371" y="1134"/>
                    </a:lnTo>
                    <a:lnTo>
                      <a:pt x="369" y="1134"/>
                    </a:lnTo>
                    <a:lnTo>
                      <a:pt x="371" y="1134"/>
                    </a:lnTo>
                    <a:lnTo>
                      <a:pt x="371" y="1136"/>
                    </a:lnTo>
                    <a:lnTo>
                      <a:pt x="371" y="1139"/>
                    </a:lnTo>
                    <a:lnTo>
                      <a:pt x="371" y="1139"/>
                    </a:lnTo>
                    <a:lnTo>
                      <a:pt x="371" y="1141"/>
                    </a:lnTo>
                    <a:lnTo>
                      <a:pt x="371" y="1141"/>
                    </a:lnTo>
                    <a:lnTo>
                      <a:pt x="371" y="1141"/>
                    </a:lnTo>
                    <a:lnTo>
                      <a:pt x="371" y="1143"/>
                    </a:lnTo>
                    <a:lnTo>
                      <a:pt x="369" y="1146"/>
                    </a:lnTo>
                    <a:lnTo>
                      <a:pt x="369" y="1146"/>
                    </a:lnTo>
                    <a:lnTo>
                      <a:pt x="369" y="1148"/>
                    </a:lnTo>
                    <a:lnTo>
                      <a:pt x="366" y="1151"/>
                    </a:lnTo>
                    <a:lnTo>
                      <a:pt x="366" y="1151"/>
                    </a:lnTo>
                    <a:lnTo>
                      <a:pt x="366" y="1153"/>
                    </a:lnTo>
                    <a:lnTo>
                      <a:pt x="366" y="1155"/>
                    </a:lnTo>
                    <a:lnTo>
                      <a:pt x="366" y="1155"/>
                    </a:lnTo>
                    <a:lnTo>
                      <a:pt x="366" y="1158"/>
                    </a:lnTo>
                    <a:lnTo>
                      <a:pt x="366" y="1160"/>
                    </a:lnTo>
                    <a:lnTo>
                      <a:pt x="366" y="1160"/>
                    </a:lnTo>
                    <a:lnTo>
                      <a:pt x="369" y="1162"/>
                    </a:lnTo>
                    <a:lnTo>
                      <a:pt x="369" y="1165"/>
                    </a:lnTo>
                    <a:lnTo>
                      <a:pt x="369" y="1167"/>
                    </a:lnTo>
                    <a:lnTo>
                      <a:pt x="369" y="1167"/>
                    </a:lnTo>
                    <a:lnTo>
                      <a:pt x="366" y="1169"/>
                    </a:lnTo>
                    <a:lnTo>
                      <a:pt x="366" y="1172"/>
                    </a:lnTo>
                    <a:lnTo>
                      <a:pt x="366" y="1172"/>
                    </a:lnTo>
                    <a:lnTo>
                      <a:pt x="366" y="1174"/>
                    </a:lnTo>
                    <a:lnTo>
                      <a:pt x="364" y="1177"/>
                    </a:lnTo>
                    <a:lnTo>
                      <a:pt x="364" y="1179"/>
                    </a:lnTo>
                    <a:lnTo>
                      <a:pt x="364" y="1179"/>
                    </a:lnTo>
                    <a:lnTo>
                      <a:pt x="366" y="1181"/>
                    </a:lnTo>
                    <a:lnTo>
                      <a:pt x="364" y="1186"/>
                    </a:lnTo>
                    <a:lnTo>
                      <a:pt x="364" y="1186"/>
                    </a:lnTo>
                    <a:lnTo>
                      <a:pt x="361" y="1188"/>
                    </a:lnTo>
                    <a:lnTo>
                      <a:pt x="361" y="1193"/>
                    </a:lnTo>
                    <a:lnTo>
                      <a:pt x="359" y="1193"/>
                    </a:lnTo>
                    <a:lnTo>
                      <a:pt x="359" y="1193"/>
                    </a:lnTo>
                    <a:lnTo>
                      <a:pt x="359" y="1195"/>
                    </a:lnTo>
                    <a:lnTo>
                      <a:pt x="357" y="1198"/>
                    </a:lnTo>
                    <a:lnTo>
                      <a:pt x="357" y="1198"/>
                    </a:lnTo>
                    <a:lnTo>
                      <a:pt x="354" y="1198"/>
                    </a:lnTo>
                    <a:lnTo>
                      <a:pt x="354" y="1198"/>
                    </a:lnTo>
                    <a:lnTo>
                      <a:pt x="354" y="1200"/>
                    </a:lnTo>
                    <a:lnTo>
                      <a:pt x="354" y="1205"/>
                    </a:lnTo>
                    <a:lnTo>
                      <a:pt x="352" y="1205"/>
                    </a:lnTo>
                    <a:lnTo>
                      <a:pt x="350" y="1205"/>
                    </a:lnTo>
                    <a:lnTo>
                      <a:pt x="347" y="1205"/>
                    </a:lnTo>
                    <a:lnTo>
                      <a:pt x="347" y="1203"/>
                    </a:lnTo>
                    <a:lnTo>
                      <a:pt x="345" y="1195"/>
                    </a:lnTo>
                    <a:lnTo>
                      <a:pt x="345" y="1195"/>
                    </a:lnTo>
                    <a:lnTo>
                      <a:pt x="343" y="1195"/>
                    </a:lnTo>
                    <a:lnTo>
                      <a:pt x="343" y="1195"/>
                    </a:lnTo>
                    <a:lnTo>
                      <a:pt x="335" y="1200"/>
                    </a:lnTo>
                    <a:lnTo>
                      <a:pt x="331" y="1198"/>
                    </a:lnTo>
                    <a:lnTo>
                      <a:pt x="328" y="1200"/>
                    </a:lnTo>
                    <a:lnTo>
                      <a:pt x="324" y="1195"/>
                    </a:lnTo>
                    <a:lnTo>
                      <a:pt x="324" y="1195"/>
                    </a:lnTo>
                    <a:lnTo>
                      <a:pt x="324" y="1195"/>
                    </a:lnTo>
                    <a:lnTo>
                      <a:pt x="321" y="1193"/>
                    </a:lnTo>
                    <a:lnTo>
                      <a:pt x="319" y="1195"/>
                    </a:lnTo>
                    <a:lnTo>
                      <a:pt x="314" y="1195"/>
                    </a:lnTo>
                    <a:lnTo>
                      <a:pt x="309" y="1195"/>
                    </a:lnTo>
                    <a:lnTo>
                      <a:pt x="309" y="1195"/>
                    </a:lnTo>
                    <a:lnTo>
                      <a:pt x="307" y="1195"/>
                    </a:lnTo>
                    <a:lnTo>
                      <a:pt x="305" y="1195"/>
                    </a:lnTo>
                    <a:lnTo>
                      <a:pt x="302" y="1193"/>
                    </a:lnTo>
                    <a:lnTo>
                      <a:pt x="300" y="1188"/>
                    </a:lnTo>
                    <a:lnTo>
                      <a:pt x="295" y="1184"/>
                    </a:lnTo>
                    <a:lnTo>
                      <a:pt x="295" y="1184"/>
                    </a:lnTo>
                    <a:lnTo>
                      <a:pt x="293" y="1181"/>
                    </a:lnTo>
                    <a:lnTo>
                      <a:pt x="291" y="1179"/>
                    </a:lnTo>
                    <a:lnTo>
                      <a:pt x="291" y="1179"/>
                    </a:lnTo>
                    <a:lnTo>
                      <a:pt x="291" y="1174"/>
                    </a:lnTo>
                    <a:lnTo>
                      <a:pt x="288" y="1169"/>
                    </a:lnTo>
                    <a:lnTo>
                      <a:pt x="288" y="1169"/>
                    </a:lnTo>
                    <a:lnTo>
                      <a:pt x="288" y="1165"/>
                    </a:lnTo>
                    <a:lnTo>
                      <a:pt x="291" y="1162"/>
                    </a:lnTo>
                    <a:lnTo>
                      <a:pt x="288" y="1162"/>
                    </a:lnTo>
                    <a:lnTo>
                      <a:pt x="288" y="1160"/>
                    </a:lnTo>
                    <a:lnTo>
                      <a:pt x="288" y="1158"/>
                    </a:lnTo>
                    <a:lnTo>
                      <a:pt x="288" y="1155"/>
                    </a:lnTo>
                    <a:lnTo>
                      <a:pt x="286" y="1155"/>
                    </a:lnTo>
                    <a:lnTo>
                      <a:pt x="286" y="1153"/>
                    </a:lnTo>
                    <a:lnTo>
                      <a:pt x="288" y="1153"/>
                    </a:lnTo>
                    <a:lnTo>
                      <a:pt x="286" y="1151"/>
                    </a:lnTo>
                    <a:lnTo>
                      <a:pt x="286" y="1151"/>
                    </a:lnTo>
                    <a:lnTo>
                      <a:pt x="286" y="1148"/>
                    </a:lnTo>
                    <a:lnTo>
                      <a:pt x="283" y="1148"/>
                    </a:lnTo>
                    <a:lnTo>
                      <a:pt x="283" y="1146"/>
                    </a:lnTo>
                    <a:lnTo>
                      <a:pt x="281" y="1148"/>
                    </a:lnTo>
                    <a:lnTo>
                      <a:pt x="276" y="1148"/>
                    </a:lnTo>
                    <a:lnTo>
                      <a:pt x="274" y="1146"/>
                    </a:lnTo>
                    <a:lnTo>
                      <a:pt x="274" y="1146"/>
                    </a:lnTo>
                    <a:lnTo>
                      <a:pt x="276" y="1143"/>
                    </a:lnTo>
                    <a:lnTo>
                      <a:pt x="276" y="1141"/>
                    </a:lnTo>
                    <a:lnTo>
                      <a:pt x="276" y="1141"/>
                    </a:lnTo>
                    <a:lnTo>
                      <a:pt x="274" y="1139"/>
                    </a:lnTo>
                    <a:lnTo>
                      <a:pt x="269" y="1139"/>
                    </a:lnTo>
                    <a:lnTo>
                      <a:pt x="267" y="1139"/>
                    </a:lnTo>
                    <a:lnTo>
                      <a:pt x="267" y="1139"/>
                    </a:lnTo>
                    <a:lnTo>
                      <a:pt x="267" y="1136"/>
                    </a:lnTo>
                    <a:lnTo>
                      <a:pt x="267" y="1134"/>
                    </a:lnTo>
                    <a:lnTo>
                      <a:pt x="265" y="1132"/>
                    </a:lnTo>
                    <a:lnTo>
                      <a:pt x="269" y="1129"/>
                    </a:lnTo>
                    <a:lnTo>
                      <a:pt x="272" y="1127"/>
                    </a:lnTo>
                    <a:lnTo>
                      <a:pt x="272" y="1122"/>
                    </a:lnTo>
                    <a:lnTo>
                      <a:pt x="274" y="1120"/>
                    </a:lnTo>
                    <a:lnTo>
                      <a:pt x="274" y="1117"/>
                    </a:lnTo>
                    <a:lnTo>
                      <a:pt x="274" y="1117"/>
                    </a:lnTo>
                    <a:lnTo>
                      <a:pt x="281" y="1113"/>
                    </a:lnTo>
                    <a:lnTo>
                      <a:pt x="281" y="1113"/>
                    </a:lnTo>
                    <a:lnTo>
                      <a:pt x="276" y="1113"/>
                    </a:lnTo>
                    <a:lnTo>
                      <a:pt x="276" y="1110"/>
                    </a:lnTo>
                    <a:lnTo>
                      <a:pt x="276" y="1108"/>
                    </a:lnTo>
                    <a:lnTo>
                      <a:pt x="276" y="1108"/>
                    </a:lnTo>
                    <a:lnTo>
                      <a:pt x="276" y="1106"/>
                    </a:lnTo>
                    <a:lnTo>
                      <a:pt x="276" y="1103"/>
                    </a:lnTo>
                    <a:lnTo>
                      <a:pt x="276" y="1103"/>
                    </a:lnTo>
                    <a:lnTo>
                      <a:pt x="274" y="1103"/>
                    </a:lnTo>
                    <a:lnTo>
                      <a:pt x="272" y="1103"/>
                    </a:lnTo>
                    <a:lnTo>
                      <a:pt x="269" y="1101"/>
                    </a:lnTo>
                    <a:lnTo>
                      <a:pt x="269" y="1101"/>
                    </a:lnTo>
                    <a:lnTo>
                      <a:pt x="267" y="1101"/>
                    </a:lnTo>
                    <a:lnTo>
                      <a:pt x="267" y="1099"/>
                    </a:lnTo>
                    <a:lnTo>
                      <a:pt x="267" y="1096"/>
                    </a:lnTo>
                    <a:lnTo>
                      <a:pt x="267" y="1096"/>
                    </a:lnTo>
                    <a:lnTo>
                      <a:pt x="267" y="1094"/>
                    </a:lnTo>
                    <a:lnTo>
                      <a:pt x="265" y="1094"/>
                    </a:lnTo>
                    <a:lnTo>
                      <a:pt x="265" y="1092"/>
                    </a:lnTo>
                    <a:lnTo>
                      <a:pt x="262" y="1092"/>
                    </a:lnTo>
                    <a:lnTo>
                      <a:pt x="260" y="1094"/>
                    </a:lnTo>
                    <a:lnTo>
                      <a:pt x="257" y="1094"/>
                    </a:lnTo>
                    <a:lnTo>
                      <a:pt x="255" y="1094"/>
                    </a:lnTo>
                    <a:lnTo>
                      <a:pt x="255" y="1094"/>
                    </a:lnTo>
                    <a:lnTo>
                      <a:pt x="255" y="1096"/>
                    </a:lnTo>
                    <a:lnTo>
                      <a:pt x="250" y="1094"/>
                    </a:lnTo>
                    <a:lnTo>
                      <a:pt x="250" y="1094"/>
                    </a:lnTo>
                    <a:lnTo>
                      <a:pt x="253" y="1092"/>
                    </a:lnTo>
                    <a:lnTo>
                      <a:pt x="250" y="1089"/>
                    </a:lnTo>
                    <a:lnTo>
                      <a:pt x="250" y="1087"/>
                    </a:lnTo>
                    <a:lnTo>
                      <a:pt x="248" y="1087"/>
                    </a:lnTo>
                    <a:lnTo>
                      <a:pt x="248" y="1084"/>
                    </a:lnTo>
                    <a:lnTo>
                      <a:pt x="246" y="1082"/>
                    </a:lnTo>
                    <a:lnTo>
                      <a:pt x="246" y="1080"/>
                    </a:lnTo>
                    <a:lnTo>
                      <a:pt x="246" y="1080"/>
                    </a:lnTo>
                    <a:lnTo>
                      <a:pt x="241" y="1082"/>
                    </a:lnTo>
                    <a:lnTo>
                      <a:pt x="241" y="1080"/>
                    </a:lnTo>
                    <a:lnTo>
                      <a:pt x="241" y="1080"/>
                    </a:lnTo>
                    <a:lnTo>
                      <a:pt x="241" y="1077"/>
                    </a:lnTo>
                    <a:lnTo>
                      <a:pt x="243" y="1077"/>
                    </a:lnTo>
                    <a:lnTo>
                      <a:pt x="243" y="1077"/>
                    </a:lnTo>
                    <a:lnTo>
                      <a:pt x="243" y="1075"/>
                    </a:lnTo>
                    <a:lnTo>
                      <a:pt x="246" y="1075"/>
                    </a:lnTo>
                    <a:lnTo>
                      <a:pt x="243" y="1073"/>
                    </a:lnTo>
                    <a:lnTo>
                      <a:pt x="243" y="1070"/>
                    </a:lnTo>
                    <a:lnTo>
                      <a:pt x="246" y="1068"/>
                    </a:lnTo>
                    <a:lnTo>
                      <a:pt x="243" y="1068"/>
                    </a:lnTo>
                    <a:lnTo>
                      <a:pt x="243" y="1066"/>
                    </a:lnTo>
                    <a:lnTo>
                      <a:pt x="241" y="1068"/>
                    </a:lnTo>
                    <a:lnTo>
                      <a:pt x="241" y="1066"/>
                    </a:lnTo>
                    <a:lnTo>
                      <a:pt x="241" y="1066"/>
                    </a:lnTo>
                    <a:lnTo>
                      <a:pt x="241" y="1063"/>
                    </a:lnTo>
                    <a:lnTo>
                      <a:pt x="241" y="1061"/>
                    </a:lnTo>
                    <a:lnTo>
                      <a:pt x="239" y="1061"/>
                    </a:lnTo>
                    <a:lnTo>
                      <a:pt x="236" y="1058"/>
                    </a:lnTo>
                    <a:lnTo>
                      <a:pt x="236" y="1058"/>
                    </a:lnTo>
                    <a:lnTo>
                      <a:pt x="236" y="1058"/>
                    </a:lnTo>
                    <a:lnTo>
                      <a:pt x="236" y="1056"/>
                    </a:lnTo>
                    <a:lnTo>
                      <a:pt x="234" y="1058"/>
                    </a:lnTo>
                    <a:lnTo>
                      <a:pt x="234" y="1058"/>
                    </a:lnTo>
                    <a:lnTo>
                      <a:pt x="231" y="1058"/>
                    </a:lnTo>
                    <a:lnTo>
                      <a:pt x="231" y="1058"/>
                    </a:lnTo>
                    <a:lnTo>
                      <a:pt x="229" y="1056"/>
                    </a:lnTo>
                    <a:lnTo>
                      <a:pt x="231" y="1056"/>
                    </a:lnTo>
                    <a:lnTo>
                      <a:pt x="229" y="1056"/>
                    </a:lnTo>
                    <a:lnTo>
                      <a:pt x="231" y="1054"/>
                    </a:lnTo>
                    <a:lnTo>
                      <a:pt x="229" y="1054"/>
                    </a:lnTo>
                    <a:lnTo>
                      <a:pt x="231" y="1054"/>
                    </a:lnTo>
                    <a:lnTo>
                      <a:pt x="229" y="1051"/>
                    </a:lnTo>
                    <a:lnTo>
                      <a:pt x="231" y="1051"/>
                    </a:lnTo>
                    <a:lnTo>
                      <a:pt x="231" y="1051"/>
                    </a:lnTo>
                    <a:lnTo>
                      <a:pt x="231" y="1051"/>
                    </a:lnTo>
                    <a:lnTo>
                      <a:pt x="231" y="1049"/>
                    </a:lnTo>
                    <a:lnTo>
                      <a:pt x="229" y="1049"/>
                    </a:lnTo>
                    <a:lnTo>
                      <a:pt x="224" y="1051"/>
                    </a:lnTo>
                    <a:lnTo>
                      <a:pt x="222" y="1051"/>
                    </a:lnTo>
                    <a:lnTo>
                      <a:pt x="222" y="1051"/>
                    </a:lnTo>
                    <a:lnTo>
                      <a:pt x="222" y="1051"/>
                    </a:lnTo>
                    <a:lnTo>
                      <a:pt x="220" y="1051"/>
                    </a:lnTo>
                    <a:lnTo>
                      <a:pt x="220" y="1051"/>
                    </a:lnTo>
                    <a:lnTo>
                      <a:pt x="220" y="1049"/>
                    </a:lnTo>
                    <a:lnTo>
                      <a:pt x="220" y="1051"/>
                    </a:lnTo>
                    <a:lnTo>
                      <a:pt x="217" y="1049"/>
                    </a:lnTo>
                    <a:lnTo>
                      <a:pt x="215" y="1049"/>
                    </a:lnTo>
                    <a:lnTo>
                      <a:pt x="215" y="1051"/>
                    </a:lnTo>
                    <a:lnTo>
                      <a:pt x="213" y="1049"/>
                    </a:lnTo>
                    <a:lnTo>
                      <a:pt x="213" y="1049"/>
                    </a:lnTo>
                    <a:lnTo>
                      <a:pt x="215" y="1049"/>
                    </a:lnTo>
                    <a:lnTo>
                      <a:pt x="213" y="1047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17" y="1044"/>
                    </a:lnTo>
                    <a:lnTo>
                      <a:pt x="217" y="1044"/>
                    </a:lnTo>
                    <a:lnTo>
                      <a:pt x="215" y="1044"/>
                    </a:lnTo>
                    <a:lnTo>
                      <a:pt x="215" y="1042"/>
                    </a:lnTo>
                    <a:lnTo>
                      <a:pt x="215" y="1044"/>
                    </a:lnTo>
                    <a:lnTo>
                      <a:pt x="213" y="1042"/>
                    </a:lnTo>
                    <a:lnTo>
                      <a:pt x="213" y="1042"/>
                    </a:lnTo>
                    <a:lnTo>
                      <a:pt x="217" y="1042"/>
                    </a:lnTo>
                    <a:lnTo>
                      <a:pt x="217" y="1042"/>
                    </a:lnTo>
                    <a:lnTo>
                      <a:pt x="217" y="1040"/>
                    </a:lnTo>
                    <a:lnTo>
                      <a:pt x="217" y="1040"/>
                    </a:lnTo>
                    <a:lnTo>
                      <a:pt x="217" y="1040"/>
                    </a:lnTo>
                    <a:lnTo>
                      <a:pt x="220" y="1040"/>
                    </a:lnTo>
                    <a:lnTo>
                      <a:pt x="220" y="1040"/>
                    </a:lnTo>
                    <a:lnTo>
                      <a:pt x="220" y="1037"/>
                    </a:lnTo>
                    <a:lnTo>
                      <a:pt x="220" y="1037"/>
                    </a:lnTo>
                    <a:lnTo>
                      <a:pt x="220" y="1035"/>
                    </a:lnTo>
                    <a:lnTo>
                      <a:pt x="220" y="1035"/>
                    </a:lnTo>
                    <a:lnTo>
                      <a:pt x="220" y="1035"/>
                    </a:lnTo>
                    <a:lnTo>
                      <a:pt x="222" y="1032"/>
                    </a:lnTo>
                    <a:lnTo>
                      <a:pt x="222" y="1032"/>
                    </a:lnTo>
                    <a:lnTo>
                      <a:pt x="224" y="1032"/>
                    </a:lnTo>
                    <a:lnTo>
                      <a:pt x="224" y="1030"/>
                    </a:lnTo>
                    <a:lnTo>
                      <a:pt x="227" y="1030"/>
                    </a:lnTo>
                    <a:lnTo>
                      <a:pt x="224" y="1028"/>
                    </a:lnTo>
                    <a:lnTo>
                      <a:pt x="224" y="1028"/>
                    </a:lnTo>
                    <a:lnTo>
                      <a:pt x="222" y="1028"/>
                    </a:lnTo>
                    <a:lnTo>
                      <a:pt x="222" y="1028"/>
                    </a:lnTo>
                    <a:lnTo>
                      <a:pt x="222" y="1025"/>
                    </a:lnTo>
                    <a:lnTo>
                      <a:pt x="224" y="1023"/>
                    </a:lnTo>
                    <a:lnTo>
                      <a:pt x="224" y="1023"/>
                    </a:lnTo>
                    <a:lnTo>
                      <a:pt x="227" y="1023"/>
                    </a:lnTo>
                    <a:lnTo>
                      <a:pt x="227" y="1025"/>
                    </a:lnTo>
                    <a:lnTo>
                      <a:pt x="227" y="1023"/>
                    </a:lnTo>
                    <a:lnTo>
                      <a:pt x="229" y="1023"/>
                    </a:lnTo>
                    <a:lnTo>
                      <a:pt x="231" y="1023"/>
                    </a:lnTo>
                    <a:lnTo>
                      <a:pt x="231" y="1021"/>
                    </a:lnTo>
                    <a:lnTo>
                      <a:pt x="231" y="1021"/>
                    </a:lnTo>
                    <a:lnTo>
                      <a:pt x="231" y="1021"/>
                    </a:lnTo>
                    <a:lnTo>
                      <a:pt x="231" y="1021"/>
                    </a:lnTo>
                    <a:lnTo>
                      <a:pt x="234" y="1018"/>
                    </a:lnTo>
                    <a:lnTo>
                      <a:pt x="231" y="1018"/>
                    </a:lnTo>
                    <a:lnTo>
                      <a:pt x="234" y="1018"/>
                    </a:lnTo>
                    <a:lnTo>
                      <a:pt x="234" y="1014"/>
                    </a:lnTo>
                    <a:lnTo>
                      <a:pt x="234" y="1014"/>
                    </a:lnTo>
                    <a:lnTo>
                      <a:pt x="234" y="1011"/>
                    </a:lnTo>
                    <a:lnTo>
                      <a:pt x="231" y="1011"/>
                    </a:lnTo>
                    <a:lnTo>
                      <a:pt x="231" y="1011"/>
                    </a:lnTo>
                    <a:lnTo>
                      <a:pt x="231" y="1011"/>
                    </a:lnTo>
                    <a:lnTo>
                      <a:pt x="231" y="1009"/>
                    </a:lnTo>
                    <a:lnTo>
                      <a:pt x="231" y="1009"/>
                    </a:lnTo>
                    <a:lnTo>
                      <a:pt x="229" y="1004"/>
                    </a:lnTo>
                    <a:lnTo>
                      <a:pt x="231" y="1004"/>
                    </a:lnTo>
                    <a:lnTo>
                      <a:pt x="231" y="1004"/>
                    </a:lnTo>
                    <a:lnTo>
                      <a:pt x="231" y="1004"/>
                    </a:lnTo>
                    <a:lnTo>
                      <a:pt x="231" y="1002"/>
                    </a:lnTo>
                    <a:lnTo>
                      <a:pt x="234" y="1002"/>
                    </a:lnTo>
                    <a:lnTo>
                      <a:pt x="236" y="1002"/>
                    </a:lnTo>
                    <a:lnTo>
                      <a:pt x="236" y="999"/>
                    </a:lnTo>
                    <a:lnTo>
                      <a:pt x="236" y="997"/>
                    </a:lnTo>
                    <a:lnTo>
                      <a:pt x="234" y="997"/>
                    </a:lnTo>
                    <a:lnTo>
                      <a:pt x="236" y="997"/>
                    </a:lnTo>
                    <a:lnTo>
                      <a:pt x="234" y="997"/>
                    </a:lnTo>
                    <a:lnTo>
                      <a:pt x="234" y="995"/>
                    </a:lnTo>
                    <a:lnTo>
                      <a:pt x="234" y="995"/>
                    </a:lnTo>
                    <a:lnTo>
                      <a:pt x="231" y="995"/>
                    </a:lnTo>
                    <a:lnTo>
                      <a:pt x="231" y="995"/>
                    </a:lnTo>
                    <a:lnTo>
                      <a:pt x="231" y="992"/>
                    </a:lnTo>
                    <a:lnTo>
                      <a:pt x="231" y="992"/>
                    </a:lnTo>
                    <a:lnTo>
                      <a:pt x="231" y="992"/>
                    </a:lnTo>
                    <a:lnTo>
                      <a:pt x="234" y="992"/>
                    </a:lnTo>
                    <a:lnTo>
                      <a:pt x="234" y="990"/>
                    </a:lnTo>
                    <a:lnTo>
                      <a:pt x="234" y="990"/>
                    </a:lnTo>
                    <a:lnTo>
                      <a:pt x="234" y="990"/>
                    </a:lnTo>
                    <a:lnTo>
                      <a:pt x="234" y="990"/>
                    </a:lnTo>
                    <a:lnTo>
                      <a:pt x="234" y="988"/>
                    </a:lnTo>
                    <a:lnTo>
                      <a:pt x="234" y="988"/>
                    </a:lnTo>
                    <a:lnTo>
                      <a:pt x="231" y="988"/>
                    </a:lnTo>
                    <a:lnTo>
                      <a:pt x="231" y="988"/>
                    </a:lnTo>
                    <a:lnTo>
                      <a:pt x="231" y="988"/>
                    </a:lnTo>
                    <a:lnTo>
                      <a:pt x="231" y="988"/>
                    </a:lnTo>
                    <a:lnTo>
                      <a:pt x="231" y="988"/>
                    </a:lnTo>
                    <a:lnTo>
                      <a:pt x="234" y="988"/>
                    </a:lnTo>
                    <a:lnTo>
                      <a:pt x="234" y="988"/>
                    </a:lnTo>
                    <a:lnTo>
                      <a:pt x="234" y="988"/>
                    </a:lnTo>
                    <a:lnTo>
                      <a:pt x="234" y="985"/>
                    </a:lnTo>
                    <a:lnTo>
                      <a:pt x="234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6" y="985"/>
                    </a:lnTo>
                    <a:lnTo>
                      <a:pt x="239" y="985"/>
                    </a:lnTo>
                    <a:lnTo>
                      <a:pt x="236" y="983"/>
                    </a:lnTo>
                    <a:lnTo>
                      <a:pt x="239" y="983"/>
                    </a:lnTo>
                    <a:lnTo>
                      <a:pt x="239" y="983"/>
                    </a:lnTo>
                    <a:lnTo>
                      <a:pt x="239" y="983"/>
                    </a:lnTo>
                    <a:lnTo>
                      <a:pt x="239" y="983"/>
                    </a:lnTo>
                    <a:lnTo>
                      <a:pt x="239" y="983"/>
                    </a:lnTo>
                    <a:lnTo>
                      <a:pt x="241" y="980"/>
                    </a:lnTo>
                    <a:lnTo>
                      <a:pt x="241" y="980"/>
                    </a:lnTo>
                    <a:lnTo>
                      <a:pt x="241" y="980"/>
                    </a:lnTo>
                    <a:lnTo>
                      <a:pt x="241" y="978"/>
                    </a:lnTo>
                    <a:lnTo>
                      <a:pt x="241" y="978"/>
                    </a:lnTo>
                    <a:lnTo>
                      <a:pt x="241" y="978"/>
                    </a:lnTo>
                    <a:lnTo>
                      <a:pt x="241" y="976"/>
                    </a:lnTo>
                    <a:lnTo>
                      <a:pt x="241" y="976"/>
                    </a:lnTo>
                    <a:lnTo>
                      <a:pt x="241" y="976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1"/>
                    </a:lnTo>
                    <a:lnTo>
                      <a:pt x="243" y="971"/>
                    </a:lnTo>
                    <a:lnTo>
                      <a:pt x="243" y="973"/>
                    </a:lnTo>
                    <a:lnTo>
                      <a:pt x="246" y="971"/>
                    </a:lnTo>
                    <a:lnTo>
                      <a:pt x="248" y="969"/>
                    </a:lnTo>
                    <a:lnTo>
                      <a:pt x="246" y="969"/>
                    </a:lnTo>
                    <a:lnTo>
                      <a:pt x="248" y="966"/>
                    </a:lnTo>
                    <a:lnTo>
                      <a:pt x="248" y="966"/>
                    </a:lnTo>
                    <a:lnTo>
                      <a:pt x="248" y="964"/>
                    </a:lnTo>
                    <a:lnTo>
                      <a:pt x="246" y="962"/>
                    </a:lnTo>
                    <a:lnTo>
                      <a:pt x="248" y="964"/>
                    </a:lnTo>
                    <a:lnTo>
                      <a:pt x="248" y="962"/>
                    </a:lnTo>
                    <a:lnTo>
                      <a:pt x="248" y="959"/>
                    </a:lnTo>
                    <a:lnTo>
                      <a:pt x="248" y="959"/>
                    </a:lnTo>
                    <a:lnTo>
                      <a:pt x="248" y="959"/>
                    </a:lnTo>
                    <a:lnTo>
                      <a:pt x="248" y="959"/>
                    </a:lnTo>
                    <a:lnTo>
                      <a:pt x="250" y="959"/>
                    </a:lnTo>
                    <a:lnTo>
                      <a:pt x="253" y="959"/>
                    </a:lnTo>
                    <a:lnTo>
                      <a:pt x="255" y="959"/>
                    </a:lnTo>
                    <a:lnTo>
                      <a:pt x="255" y="959"/>
                    </a:lnTo>
                    <a:lnTo>
                      <a:pt x="255" y="959"/>
                    </a:lnTo>
                    <a:lnTo>
                      <a:pt x="257" y="959"/>
                    </a:lnTo>
                    <a:lnTo>
                      <a:pt x="257" y="957"/>
                    </a:lnTo>
                    <a:lnTo>
                      <a:pt x="257" y="957"/>
                    </a:lnTo>
                    <a:lnTo>
                      <a:pt x="260" y="955"/>
                    </a:lnTo>
                    <a:lnTo>
                      <a:pt x="262" y="955"/>
                    </a:lnTo>
                    <a:lnTo>
                      <a:pt x="265" y="955"/>
                    </a:lnTo>
                    <a:lnTo>
                      <a:pt x="267" y="952"/>
                    </a:lnTo>
                    <a:lnTo>
                      <a:pt x="272" y="955"/>
                    </a:lnTo>
                    <a:lnTo>
                      <a:pt x="274" y="955"/>
                    </a:lnTo>
                    <a:lnTo>
                      <a:pt x="274" y="952"/>
                    </a:lnTo>
                    <a:lnTo>
                      <a:pt x="276" y="952"/>
                    </a:lnTo>
                    <a:lnTo>
                      <a:pt x="279" y="952"/>
                    </a:lnTo>
                    <a:lnTo>
                      <a:pt x="281" y="950"/>
                    </a:lnTo>
                    <a:lnTo>
                      <a:pt x="283" y="947"/>
                    </a:lnTo>
                    <a:lnTo>
                      <a:pt x="283" y="945"/>
                    </a:lnTo>
                    <a:lnTo>
                      <a:pt x="283" y="940"/>
                    </a:lnTo>
                    <a:lnTo>
                      <a:pt x="283" y="938"/>
                    </a:lnTo>
                    <a:lnTo>
                      <a:pt x="286" y="938"/>
                    </a:lnTo>
                    <a:lnTo>
                      <a:pt x="286" y="936"/>
                    </a:lnTo>
                    <a:lnTo>
                      <a:pt x="286" y="936"/>
                    </a:lnTo>
                    <a:lnTo>
                      <a:pt x="283" y="933"/>
                    </a:lnTo>
                    <a:lnTo>
                      <a:pt x="283" y="933"/>
                    </a:lnTo>
                    <a:lnTo>
                      <a:pt x="283" y="931"/>
                    </a:lnTo>
                    <a:lnTo>
                      <a:pt x="286" y="926"/>
                    </a:lnTo>
                    <a:lnTo>
                      <a:pt x="286" y="924"/>
                    </a:lnTo>
                    <a:lnTo>
                      <a:pt x="286" y="921"/>
                    </a:lnTo>
                    <a:lnTo>
                      <a:pt x="288" y="921"/>
                    </a:lnTo>
                    <a:lnTo>
                      <a:pt x="291" y="921"/>
                    </a:lnTo>
                    <a:lnTo>
                      <a:pt x="291" y="919"/>
                    </a:lnTo>
                    <a:lnTo>
                      <a:pt x="288" y="917"/>
                    </a:lnTo>
                    <a:lnTo>
                      <a:pt x="288" y="914"/>
                    </a:lnTo>
                    <a:lnTo>
                      <a:pt x="288" y="912"/>
                    </a:lnTo>
                    <a:lnTo>
                      <a:pt x="288" y="912"/>
                    </a:lnTo>
                    <a:lnTo>
                      <a:pt x="286" y="910"/>
                    </a:lnTo>
                    <a:lnTo>
                      <a:pt x="286" y="910"/>
                    </a:lnTo>
                    <a:lnTo>
                      <a:pt x="286" y="907"/>
                    </a:lnTo>
                    <a:lnTo>
                      <a:pt x="283" y="905"/>
                    </a:lnTo>
                    <a:lnTo>
                      <a:pt x="279" y="903"/>
                    </a:lnTo>
                    <a:lnTo>
                      <a:pt x="276" y="903"/>
                    </a:lnTo>
                    <a:lnTo>
                      <a:pt x="276" y="900"/>
                    </a:lnTo>
                    <a:lnTo>
                      <a:pt x="276" y="900"/>
                    </a:lnTo>
                    <a:lnTo>
                      <a:pt x="276" y="900"/>
                    </a:lnTo>
                    <a:lnTo>
                      <a:pt x="274" y="898"/>
                    </a:lnTo>
                    <a:lnTo>
                      <a:pt x="274" y="898"/>
                    </a:lnTo>
                    <a:lnTo>
                      <a:pt x="274" y="898"/>
                    </a:lnTo>
                    <a:lnTo>
                      <a:pt x="272" y="895"/>
                    </a:lnTo>
                    <a:lnTo>
                      <a:pt x="269" y="895"/>
                    </a:lnTo>
                    <a:lnTo>
                      <a:pt x="267" y="898"/>
                    </a:lnTo>
                    <a:lnTo>
                      <a:pt x="267" y="898"/>
                    </a:lnTo>
                    <a:lnTo>
                      <a:pt x="265" y="898"/>
                    </a:lnTo>
                    <a:lnTo>
                      <a:pt x="265" y="898"/>
                    </a:lnTo>
                    <a:lnTo>
                      <a:pt x="262" y="900"/>
                    </a:lnTo>
                    <a:lnTo>
                      <a:pt x="260" y="900"/>
                    </a:lnTo>
                    <a:lnTo>
                      <a:pt x="260" y="900"/>
                    </a:lnTo>
                    <a:lnTo>
                      <a:pt x="257" y="898"/>
                    </a:lnTo>
                    <a:lnTo>
                      <a:pt x="257" y="900"/>
                    </a:lnTo>
                    <a:lnTo>
                      <a:pt x="257" y="900"/>
                    </a:lnTo>
                    <a:lnTo>
                      <a:pt x="255" y="900"/>
                    </a:lnTo>
                    <a:lnTo>
                      <a:pt x="255" y="900"/>
                    </a:lnTo>
                    <a:lnTo>
                      <a:pt x="255" y="900"/>
                    </a:lnTo>
                    <a:lnTo>
                      <a:pt x="253" y="900"/>
                    </a:lnTo>
                    <a:lnTo>
                      <a:pt x="253" y="900"/>
                    </a:lnTo>
                    <a:lnTo>
                      <a:pt x="250" y="903"/>
                    </a:lnTo>
                    <a:lnTo>
                      <a:pt x="250" y="903"/>
                    </a:lnTo>
                    <a:lnTo>
                      <a:pt x="250" y="903"/>
                    </a:lnTo>
                    <a:lnTo>
                      <a:pt x="250" y="903"/>
                    </a:lnTo>
                    <a:lnTo>
                      <a:pt x="248" y="903"/>
                    </a:lnTo>
                    <a:lnTo>
                      <a:pt x="248" y="905"/>
                    </a:lnTo>
                    <a:lnTo>
                      <a:pt x="248" y="903"/>
                    </a:lnTo>
                    <a:lnTo>
                      <a:pt x="248" y="905"/>
                    </a:lnTo>
                    <a:lnTo>
                      <a:pt x="248" y="905"/>
                    </a:lnTo>
                    <a:lnTo>
                      <a:pt x="246" y="903"/>
                    </a:lnTo>
                    <a:lnTo>
                      <a:pt x="246" y="905"/>
                    </a:lnTo>
                    <a:lnTo>
                      <a:pt x="243" y="905"/>
                    </a:lnTo>
                    <a:lnTo>
                      <a:pt x="241" y="905"/>
                    </a:lnTo>
                    <a:lnTo>
                      <a:pt x="241" y="905"/>
                    </a:lnTo>
                    <a:lnTo>
                      <a:pt x="241" y="905"/>
                    </a:lnTo>
                    <a:lnTo>
                      <a:pt x="241" y="905"/>
                    </a:lnTo>
                    <a:lnTo>
                      <a:pt x="239" y="905"/>
                    </a:lnTo>
                    <a:lnTo>
                      <a:pt x="239" y="905"/>
                    </a:lnTo>
                    <a:lnTo>
                      <a:pt x="239" y="905"/>
                    </a:lnTo>
                    <a:lnTo>
                      <a:pt x="239" y="905"/>
                    </a:lnTo>
                    <a:lnTo>
                      <a:pt x="236" y="905"/>
                    </a:lnTo>
                    <a:lnTo>
                      <a:pt x="236" y="907"/>
                    </a:lnTo>
                    <a:lnTo>
                      <a:pt x="236" y="907"/>
                    </a:lnTo>
                    <a:lnTo>
                      <a:pt x="234" y="910"/>
                    </a:lnTo>
                    <a:lnTo>
                      <a:pt x="234" y="910"/>
                    </a:lnTo>
                    <a:lnTo>
                      <a:pt x="231" y="907"/>
                    </a:lnTo>
                    <a:lnTo>
                      <a:pt x="231" y="907"/>
                    </a:lnTo>
                    <a:lnTo>
                      <a:pt x="231" y="910"/>
                    </a:lnTo>
                    <a:lnTo>
                      <a:pt x="231" y="910"/>
                    </a:lnTo>
                    <a:lnTo>
                      <a:pt x="231" y="910"/>
                    </a:lnTo>
                    <a:lnTo>
                      <a:pt x="229" y="910"/>
                    </a:lnTo>
                    <a:lnTo>
                      <a:pt x="229" y="912"/>
                    </a:lnTo>
                    <a:lnTo>
                      <a:pt x="227" y="912"/>
                    </a:lnTo>
                    <a:lnTo>
                      <a:pt x="227" y="912"/>
                    </a:lnTo>
                    <a:lnTo>
                      <a:pt x="227" y="914"/>
                    </a:lnTo>
                    <a:lnTo>
                      <a:pt x="227" y="914"/>
                    </a:lnTo>
                    <a:lnTo>
                      <a:pt x="227" y="914"/>
                    </a:lnTo>
                    <a:lnTo>
                      <a:pt x="224" y="917"/>
                    </a:lnTo>
                    <a:lnTo>
                      <a:pt x="224" y="917"/>
                    </a:lnTo>
                    <a:lnTo>
                      <a:pt x="222" y="917"/>
                    </a:lnTo>
                    <a:lnTo>
                      <a:pt x="222" y="919"/>
                    </a:lnTo>
                    <a:lnTo>
                      <a:pt x="222" y="919"/>
                    </a:lnTo>
                    <a:lnTo>
                      <a:pt x="222" y="919"/>
                    </a:lnTo>
                    <a:lnTo>
                      <a:pt x="220" y="919"/>
                    </a:lnTo>
                    <a:lnTo>
                      <a:pt x="220" y="919"/>
                    </a:lnTo>
                    <a:lnTo>
                      <a:pt x="220" y="919"/>
                    </a:lnTo>
                    <a:lnTo>
                      <a:pt x="220" y="917"/>
                    </a:lnTo>
                    <a:lnTo>
                      <a:pt x="217" y="917"/>
                    </a:lnTo>
                    <a:lnTo>
                      <a:pt x="217" y="917"/>
                    </a:lnTo>
                    <a:lnTo>
                      <a:pt x="215" y="914"/>
                    </a:lnTo>
                    <a:lnTo>
                      <a:pt x="215" y="914"/>
                    </a:lnTo>
                    <a:lnTo>
                      <a:pt x="213" y="914"/>
                    </a:lnTo>
                    <a:lnTo>
                      <a:pt x="213" y="912"/>
                    </a:lnTo>
                    <a:lnTo>
                      <a:pt x="210" y="910"/>
                    </a:lnTo>
                    <a:lnTo>
                      <a:pt x="208" y="910"/>
                    </a:lnTo>
                    <a:lnTo>
                      <a:pt x="210" y="907"/>
                    </a:lnTo>
                    <a:lnTo>
                      <a:pt x="208" y="905"/>
                    </a:lnTo>
                    <a:lnTo>
                      <a:pt x="208" y="905"/>
                    </a:lnTo>
                    <a:lnTo>
                      <a:pt x="208" y="905"/>
                    </a:lnTo>
                    <a:lnTo>
                      <a:pt x="208" y="905"/>
                    </a:lnTo>
                    <a:lnTo>
                      <a:pt x="208" y="905"/>
                    </a:lnTo>
                    <a:lnTo>
                      <a:pt x="208" y="905"/>
                    </a:lnTo>
                    <a:lnTo>
                      <a:pt x="208" y="903"/>
                    </a:lnTo>
                    <a:lnTo>
                      <a:pt x="208" y="903"/>
                    </a:lnTo>
                    <a:lnTo>
                      <a:pt x="206" y="900"/>
                    </a:lnTo>
                    <a:lnTo>
                      <a:pt x="206" y="900"/>
                    </a:lnTo>
                    <a:lnTo>
                      <a:pt x="203" y="900"/>
                    </a:lnTo>
                    <a:lnTo>
                      <a:pt x="203" y="900"/>
                    </a:lnTo>
                    <a:lnTo>
                      <a:pt x="203" y="895"/>
                    </a:lnTo>
                    <a:lnTo>
                      <a:pt x="201" y="895"/>
                    </a:lnTo>
                    <a:lnTo>
                      <a:pt x="201" y="895"/>
                    </a:lnTo>
                    <a:lnTo>
                      <a:pt x="201" y="895"/>
                    </a:lnTo>
                    <a:lnTo>
                      <a:pt x="198" y="893"/>
                    </a:lnTo>
                    <a:lnTo>
                      <a:pt x="198" y="893"/>
                    </a:lnTo>
                    <a:lnTo>
                      <a:pt x="198" y="891"/>
                    </a:lnTo>
                    <a:lnTo>
                      <a:pt x="198" y="891"/>
                    </a:lnTo>
                    <a:lnTo>
                      <a:pt x="198" y="891"/>
                    </a:lnTo>
                    <a:lnTo>
                      <a:pt x="196" y="891"/>
                    </a:lnTo>
                    <a:lnTo>
                      <a:pt x="196" y="891"/>
                    </a:lnTo>
                    <a:lnTo>
                      <a:pt x="196" y="891"/>
                    </a:lnTo>
                    <a:lnTo>
                      <a:pt x="196" y="888"/>
                    </a:lnTo>
                    <a:lnTo>
                      <a:pt x="194" y="888"/>
                    </a:lnTo>
                    <a:lnTo>
                      <a:pt x="194" y="888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191" y="884"/>
                    </a:lnTo>
                    <a:lnTo>
                      <a:pt x="191" y="884"/>
                    </a:lnTo>
                    <a:lnTo>
                      <a:pt x="191" y="884"/>
                    </a:lnTo>
                    <a:lnTo>
                      <a:pt x="191" y="881"/>
                    </a:lnTo>
                    <a:lnTo>
                      <a:pt x="189" y="879"/>
                    </a:lnTo>
                    <a:lnTo>
                      <a:pt x="191" y="879"/>
                    </a:lnTo>
                    <a:lnTo>
                      <a:pt x="189" y="879"/>
                    </a:lnTo>
                    <a:lnTo>
                      <a:pt x="189" y="879"/>
                    </a:lnTo>
                    <a:lnTo>
                      <a:pt x="187" y="879"/>
                    </a:lnTo>
                    <a:lnTo>
                      <a:pt x="189" y="877"/>
                    </a:lnTo>
                    <a:lnTo>
                      <a:pt x="189" y="877"/>
                    </a:lnTo>
                    <a:lnTo>
                      <a:pt x="187" y="877"/>
                    </a:lnTo>
                    <a:lnTo>
                      <a:pt x="187" y="877"/>
                    </a:lnTo>
                    <a:lnTo>
                      <a:pt x="187" y="874"/>
                    </a:lnTo>
                    <a:lnTo>
                      <a:pt x="187" y="877"/>
                    </a:lnTo>
                    <a:lnTo>
                      <a:pt x="184" y="874"/>
                    </a:lnTo>
                    <a:lnTo>
                      <a:pt x="184" y="877"/>
                    </a:lnTo>
                    <a:lnTo>
                      <a:pt x="182" y="874"/>
                    </a:lnTo>
                    <a:lnTo>
                      <a:pt x="182" y="874"/>
                    </a:lnTo>
                    <a:lnTo>
                      <a:pt x="182" y="874"/>
                    </a:lnTo>
                    <a:lnTo>
                      <a:pt x="182" y="872"/>
                    </a:lnTo>
                    <a:lnTo>
                      <a:pt x="182" y="872"/>
                    </a:lnTo>
                    <a:lnTo>
                      <a:pt x="182" y="872"/>
                    </a:lnTo>
                    <a:lnTo>
                      <a:pt x="182" y="872"/>
                    </a:lnTo>
                    <a:lnTo>
                      <a:pt x="184" y="872"/>
                    </a:lnTo>
                    <a:lnTo>
                      <a:pt x="184" y="869"/>
                    </a:lnTo>
                    <a:lnTo>
                      <a:pt x="180" y="869"/>
                    </a:lnTo>
                    <a:lnTo>
                      <a:pt x="180" y="867"/>
                    </a:lnTo>
                    <a:lnTo>
                      <a:pt x="180" y="867"/>
                    </a:lnTo>
                    <a:lnTo>
                      <a:pt x="177" y="867"/>
                    </a:lnTo>
                    <a:lnTo>
                      <a:pt x="180" y="867"/>
                    </a:lnTo>
                    <a:lnTo>
                      <a:pt x="182" y="867"/>
                    </a:lnTo>
                    <a:lnTo>
                      <a:pt x="182" y="865"/>
                    </a:lnTo>
                    <a:lnTo>
                      <a:pt x="182" y="865"/>
                    </a:lnTo>
                    <a:lnTo>
                      <a:pt x="180" y="862"/>
                    </a:lnTo>
                    <a:lnTo>
                      <a:pt x="177" y="862"/>
                    </a:lnTo>
                    <a:lnTo>
                      <a:pt x="177" y="860"/>
                    </a:lnTo>
                    <a:lnTo>
                      <a:pt x="175" y="860"/>
                    </a:lnTo>
                    <a:lnTo>
                      <a:pt x="175" y="860"/>
                    </a:lnTo>
                    <a:lnTo>
                      <a:pt x="175" y="862"/>
                    </a:lnTo>
                    <a:lnTo>
                      <a:pt x="175" y="862"/>
                    </a:lnTo>
                    <a:lnTo>
                      <a:pt x="177" y="862"/>
                    </a:lnTo>
                    <a:lnTo>
                      <a:pt x="177" y="865"/>
                    </a:lnTo>
                    <a:lnTo>
                      <a:pt x="175" y="865"/>
                    </a:lnTo>
                    <a:lnTo>
                      <a:pt x="172" y="865"/>
                    </a:lnTo>
                    <a:lnTo>
                      <a:pt x="172" y="862"/>
                    </a:lnTo>
                    <a:lnTo>
                      <a:pt x="172" y="862"/>
                    </a:lnTo>
                    <a:lnTo>
                      <a:pt x="172" y="860"/>
                    </a:lnTo>
                    <a:lnTo>
                      <a:pt x="172" y="858"/>
                    </a:lnTo>
                    <a:lnTo>
                      <a:pt x="170" y="855"/>
                    </a:lnTo>
                    <a:lnTo>
                      <a:pt x="172" y="855"/>
                    </a:lnTo>
                    <a:lnTo>
                      <a:pt x="170" y="853"/>
                    </a:lnTo>
                    <a:lnTo>
                      <a:pt x="170" y="853"/>
                    </a:lnTo>
                    <a:lnTo>
                      <a:pt x="168" y="853"/>
                    </a:lnTo>
                    <a:lnTo>
                      <a:pt x="168" y="853"/>
                    </a:lnTo>
                    <a:lnTo>
                      <a:pt x="165" y="853"/>
                    </a:lnTo>
                    <a:lnTo>
                      <a:pt x="165" y="853"/>
                    </a:lnTo>
                    <a:lnTo>
                      <a:pt x="168" y="851"/>
                    </a:lnTo>
                    <a:lnTo>
                      <a:pt x="168" y="851"/>
                    </a:lnTo>
                    <a:lnTo>
                      <a:pt x="168" y="848"/>
                    </a:lnTo>
                    <a:lnTo>
                      <a:pt x="168" y="848"/>
                    </a:lnTo>
                    <a:lnTo>
                      <a:pt x="165" y="848"/>
                    </a:lnTo>
                    <a:lnTo>
                      <a:pt x="163" y="848"/>
                    </a:lnTo>
                    <a:lnTo>
                      <a:pt x="163" y="848"/>
                    </a:lnTo>
                    <a:lnTo>
                      <a:pt x="161" y="848"/>
                    </a:lnTo>
                    <a:lnTo>
                      <a:pt x="161" y="848"/>
                    </a:lnTo>
                    <a:lnTo>
                      <a:pt x="161" y="843"/>
                    </a:lnTo>
                    <a:lnTo>
                      <a:pt x="158" y="843"/>
                    </a:lnTo>
                    <a:lnTo>
                      <a:pt x="158" y="839"/>
                    </a:lnTo>
                    <a:lnTo>
                      <a:pt x="158" y="836"/>
                    </a:lnTo>
                    <a:lnTo>
                      <a:pt x="156" y="836"/>
                    </a:lnTo>
                    <a:lnTo>
                      <a:pt x="154" y="836"/>
                    </a:lnTo>
                    <a:lnTo>
                      <a:pt x="151" y="836"/>
                    </a:lnTo>
                    <a:lnTo>
                      <a:pt x="149" y="839"/>
                    </a:lnTo>
                    <a:lnTo>
                      <a:pt x="146" y="836"/>
                    </a:lnTo>
                    <a:lnTo>
                      <a:pt x="149" y="834"/>
                    </a:lnTo>
                    <a:lnTo>
                      <a:pt x="149" y="834"/>
                    </a:lnTo>
                    <a:lnTo>
                      <a:pt x="156" y="829"/>
                    </a:lnTo>
                    <a:lnTo>
                      <a:pt x="156" y="829"/>
                    </a:lnTo>
                    <a:lnTo>
                      <a:pt x="161" y="827"/>
                    </a:lnTo>
                    <a:lnTo>
                      <a:pt x="161" y="822"/>
                    </a:lnTo>
                    <a:lnTo>
                      <a:pt x="161" y="822"/>
                    </a:lnTo>
                    <a:lnTo>
                      <a:pt x="158" y="817"/>
                    </a:lnTo>
                    <a:lnTo>
                      <a:pt x="154" y="815"/>
                    </a:lnTo>
                    <a:lnTo>
                      <a:pt x="154" y="813"/>
                    </a:lnTo>
                    <a:lnTo>
                      <a:pt x="146" y="813"/>
                    </a:lnTo>
                    <a:lnTo>
                      <a:pt x="144" y="815"/>
                    </a:lnTo>
                    <a:lnTo>
                      <a:pt x="142" y="820"/>
                    </a:lnTo>
                    <a:lnTo>
                      <a:pt x="139" y="820"/>
                    </a:lnTo>
                    <a:lnTo>
                      <a:pt x="139" y="820"/>
                    </a:lnTo>
                    <a:lnTo>
                      <a:pt x="139" y="820"/>
                    </a:lnTo>
                    <a:lnTo>
                      <a:pt x="137" y="813"/>
                    </a:lnTo>
                    <a:lnTo>
                      <a:pt x="135" y="810"/>
                    </a:lnTo>
                    <a:lnTo>
                      <a:pt x="128" y="808"/>
                    </a:lnTo>
                    <a:lnTo>
                      <a:pt x="128" y="806"/>
                    </a:lnTo>
                    <a:lnTo>
                      <a:pt x="128" y="803"/>
                    </a:lnTo>
                    <a:lnTo>
                      <a:pt x="128" y="801"/>
                    </a:lnTo>
                    <a:lnTo>
                      <a:pt x="128" y="801"/>
                    </a:lnTo>
                    <a:lnTo>
                      <a:pt x="130" y="799"/>
                    </a:lnTo>
                    <a:lnTo>
                      <a:pt x="132" y="799"/>
                    </a:lnTo>
                    <a:lnTo>
                      <a:pt x="135" y="799"/>
                    </a:lnTo>
                    <a:lnTo>
                      <a:pt x="137" y="799"/>
                    </a:lnTo>
                    <a:lnTo>
                      <a:pt x="137" y="799"/>
                    </a:lnTo>
                    <a:lnTo>
                      <a:pt x="139" y="799"/>
                    </a:lnTo>
                    <a:lnTo>
                      <a:pt x="142" y="794"/>
                    </a:lnTo>
                    <a:lnTo>
                      <a:pt x="144" y="792"/>
                    </a:lnTo>
                    <a:lnTo>
                      <a:pt x="146" y="787"/>
                    </a:lnTo>
                    <a:lnTo>
                      <a:pt x="149" y="787"/>
                    </a:lnTo>
                    <a:lnTo>
                      <a:pt x="151" y="782"/>
                    </a:lnTo>
                    <a:lnTo>
                      <a:pt x="154" y="782"/>
                    </a:lnTo>
                    <a:lnTo>
                      <a:pt x="154" y="780"/>
                    </a:lnTo>
                    <a:lnTo>
                      <a:pt x="154" y="777"/>
                    </a:lnTo>
                    <a:lnTo>
                      <a:pt x="154" y="775"/>
                    </a:lnTo>
                    <a:lnTo>
                      <a:pt x="154" y="773"/>
                    </a:lnTo>
                    <a:lnTo>
                      <a:pt x="156" y="768"/>
                    </a:lnTo>
                    <a:lnTo>
                      <a:pt x="158" y="766"/>
                    </a:lnTo>
                    <a:lnTo>
                      <a:pt x="156" y="763"/>
                    </a:lnTo>
                    <a:lnTo>
                      <a:pt x="156" y="758"/>
                    </a:lnTo>
                    <a:lnTo>
                      <a:pt x="156" y="758"/>
                    </a:lnTo>
                    <a:lnTo>
                      <a:pt x="154" y="758"/>
                    </a:lnTo>
                    <a:lnTo>
                      <a:pt x="154" y="756"/>
                    </a:lnTo>
                    <a:lnTo>
                      <a:pt x="156" y="751"/>
                    </a:lnTo>
                    <a:lnTo>
                      <a:pt x="158" y="747"/>
                    </a:lnTo>
                    <a:lnTo>
                      <a:pt x="158" y="742"/>
                    </a:lnTo>
                    <a:lnTo>
                      <a:pt x="158" y="740"/>
                    </a:lnTo>
                    <a:lnTo>
                      <a:pt x="158" y="740"/>
                    </a:lnTo>
                    <a:lnTo>
                      <a:pt x="158" y="737"/>
                    </a:lnTo>
                    <a:lnTo>
                      <a:pt x="161" y="730"/>
                    </a:lnTo>
                    <a:lnTo>
                      <a:pt x="163" y="728"/>
                    </a:lnTo>
                    <a:lnTo>
                      <a:pt x="163" y="728"/>
                    </a:lnTo>
                    <a:lnTo>
                      <a:pt x="163" y="725"/>
                    </a:lnTo>
                    <a:lnTo>
                      <a:pt x="163" y="721"/>
                    </a:lnTo>
                    <a:lnTo>
                      <a:pt x="163" y="721"/>
                    </a:lnTo>
                    <a:lnTo>
                      <a:pt x="163" y="718"/>
                    </a:lnTo>
                    <a:lnTo>
                      <a:pt x="168" y="714"/>
                    </a:lnTo>
                    <a:lnTo>
                      <a:pt x="168" y="714"/>
                    </a:lnTo>
                    <a:lnTo>
                      <a:pt x="168" y="711"/>
                    </a:lnTo>
                    <a:lnTo>
                      <a:pt x="165" y="706"/>
                    </a:lnTo>
                    <a:lnTo>
                      <a:pt x="168" y="704"/>
                    </a:lnTo>
                    <a:lnTo>
                      <a:pt x="168" y="702"/>
                    </a:lnTo>
                    <a:lnTo>
                      <a:pt x="168" y="697"/>
                    </a:lnTo>
                    <a:lnTo>
                      <a:pt x="170" y="692"/>
                    </a:lnTo>
                    <a:lnTo>
                      <a:pt x="170" y="692"/>
                    </a:lnTo>
                    <a:lnTo>
                      <a:pt x="172" y="685"/>
                    </a:lnTo>
                    <a:lnTo>
                      <a:pt x="172" y="683"/>
                    </a:lnTo>
                    <a:lnTo>
                      <a:pt x="172" y="680"/>
                    </a:lnTo>
                    <a:lnTo>
                      <a:pt x="172" y="678"/>
                    </a:lnTo>
                    <a:lnTo>
                      <a:pt x="170" y="676"/>
                    </a:lnTo>
                    <a:lnTo>
                      <a:pt x="168" y="671"/>
                    </a:lnTo>
                    <a:lnTo>
                      <a:pt x="168" y="664"/>
                    </a:lnTo>
                    <a:lnTo>
                      <a:pt x="165" y="662"/>
                    </a:lnTo>
                    <a:lnTo>
                      <a:pt x="168" y="657"/>
                    </a:lnTo>
                    <a:lnTo>
                      <a:pt x="168" y="655"/>
                    </a:lnTo>
                    <a:lnTo>
                      <a:pt x="168" y="655"/>
                    </a:lnTo>
                    <a:lnTo>
                      <a:pt x="165" y="650"/>
                    </a:lnTo>
                    <a:lnTo>
                      <a:pt x="165" y="647"/>
                    </a:lnTo>
                    <a:lnTo>
                      <a:pt x="168" y="640"/>
                    </a:lnTo>
                    <a:lnTo>
                      <a:pt x="168" y="631"/>
                    </a:lnTo>
                    <a:lnTo>
                      <a:pt x="165" y="631"/>
                    </a:lnTo>
                    <a:lnTo>
                      <a:pt x="165" y="626"/>
                    </a:lnTo>
                    <a:lnTo>
                      <a:pt x="163" y="619"/>
                    </a:lnTo>
                    <a:lnTo>
                      <a:pt x="161" y="617"/>
                    </a:lnTo>
                    <a:lnTo>
                      <a:pt x="158" y="614"/>
                    </a:lnTo>
                    <a:lnTo>
                      <a:pt x="158" y="610"/>
                    </a:lnTo>
                    <a:lnTo>
                      <a:pt x="161" y="605"/>
                    </a:lnTo>
                    <a:lnTo>
                      <a:pt x="161" y="600"/>
                    </a:lnTo>
                    <a:lnTo>
                      <a:pt x="161" y="600"/>
                    </a:lnTo>
                    <a:lnTo>
                      <a:pt x="161" y="595"/>
                    </a:lnTo>
                    <a:lnTo>
                      <a:pt x="161" y="591"/>
                    </a:lnTo>
                    <a:lnTo>
                      <a:pt x="158" y="586"/>
                    </a:lnTo>
                    <a:lnTo>
                      <a:pt x="151" y="579"/>
                    </a:lnTo>
                    <a:lnTo>
                      <a:pt x="149" y="579"/>
                    </a:lnTo>
                    <a:lnTo>
                      <a:pt x="149" y="579"/>
                    </a:lnTo>
                    <a:lnTo>
                      <a:pt x="144" y="579"/>
                    </a:lnTo>
                    <a:lnTo>
                      <a:pt x="137" y="572"/>
                    </a:lnTo>
                    <a:lnTo>
                      <a:pt x="135" y="572"/>
                    </a:lnTo>
                    <a:lnTo>
                      <a:pt x="128" y="567"/>
                    </a:lnTo>
                    <a:lnTo>
                      <a:pt x="125" y="567"/>
                    </a:lnTo>
                    <a:lnTo>
                      <a:pt x="120" y="569"/>
                    </a:lnTo>
                    <a:lnTo>
                      <a:pt x="116" y="569"/>
                    </a:lnTo>
                    <a:lnTo>
                      <a:pt x="116" y="567"/>
                    </a:lnTo>
                    <a:lnTo>
                      <a:pt x="111" y="562"/>
                    </a:lnTo>
                    <a:lnTo>
                      <a:pt x="111" y="558"/>
                    </a:lnTo>
                    <a:lnTo>
                      <a:pt x="111" y="558"/>
                    </a:lnTo>
                    <a:lnTo>
                      <a:pt x="111" y="555"/>
                    </a:lnTo>
                    <a:lnTo>
                      <a:pt x="111" y="553"/>
                    </a:lnTo>
                    <a:lnTo>
                      <a:pt x="109" y="553"/>
                    </a:lnTo>
                    <a:lnTo>
                      <a:pt x="104" y="551"/>
                    </a:lnTo>
                    <a:lnTo>
                      <a:pt x="102" y="551"/>
                    </a:lnTo>
                    <a:lnTo>
                      <a:pt x="99" y="551"/>
                    </a:lnTo>
                    <a:lnTo>
                      <a:pt x="94" y="548"/>
                    </a:lnTo>
                    <a:lnTo>
                      <a:pt x="94" y="548"/>
                    </a:lnTo>
                    <a:lnTo>
                      <a:pt x="92" y="548"/>
                    </a:lnTo>
                    <a:lnTo>
                      <a:pt x="90" y="553"/>
                    </a:lnTo>
                    <a:lnTo>
                      <a:pt x="85" y="553"/>
                    </a:lnTo>
                    <a:lnTo>
                      <a:pt x="80" y="553"/>
                    </a:lnTo>
                    <a:lnTo>
                      <a:pt x="73" y="553"/>
                    </a:lnTo>
                    <a:lnTo>
                      <a:pt x="71" y="551"/>
                    </a:lnTo>
                    <a:lnTo>
                      <a:pt x="68" y="551"/>
                    </a:lnTo>
                    <a:lnTo>
                      <a:pt x="66" y="548"/>
                    </a:lnTo>
                    <a:lnTo>
                      <a:pt x="66" y="548"/>
                    </a:lnTo>
                    <a:lnTo>
                      <a:pt x="64" y="548"/>
                    </a:lnTo>
                    <a:lnTo>
                      <a:pt x="61" y="546"/>
                    </a:lnTo>
                    <a:lnTo>
                      <a:pt x="57" y="543"/>
                    </a:lnTo>
                    <a:lnTo>
                      <a:pt x="54" y="543"/>
                    </a:lnTo>
                    <a:lnTo>
                      <a:pt x="50" y="541"/>
                    </a:lnTo>
                    <a:lnTo>
                      <a:pt x="47" y="541"/>
                    </a:lnTo>
                    <a:lnTo>
                      <a:pt x="35" y="541"/>
                    </a:lnTo>
                    <a:lnTo>
                      <a:pt x="33" y="543"/>
                    </a:lnTo>
                    <a:lnTo>
                      <a:pt x="28" y="543"/>
                    </a:lnTo>
                    <a:lnTo>
                      <a:pt x="26" y="543"/>
                    </a:lnTo>
                    <a:lnTo>
                      <a:pt x="24" y="548"/>
                    </a:lnTo>
                    <a:lnTo>
                      <a:pt x="24" y="551"/>
                    </a:lnTo>
                    <a:lnTo>
                      <a:pt x="24" y="553"/>
                    </a:lnTo>
                    <a:lnTo>
                      <a:pt x="24" y="555"/>
                    </a:lnTo>
                    <a:lnTo>
                      <a:pt x="21" y="560"/>
                    </a:lnTo>
                    <a:lnTo>
                      <a:pt x="19" y="562"/>
                    </a:lnTo>
                    <a:lnTo>
                      <a:pt x="17" y="562"/>
                    </a:lnTo>
                    <a:lnTo>
                      <a:pt x="14" y="562"/>
                    </a:lnTo>
                    <a:lnTo>
                      <a:pt x="14" y="560"/>
                    </a:lnTo>
                    <a:lnTo>
                      <a:pt x="12" y="560"/>
                    </a:lnTo>
                    <a:lnTo>
                      <a:pt x="9" y="558"/>
                    </a:lnTo>
                    <a:lnTo>
                      <a:pt x="7" y="560"/>
                    </a:lnTo>
                    <a:lnTo>
                      <a:pt x="7" y="560"/>
                    </a:lnTo>
                    <a:lnTo>
                      <a:pt x="5" y="562"/>
                    </a:lnTo>
                    <a:lnTo>
                      <a:pt x="5" y="565"/>
                    </a:lnTo>
                    <a:lnTo>
                      <a:pt x="2" y="562"/>
                    </a:lnTo>
                    <a:lnTo>
                      <a:pt x="0" y="565"/>
                    </a:lnTo>
                    <a:lnTo>
                      <a:pt x="0" y="562"/>
                    </a:lnTo>
                    <a:close/>
                    <a:moveTo>
                      <a:pt x="371" y="17"/>
                    </a:moveTo>
                    <a:lnTo>
                      <a:pt x="371" y="14"/>
                    </a:lnTo>
                    <a:lnTo>
                      <a:pt x="371" y="17"/>
                    </a:lnTo>
                    <a:close/>
                    <a:moveTo>
                      <a:pt x="437" y="50"/>
                    </a:moveTo>
                    <a:lnTo>
                      <a:pt x="437" y="50"/>
                    </a:lnTo>
                    <a:lnTo>
                      <a:pt x="437" y="47"/>
                    </a:lnTo>
                    <a:lnTo>
                      <a:pt x="435" y="50"/>
                    </a:lnTo>
                    <a:lnTo>
                      <a:pt x="435" y="47"/>
                    </a:lnTo>
                    <a:lnTo>
                      <a:pt x="435" y="50"/>
                    </a:lnTo>
                    <a:lnTo>
                      <a:pt x="437" y="47"/>
                    </a:lnTo>
                    <a:lnTo>
                      <a:pt x="437" y="50"/>
                    </a:lnTo>
                    <a:lnTo>
                      <a:pt x="437" y="50"/>
                    </a:lnTo>
                    <a:close/>
                    <a:moveTo>
                      <a:pt x="468" y="40"/>
                    </a:moveTo>
                    <a:lnTo>
                      <a:pt x="468" y="40"/>
                    </a:lnTo>
                    <a:lnTo>
                      <a:pt x="468" y="38"/>
                    </a:lnTo>
                    <a:lnTo>
                      <a:pt x="470" y="38"/>
                    </a:lnTo>
                    <a:lnTo>
                      <a:pt x="470" y="38"/>
                    </a:lnTo>
                    <a:lnTo>
                      <a:pt x="470" y="38"/>
                    </a:lnTo>
                    <a:lnTo>
                      <a:pt x="468" y="40"/>
                    </a:lnTo>
                    <a:lnTo>
                      <a:pt x="470" y="40"/>
                    </a:lnTo>
                    <a:lnTo>
                      <a:pt x="470" y="45"/>
                    </a:lnTo>
                    <a:lnTo>
                      <a:pt x="470" y="47"/>
                    </a:lnTo>
                    <a:lnTo>
                      <a:pt x="470" y="45"/>
                    </a:lnTo>
                    <a:lnTo>
                      <a:pt x="470" y="43"/>
                    </a:lnTo>
                    <a:lnTo>
                      <a:pt x="470" y="40"/>
                    </a:lnTo>
                    <a:lnTo>
                      <a:pt x="468" y="40"/>
                    </a:lnTo>
                    <a:close/>
                    <a:moveTo>
                      <a:pt x="470" y="40"/>
                    </a:moveTo>
                    <a:lnTo>
                      <a:pt x="468" y="40"/>
                    </a:lnTo>
                    <a:lnTo>
                      <a:pt x="468" y="40"/>
                    </a:lnTo>
                    <a:lnTo>
                      <a:pt x="470" y="40"/>
                    </a:lnTo>
                    <a:close/>
                    <a:moveTo>
                      <a:pt x="392" y="31"/>
                    </a:moveTo>
                    <a:lnTo>
                      <a:pt x="394" y="31"/>
                    </a:lnTo>
                    <a:lnTo>
                      <a:pt x="392" y="29"/>
                    </a:lnTo>
                    <a:lnTo>
                      <a:pt x="392" y="31"/>
                    </a:lnTo>
                    <a:close/>
                    <a:moveTo>
                      <a:pt x="394" y="31"/>
                    </a:moveTo>
                    <a:lnTo>
                      <a:pt x="392" y="31"/>
                    </a:lnTo>
                    <a:lnTo>
                      <a:pt x="392" y="33"/>
                    </a:lnTo>
                    <a:lnTo>
                      <a:pt x="392" y="33"/>
                    </a:lnTo>
                    <a:lnTo>
                      <a:pt x="392" y="36"/>
                    </a:lnTo>
                    <a:lnTo>
                      <a:pt x="392" y="36"/>
                    </a:lnTo>
                    <a:lnTo>
                      <a:pt x="392" y="33"/>
                    </a:lnTo>
                    <a:lnTo>
                      <a:pt x="394" y="31"/>
                    </a:lnTo>
                    <a:lnTo>
                      <a:pt x="394" y="31"/>
                    </a:lnTo>
                    <a:lnTo>
                      <a:pt x="394" y="31"/>
                    </a:lnTo>
                    <a:close/>
                    <a:moveTo>
                      <a:pt x="508" y="83"/>
                    </a:moveTo>
                    <a:lnTo>
                      <a:pt x="508" y="83"/>
                    </a:lnTo>
                    <a:lnTo>
                      <a:pt x="508" y="85"/>
                    </a:lnTo>
                    <a:lnTo>
                      <a:pt x="508" y="83"/>
                    </a:lnTo>
                    <a:lnTo>
                      <a:pt x="510" y="85"/>
                    </a:lnTo>
                    <a:lnTo>
                      <a:pt x="508" y="85"/>
                    </a:lnTo>
                    <a:lnTo>
                      <a:pt x="506" y="85"/>
                    </a:lnTo>
                    <a:lnTo>
                      <a:pt x="508" y="85"/>
                    </a:lnTo>
                    <a:lnTo>
                      <a:pt x="508" y="85"/>
                    </a:lnTo>
                    <a:lnTo>
                      <a:pt x="508" y="83"/>
                    </a:lnTo>
                    <a:close/>
                    <a:moveTo>
                      <a:pt x="506" y="73"/>
                    </a:moveTo>
                    <a:lnTo>
                      <a:pt x="506" y="73"/>
                    </a:lnTo>
                    <a:lnTo>
                      <a:pt x="506" y="71"/>
                    </a:lnTo>
                    <a:lnTo>
                      <a:pt x="506" y="73"/>
                    </a:lnTo>
                    <a:close/>
                    <a:moveTo>
                      <a:pt x="371" y="29"/>
                    </a:moveTo>
                    <a:lnTo>
                      <a:pt x="369" y="31"/>
                    </a:lnTo>
                    <a:lnTo>
                      <a:pt x="369" y="31"/>
                    </a:lnTo>
                    <a:lnTo>
                      <a:pt x="369" y="33"/>
                    </a:lnTo>
                    <a:lnTo>
                      <a:pt x="371" y="33"/>
                    </a:lnTo>
                    <a:lnTo>
                      <a:pt x="371" y="36"/>
                    </a:lnTo>
                    <a:lnTo>
                      <a:pt x="373" y="36"/>
                    </a:lnTo>
                    <a:lnTo>
                      <a:pt x="373" y="36"/>
                    </a:lnTo>
                    <a:lnTo>
                      <a:pt x="373" y="38"/>
                    </a:lnTo>
                    <a:lnTo>
                      <a:pt x="373" y="38"/>
                    </a:lnTo>
                    <a:lnTo>
                      <a:pt x="373" y="40"/>
                    </a:lnTo>
                    <a:lnTo>
                      <a:pt x="373" y="38"/>
                    </a:lnTo>
                    <a:lnTo>
                      <a:pt x="376" y="38"/>
                    </a:lnTo>
                    <a:lnTo>
                      <a:pt x="373" y="36"/>
                    </a:lnTo>
                    <a:lnTo>
                      <a:pt x="373" y="36"/>
                    </a:lnTo>
                    <a:lnTo>
                      <a:pt x="371" y="36"/>
                    </a:lnTo>
                    <a:lnTo>
                      <a:pt x="371" y="33"/>
                    </a:lnTo>
                    <a:lnTo>
                      <a:pt x="371" y="33"/>
                    </a:lnTo>
                    <a:lnTo>
                      <a:pt x="369" y="31"/>
                    </a:lnTo>
                    <a:lnTo>
                      <a:pt x="369" y="31"/>
                    </a:lnTo>
                    <a:lnTo>
                      <a:pt x="371" y="29"/>
                    </a:lnTo>
                    <a:lnTo>
                      <a:pt x="371" y="29"/>
                    </a:lnTo>
                    <a:close/>
                    <a:moveTo>
                      <a:pt x="543" y="142"/>
                    </a:moveTo>
                    <a:lnTo>
                      <a:pt x="543" y="142"/>
                    </a:lnTo>
                    <a:lnTo>
                      <a:pt x="543" y="142"/>
                    </a:lnTo>
                    <a:lnTo>
                      <a:pt x="546" y="142"/>
                    </a:lnTo>
                    <a:lnTo>
                      <a:pt x="546" y="142"/>
                    </a:lnTo>
                    <a:lnTo>
                      <a:pt x="546" y="142"/>
                    </a:lnTo>
                    <a:lnTo>
                      <a:pt x="543" y="142"/>
                    </a:lnTo>
                    <a:close/>
                    <a:moveTo>
                      <a:pt x="489" y="40"/>
                    </a:moveTo>
                    <a:lnTo>
                      <a:pt x="489" y="38"/>
                    </a:lnTo>
                    <a:lnTo>
                      <a:pt x="489" y="38"/>
                    </a:lnTo>
                    <a:lnTo>
                      <a:pt x="487" y="38"/>
                    </a:lnTo>
                    <a:lnTo>
                      <a:pt x="487" y="38"/>
                    </a:lnTo>
                    <a:lnTo>
                      <a:pt x="487" y="38"/>
                    </a:lnTo>
                    <a:lnTo>
                      <a:pt x="489" y="38"/>
                    </a:lnTo>
                    <a:lnTo>
                      <a:pt x="487" y="40"/>
                    </a:lnTo>
                    <a:lnTo>
                      <a:pt x="484" y="40"/>
                    </a:lnTo>
                    <a:lnTo>
                      <a:pt x="484" y="40"/>
                    </a:lnTo>
                    <a:lnTo>
                      <a:pt x="484" y="38"/>
                    </a:lnTo>
                    <a:lnTo>
                      <a:pt x="484" y="40"/>
                    </a:lnTo>
                    <a:lnTo>
                      <a:pt x="487" y="40"/>
                    </a:lnTo>
                    <a:lnTo>
                      <a:pt x="489" y="40"/>
                    </a:lnTo>
                    <a:lnTo>
                      <a:pt x="489" y="40"/>
                    </a:lnTo>
                    <a:lnTo>
                      <a:pt x="489" y="40"/>
                    </a:lnTo>
                    <a:lnTo>
                      <a:pt x="484" y="43"/>
                    </a:lnTo>
                    <a:lnTo>
                      <a:pt x="484" y="45"/>
                    </a:lnTo>
                    <a:lnTo>
                      <a:pt x="484" y="45"/>
                    </a:lnTo>
                    <a:lnTo>
                      <a:pt x="482" y="45"/>
                    </a:lnTo>
                    <a:lnTo>
                      <a:pt x="482" y="43"/>
                    </a:lnTo>
                    <a:lnTo>
                      <a:pt x="482" y="45"/>
                    </a:lnTo>
                    <a:lnTo>
                      <a:pt x="480" y="47"/>
                    </a:lnTo>
                    <a:lnTo>
                      <a:pt x="480" y="47"/>
                    </a:lnTo>
                    <a:lnTo>
                      <a:pt x="480" y="47"/>
                    </a:lnTo>
                    <a:lnTo>
                      <a:pt x="480" y="47"/>
                    </a:lnTo>
                    <a:lnTo>
                      <a:pt x="477" y="47"/>
                    </a:lnTo>
                    <a:lnTo>
                      <a:pt x="475" y="45"/>
                    </a:lnTo>
                    <a:lnTo>
                      <a:pt x="472" y="40"/>
                    </a:lnTo>
                    <a:lnTo>
                      <a:pt x="472" y="43"/>
                    </a:lnTo>
                    <a:lnTo>
                      <a:pt x="472" y="40"/>
                    </a:lnTo>
                    <a:lnTo>
                      <a:pt x="475" y="40"/>
                    </a:lnTo>
                    <a:lnTo>
                      <a:pt x="472" y="40"/>
                    </a:lnTo>
                    <a:lnTo>
                      <a:pt x="472" y="38"/>
                    </a:lnTo>
                    <a:lnTo>
                      <a:pt x="472" y="38"/>
                    </a:lnTo>
                    <a:lnTo>
                      <a:pt x="475" y="36"/>
                    </a:lnTo>
                    <a:lnTo>
                      <a:pt x="475" y="38"/>
                    </a:lnTo>
                    <a:lnTo>
                      <a:pt x="477" y="38"/>
                    </a:lnTo>
                    <a:lnTo>
                      <a:pt x="480" y="38"/>
                    </a:lnTo>
                    <a:lnTo>
                      <a:pt x="480" y="38"/>
                    </a:lnTo>
                    <a:lnTo>
                      <a:pt x="480" y="38"/>
                    </a:lnTo>
                    <a:lnTo>
                      <a:pt x="482" y="40"/>
                    </a:lnTo>
                    <a:lnTo>
                      <a:pt x="482" y="38"/>
                    </a:lnTo>
                    <a:lnTo>
                      <a:pt x="480" y="38"/>
                    </a:lnTo>
                    <a:lnTo>
                      <a:pt x="480" y="36"/>
                    </a:lnTo>
                    <a:lnTo>
                      <a:pt x="480" y="36"/>
                    </a:lnTo>
                    <a:lnTo>
                      <a:pt x="480" y="36"/>
                    </a:lnTo>
                    <a:lnTo>
                      <a:pt x="480" y="36"/>
                    </a:lnTo>
                    <a:lnTo>
                      <a:pt x="480" y="36"/>
                    </a:lnTo>
                    <a:lnTo>
                      <a:pt x="477" y="36"/>
                    </a:lnTo>
                    <a:lnTo>
                      <a:pt x="477" y="36"/>
                    </a:lnTo>
                    <a:lnTo>
                      <a:pt x="480" y="31"/>
                    </a:lnTo>
                    <a:lnTo>
                      <a:pt x="480" y="31"/>
                    </a:lnTo>
                    <a:lnTo>
                      <a:pt x="482" y="31"/>
                    </a:lnTo>
                    <a:lnTo>
                      <a:pt x="482" y="31"/>
                    </a:lnTo>
                    <a:lnTo>
                      <a:pt x="484" y="31"/>
                    </a:lnTo>
                    <a:lnTo>
                      <a:pt x="484" y="33"/>
                    </a:lnTo>
                    <a:lnTo>
                      <a:pt x="484" y="36"/>
                    </a:lnTo>
                    <a:lnTo>
                      <a:pt x="487" y="36"/>
                    </a:lnTo>
                    <a:lnTo>
                      <a:pt x="484" y="33"/>
                    </a:lnTo>
                    <a:lnTo>
                      <a:pt x="484" y="31"/>
                    </a:lnTo>
                    <a:lnTo>
                      <a:pt x="487" y="31"/>
                    </a:lnTo>
                    <a:lnTo>
                      <a:pt x="489" y="31"/>
                    </a:lnTo>
                    <a:lnTo>
                      <a:pt x="494" y="33"/>
                    </a:lnTo>
                    <a:lnTo>
                      <a:pt x="494" y="36"/>
                    </a:lnTo>
                    <a:lnTo>
                      <a:pt x="494" y="38"/>
                    </a:lnTo>
                    <a:lnTo>
                      <a:pt x="494" y="38"/>
                    </a:lnTo>
                    <a:lnTo>
                      <a:pt x="496" y="38"/>
                    </a:lnTo>
                    <a:lnTo>
                      <a:pt x="494" y="40"/>
                    </a:lnTo>
                    <a:lnTo>
                      <a:pt x="491" y="40"/>
                    </a:lnTo>
                    <a:lnTo>
                      <a:pt x="491" y="38"/>
                    </a:lnTo>
                    <a:lnTo>
                      <a:pt x="491" y="38"/>
                    </a:lnTo>
                    <a:lnTo>
                      <a:pt x="491" y="40"/>
                    </a:lnTo>
                    <a:lnTo>
                      <a:pt x="489" y="40"/>
                    </a:lnTo>
                    <a:close/>
                    <a:moveTo>
                      <a:pt x="503" y="69"/>
                    </a:moveTo>
                    <a:lnTo>
                      <a:pt x="503" y="69"/>
                    </a:lnTo>
                    <a:lnTo>
                      <a:pt x="503" y="69"/>
                    </a:lnTo>
                    <a:lnTo>
                      <a:pt x="503" y="69"/>
                    </a:lnTo>
                    <a:close/>
                    <a:moveTo>
                      <a:pt x="366" y="29"/>
                    </a:moveTo>
                    <a:lnTo>
                      <a:pt x="366" y="29"/>
                    </a:lnTo>
                    <a:lnTo>
                      <a:pt x="366" y="29"/>
                    </a:lnTo>
                    <a:lnTo>
                      <a:pt x="366" y="29"/>
                    </a:lnTo>
                    <a:lnTo>
                      <a:pt x="366" y="29"/>
                    </a:lnTo>
                    <a:close/>
                    <a:moveTo>
                      <a:pt x="524" y="97"/>
                    </a:moveTo>
                    <a:lnTo>
                      <a:pt x="524" y="97"/>
                    </a:lnTo>
                    <a:lnTo>
                      <a:pt x="524" y="97"/>
                    </a:lnTo>
                    <a:lnTo>
                      <a:pt x="524" y="95"/>
                    </a:lnTo>
                    <a:lnTo>
                      <a:pt x="524" y="97"/>
                    </a:lnTo>
                    <a:lnTo>
                      <a:pt x="524" y="97"/>
                    </a:lnTo>
                    <a:lnTo>
                      <a:pt x="524" y="97"/>
                    </a:lnTo>
                    <a:lnTo>
                      <a:pt x="524" y="97"/>
                    </a:lnTo>
                    <a:close/>
                    <a:moveTo>
                      <a:pt x="394" y="33"/>
                    </a:move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6"/>
                    </a:lnTo>
                    <a:lnTo>
                      <a:pt x="394" y="33"/>
                    </a:lnTo>
                    <a:close/>
                    <a:moveTo>
                      <a:pt x="404" y="31"/>
                    </a:moveTo>
                    <a:lnTo>
                      <a:pt x="404" y="29"/>
                    </a:lnTo>
                    <a:lnTo>
                      <a:pt x="404" y="29"/>
                    </a:lnTo>
                    <a:lnTo>
                      <a:pt x="404" y="29"/>
                    </a:lnTo>
                    <a:lnTo>
                      <a:pt x="404" y="29"/>
                    </a:lnTo>
                    <a:lnTo>
                      <a:pt x="404" y="31"/>
                    </a:lnTo>
                    <a:lnTo>
                      <a:pt x="404" y="31"/>
                    </a:lnTo>
                    <a:close/>
                    <a:moveTo>
                      <a:pt x="496" y="69"/>
                    </a:moveTo>
                    <a:lnTo>
                      <a:pt x="498" y="69"/>
                    </a:lnTo>
                    <a:lnTo>
                      <a:pt x="496" y="66"/>
                    </a:lnTo>
                    <a:lnTo>
                      <a:pt x="498" y="64"/>
                    </a:lnTo>
                    <a:lnTo>
                      <a:pt x="501" y="64"/>
                    </a:lnTo>
                    <a:lnTo>
                      <a:pt x="501" y="59"/>
                    </a:lnTo>
                    <a:lnTo>
                      <a:pt x="501" y="59"/>
                    </a:lnTo>
                    <a:lnTo>
                      <a:pt x="503" y="57"/>
                    </a:lnTo>
                    <a:lnTo>
                      <a:pt x="506" y="57"/>
                    </a:lnTo>
                    <a:lnTo>
                      <a:pt x="503" y="57"/>
                    </a:lnTo>
                    <a:lnTo>
                      <a:pt x="503" y="55"/>
                    </a:lnTo>
                    <a:lnTo>
                      <a:pt x="506" y="55"/>
                    </a:lnTo>
                    <a:lnTo>
                      <a:pt x="508" y="57"/>
                    </a:lnTo>
                    <a:lnTo>
                      <a:pt x="508" y="62"/>
                    </a:lnTo>
                    <a:lnTo>
                      <a:pt x="508" y="64"/>
                    </a:lnTo>
                    <a:lnTo>
                      <a:pt x="506" y="64"/>
                    </a:lnTo>
                    <a:lnTo>
                      <a:pt x="503" y="64"/>
                    </a:lnTo>
                    <a:lnTo>
                      <a:pt x="503" y="64"/>
                    </a:lnTo>
                    <a:lnTo>
                      <a:pt x="503" y="64"/>
                    </a:lnTo>
                    <a:lnTo>
                      <a:pt x="503" y="64"/>
                    </a:lnTo>
                    <a:lnTo>
                      <a:pt x="503" y="66"/>
                    </a:lnTo>
                    <a:lnTo>
                      <a:pt x="503" y="66"/>
                    </a:lnTo>
                    <a:lnTo>
                      <a:pt x="501" y="69"/>
                    </a:lnTo>
                    <a:lnTo>
                      <a:pt x="501" y="69"/>
                    </a:lnTo>
                    <a:lnTo>
                      <a:pt x="498" y="69"/>
                    </a:lnTo>
                    <a:lnTo>
                      <a:pt x="498" y="69"/>
                    </a:lnTo>
                    <a:lnTo>
                      <a:pt x="498" y="71"/>
                    </a:lnTo>
                    <a:lnTo>
                      <a:pt x="498" y="69"/>
                    </a:lnTo>
                    <a:lnTo>
                      <a:pt x="496" y="69"/>
                    </a:lnTo>
                    <a:close/>
                    <a:moveTo>
                      <a:pt x="600" y="180"/>
                    </a:moveTo>
                    <a:lnTo>
                      <a:pt x="600" y="177"/>
                    </a:lnTo>
                    <a:lnTo>
                      <a:pt x="600" y="177"/>
                    </a:lnTo>
                    <a:lnTo>
                      <a:pt x="602" y="177"/>
                    </a:lnTo>
                    <a:lnTo>
                      <a:pt x="602" y="177"/>
                    </a:lnTo>
                    <a:lnTo>
                      <a:pt x="600" y="177"/>
                    </a:lnTo>
                    <a:lnTo>
                      <a:pt x="600" y="180"/>
                    </a:lnTo>
                    <a:close/>
                    <a:moveTo>
                      <a:pt x="472" y="47"/>
                    </a:moveTo>
                    <a:lnTo>
                      <a:pt x="475" y="47"/>
                    </a:lnTo>
                    <a:lnTo>
                      <a:pt x="475" y="47"/>
                    </a:lnTo>
                    <a:lnTo>
                      <a:pt x="475" y="47"/>
                    </a:lnTo>
                    <a:lnTo>
                      <a:pt x="475" y="47"/>
                    </a:lnTo>
                    <a:lnTo>
                      <a:pt x="472" y="47"/>
                    </a:lnTo>
                    <a:close/>
                    <a:moveTo>
                      <a:pt x="413" y="45"/>
                    </a:moveTo>
                    <a:lnTo>
                      <a:pt x="413" y="45"/>
                    </a:lnTo>
                    <a:lnTo>
                      <a:pt x="413" y="43"/>
                    </a:lnTo>
                    <a:lnTo>
                      <a:pt x="413" y="45"/>
                    </a:lnTo>
                    <a:lnTo>
                      <a:pt x="413" y="45"/>
                    </a:lnTo>
                    <a:close/>
                    <a:moveTo>
                      <a:pt x="522" y="99"/>
                    </a:moveTo>
                    <a:lnTo>
                      <a:pt x="522" y="99"/>
                    </a:lnTo>
                    <a:lnTo>
                      <a:pt x="522" y="99"/>
                    </a:lnTo>
                    <a:lnTo>
                      <a:pt x="522" y="102"/>
                    </a:lnTo>
                    <a:lnTo>
                      <a:pt x="522" y="99"/>
                    </a:lnTo>
                    <a:close/>
                    <a:moveTo>
                      <a:pt x="543" y="130"/>
                    </a:moveTo>
                    <a:lnTo>
                      <a:pt x="546" y="128"/>
                    </a:lnTo>
                    <a:lnTo>
                      <a:pt x="546" y="128"/>
                    </a:lnTo>
                    <a:lnTo>
                      <a:pt x="546" y="130"/>
                    </a:lnTo>
                    <a:lnTo>
                      <a:pt x="543" y="130"/>
                    </a:lnTo>
                    <a:close/>
                    <a:moveTo>
                      <a:pt x="508" y="83"/>
                    </a:moveTo>
                    <a:lnTo>
                      <a:pt x="508" y="83"/>
                    </a:lnTo>
                    <a:lnTo>
                      <a:pt x="510" y="81"/>
                    </a:lnTo>
                    <a:lnTo>
                      <a:pt x="510" y="83"/>
                    </a:lnTo>
                    <a:lnTo>
                      <a:pt x="510" y="83"/>
                    </a:lnTo>
                    <a:lnTo>
                      <a:pt x="508" y="83"/>
                    </a:lnTo>
                    <a:close/>
                    <a:moveTo>
                      <a:pt x="423" y="47"/>
                    </a:moveTo>
                    <a:lnTo>
                      <a:pt x="423" y="47"/>
                    </a:lnTo>
                    <a:lnTo>
                      <a:pt x="425" y="47"/>
                    </a:lnTo>
                    <a:lnTo>
                      <a:pt x="425" y="47"/>
                    </a:lnTo>
                    <a:lnTo>
                      <a:pt x="423" y="50"/>
                    </a:lnTo>
                    <a:lnTo>
                      <a:pt x="423" y="47"/>
                    </a:lnTo>
                    <a:close/>
                    <a:moveTo>
                      <a:pt x="541" y="135"/>
                    </a:moveTo>
                    <a:lnTo>
                      <a:pt x="546" y="132"/>
                    </a:lnTo>
                    <a:lnTo>
                      <a:pt x="546" y="135"/>
                    </a:lnTo>
                    <a:lnTo>
                      <a:pt x="543" y="135"/>
                    </a:lnTo>
                    <a:lnTo>
                      <a:pt x="541" y="135"/>
                    </a:lnTo>
                    <a:close/>
                    <a:moveTo>
                      <a:pt x="541" y="140"/>
                    </a:moveTo>
                    <a:lnTo>
                      <a:pt x="541" y="140"/>
                    </a:lnTo>
                    <a:lnTo>
                      <a:pt x="541" y="140"/>
                    </a:lnTo>
                    <a:lnTo>
                      <a:pt x="541" y="140"/>
                    </a:lnTo>
                    <a:lnTo>
                      <a:pt x="541" y="137"/>
                    </a:lnTo>
                    <a:lnTo>
                      <a:pt x="543" y="140"/>
                    </a:lnTo>
                    <a:lnTo>
                      <a:pt x="543" y="140"/>
                    </a:lnTo>
                    <a:lnTo>
                      <a:pt x="543" y="140"/>
                    </a:lnTo>
                    <a:lnTo>
                      <a:pt x="543" y="142"/>
                    </a:lnTo>
                    <a:lnTo>
                      <a:pt x="543" y="142"/>
                    </a:lnTo>
                    <a:lnTo>
                      <a:pt x="541" y="142"/>
                    </a:lnTo>
                    <a:lnTo>
                      <a:pt x="543" y="142"/>
                    </a:lnTo>
                    <a:lnTo>
                      <a:pt x="541" y="140"/>
                    </a:lnTo>
                    <a:close/>
                    <a:moveTo>
                      <a:pt x="463" y="50"/>
                    </a:moveTo>
                    <a:lnTo>
                      <a:pt x="465" y="47"/>
                    </a:lnTo>
                    <a:lnTo>
                      <a:pt x="465" y="45"/>
                    </a:lnTo>
                    <a:lnTo>
                      <a:pt x="465" y="43"/>
                    </a:lnTo>
                    <a:lnTo>
                      <a:pt x="468" y="43"/>
                    </a:lnTo>
                    <a:lnTo>
                      <a:pt x="468" y="45"/>
                    </a:lnTo>
                    <a:lnTo>
                      <a:pt x="468" y="45"/>
                    </a:lnTo>
                    <a:lnTo>
                      <a:pt x="465" y="45"/>
                    </a:lnTo>
                    <a:lnTo>
                      <a:pt x="465" y="47"/>
                    </a:lnTo>
                    <a:lnTo>
                      <a:pt x="463" y="50"/>
                    </a:lnTo>
                    <a:lnTo>
                      <a:pt x="463" y="50"/>
                    </a:lnTo>
                    <a:lnTo>
                      <a:pt x="463" y="50"/>
                    </a:lnTo>
                    <a:close/>
                    <a:moveTo>
                      <a:pt x="373" y="21"/>
                    </a:moveTo>
                    <a:lnTo>
                      <a:pt x="376" y="19"/>
                    </a:lnTo>
                    <a:lnTo>
                      <a:pt x="376" y="19"/>
                    </a:lnTo>
                    <a:lnTo>
                      <a:pt x="376" y="19"/>
                    </a:lnTo>
                    <a:lnTo>
                      <a:pt x="376" y="21"/>
                    </a:lnTo>
                    <a:lnTo>
                      <a:pt x="376" y="21"/>
                    </a:lnTo>
                    <a:lnTo>
                      <a:pt x="376" y="24"/>
                    </a:lnTo>
                    <a:lnTo>
                      <a:pt x="373" y="21"/>
                    </a:lnTo>
                    <a:lnTo>
                      <a:pt x="373" y="21"/>
                    </a:lnTo>
                    <a:close/>
                    <a:moveTo>
                      <a:pt x="371" y="12"/>
                    </a:moveTo>
                    <a:lnTo>
                      <a:pt x="371" y="10"/>
                    </a:lnTo>
                    <a:lnTo>
                      <a:pt x="373" y="10"/>
                    </a:lnTo>
                    <a:lnTo>
                      <a:pt x="376" y="10"/>
                    </a:lnTo>
                    <a:lnTo>
                      <a:pt x="376" y="12"/>
                    </a:lnTo>
                    <a:lnTo>
                      <a:pt x="373" y="12"/>
                    </a:lnTo>
                    <a:lnTo>
                      <a:pt x="376" y="12"/>
                    </a:lnTo>
                    <a:lnTo>
                      <a:pt x="373" y="14"/>
                    </a:lnTo>
                    <a:lnTo>
                      <a:pt x="373" y="14"/>
                    </a:lnTo>
                    <a:lnTo>
                      <a:pt x="373" y="14"/>
                    </a:lnTo>
                    <a:lnTo>
                      <a:pt x="371" y="14"/>
                    </a:lnTo>
                    <a:lnTo>
                      <a:pt x="371" y="12"/>
                    </a:lnTo>
                    <a:close/>
                    <a:moveTo>
                      <a:pt x="524" y="104"/>
                    </a:moveTo>
                    <a:lnTo>
                      <a:pt x="524" y="104"/>
                    </a:lnTo>
                    <a:lnTo>
                      <a:pt x="527" y="104"/>
                    </a:lnTo>
                    <a:lnTo>
                      <a:pt x="524" y="104"/>
                    </a:lnTo>
                    <a:lnTo>
                      <a:pt x="524" y="104"/>
                    </a:lnTo>
                    <a:close/>
                    <a:moveTo>
                      <a:pt x="522" y="106"/>
                    </a:moveTo>
                    <a:lnTo>
                      <a:pt x="522" y="106"/>
                    </a:lnTo>
                    <a:lnTo>
                      <a:pt x="524" y="109"/>
                    </a:lnTo>
                    <a:lnTo>
                      <a:pt x="524" y="109"/>
                    </a:lnTo>
                    <a:lnTo>
                      <a:pt x="527" y="106"/>
                    </a:lnTo>
                    <a:lnTo>
                      <a:pt x="524" y="106"/>
                    </a:lnTo>
                    <a:lnTo>
                      <a:pt x="524" y="109"/>
                    </a:lnTo>
                    <a:lnTo>
                      <a:pt x="522" y="106"/>
                    </a:lnTo>
                    <a:lnTo>
                      <a:pt x="522" y="106"/>
                    </a:lnTo>
                    <a:close/>
                    <a:moveTo>
                      <a:pt x="506" y="71"/>
                    </a:moveTo>
                    <a:lnTo>
                      <a:pt x="506" y="66"/>
                    </a:lnTo>
                    <a:lnTo>
                      <a:pt x="508" y="66"/>
                    </a:lnTo>
                    <a:lnTo>
                      <a:pt x="508" y="64"/>
                    </a:lnTo>
                    <a:lnTo>
                      <a:pt x="508" y="64"/>
                    </a:lnTo>
                    <a:lnTo>
                      <a:pt x="510" y="66"/>
                    </a:lnTo>
                    <a:lnTo>
                      <a:pt x="510" y="66"/>
                    </a:lnTo>
                    <a:lnTo>
                      <a:pt x="510" y="69"/>
                    </a:lnTo>
                    <a:lnTo>
                      <a:pt x="506" y="71"/>
                    </a:lnTo>
                    <a:lnTo>
                      <a:pt x="506" y="71"/>
                    </a:lnTo>
                    <a:close/>
                    <a:moveTo>
                      <a:pt x="480" y="38"/>
                    </a:moveTo>
                    <a:lnTo>
                      <a:pt x="477" y="40"/>
                    </a:lnTo>
                    <a:lnTo>
                      <a:pt x="480" y="40"/>
                    </a:lnTo>
                    <a:lnTo>
                      <a:pt x="480" y="38"/>
                    </a:lnTo>
                    <a:close/>
                    <a:moveTo>
                      <a:pt x="477" y="40"/>
                    </a:moveTo>
                    <a:lnTo>
                      <a:pt x="475" y="40"/>
                    </a:lnTo>
                    <a:lnTo>
                      <a:pt x="475" y="40"/>
                    </a:lnTo>
                    <a:lnTo>
                      <a:pt x="477" y="40"/>
                    </a:lnTo>
                    <a:lnTo>
                      <a:pt x="480" y="45"/>
                    </a:lnTo>
                    <a:lnTo>
                      <a:pt x="480" y="45"/>
                    </a:lnTo>
                    <a:lnTo>
                      <a:pt x="480" y="45"/>
                    </a:lnTo>
                    <a:lnTo>
                      <a:pt x="477" y="40"/>
                    </a:lnTo>
                    <a:close/>
                    <a:moveTo>
                      <a:pt x="527" y="106"/>
                    </a:moveTo>
                    <a:lnTo>
                      <a:pt x="527" y="104"/>
                    </a:lnTo>
                    <a:lnTo>
                      <a:pt x="527" y="102"/>
                    </a:lnTo>
                    <a:lnTo>
                      <a:pt x="527" y="102"/>
                    </a:lnTo>
                    <a:lnTo>
                      <a:pt x="529" y="102"/>
                    </a:lnTo>
                    <a:lnTo>
                      <a:pt x="529" y="99"/>
                    </a:lnTo>
                    <a:lnTo>
                      <a:pt x="529" y="99"/>
                    </a:lnTo>
                    <a:lnTo>
                      <a:pt x="532" y="99"/>
                    </a:lnTo>
                    <a:lnTo>
                      <a:pt x="529" y="102"/>
                    </a:lnTo>
                    <a:lnTo>
                      <a:pt x="532" y="104"/>
                    </a:lnTo>
                    <a:lnTo>
                      <a:pt x="529" y="104"/>
                    </a:lnTo>
                    <a:lnTo>
                      <a:pt x="532" y="104"/>
                    </a:lnTo>
                    <a:lnTo>
                      <a:pt x="529" y="106"/>
                    </a:lnTo>
                    <a:lnTo>
                      <a:pt x="529" y="106"/>
                    </a:lnTo>
                    <a:lnTo>
                      <a:pt x="527" y="106"/>
                    </a:lnTo>
                    <a:lnTo>
                      <a:pt x="527" y="106"/>
                    </a:lnTo>
                    <a:close/>
                    <a:moveTo>
                      <a:pt x="409" y="26"/>
                    </a:moveTo>
                    <a:lnTo>
                      <a:pt x="406" y="26"/>
                    </a:lnTo>
                    <a:lnTo>
                      <a:pt x="406" y="24"/>
                    </a:lnTo>
                    <a:lnTo>
                      <a:pt x="404" y="24"/>
                    </a:lnTo>
                    <a:lnTo>
                      <a:pt x="402" y="26"/>
                    </a:lnTo>
                    <a:lnTo>
                      <a:pt x="402" y="26"/>
                    </a:lnTo>
                    <a:lnTo>
                      <a:pt x="399" y="26"/>
                    </a:lnTo>
                    <a:lnTo>
                      <a:pt x="402" y="24"/>
                    </a:lnTo>
                    <a:lnTo>
                      <a:pt x="404" y="21"/>
                    </a:lnTo>
                    <a:lnTo>
                      <a:pt x="404" y="21"/>
                    </a:lnTo>
                    <a:lnTo>
                      <a:pt x="404" y="21"/>
                    </a:lnTo>
                    <a:lnTo>
                      <a:pt x="404" y="21"/>
                    </a:lnTo>
                    <a:lnTo>
                      <a:pt x="404" y="19"/>
                    </a:lnTo>
                    <a:lnTo>
                      <a:pt x="404" y="19"/>
                    </a:lnTo>
                    <a:lnTo>
                      <a:pt x="406" y="19"/>
                    </a:lnTo>
                    <a:lnTo>
                      <a:pt x="406" y="21"/>
                    </a:lnTo>
                    <a:lnTo>
                      <a:pt x="409" y="21"/>
                    </a:lnTo>
                    <a:lnTo>
                      <a:pt x="409" y="24"/>
                    </a:lnTo>
                    <a:lnTo>
                      <a:pt x="409" y="24"/>
                    </a:lnTo>
                    <a:lnTo>
                      <a:pt x="409" y="24"/>
                    </a:lnTo>
                    <a:lnTo>
                      <a:pt x="409" y="26"/>
                    </a:lnTo>
                    <a:close/>
                    <a:moveTo>
                      <a:pt x="392" y="29"/>
                    </a:moveTo>
                    <a:lnTo>
                      <a:pt x="387" y="29"/>
                    </a:lnTo>
                    <a:lnTo>
                      <a:pt x="387" y="26"/>
                    </a:lnTo>
                    <a:lnTo>
                      <a:pt x="387" y="26"/>
                    </a:lnTo>
                    <a:lnTo>
                      <a:pt x="387" y="26"/>
                    </a:lnTo>
                    <a:lnTo>
                      <a:pt x="387" y="24"/>
                    </a:lnTo>
                    <a:lnTo>
                      <a:pt x="387" y="24"/>
                    </a:lnTo>
                    <a:lnTo>
                      <a:pt x="387" y="21"/>
                    </a:lnTo>
                    <a:lnTo>
                      <a:pt x="387" y="21"/>
                    </a:lnTo>
                    <a:lnTo>
                      <a:pt x="387" y="24"/>
                    </a:lnTo>
                    <a:lnTo>
                      <a:pt x="390" y="24"/>
                    </a:lnTo>
                    <a:lnTo>
                      <a:pt x="390" y="26"/>
                    </a:lnTo>
                    <a:lnTo>
                      <a:pt x="390" y="24"/>
                    </a:lnTo>
                    <a:lnTo>
                      <a:pt x="387" y="21"/>
                    </a:lnTo>
                    <a:lnTo>
                      <a:pt x="387" y="21"/>
                    </a:lnTo>
                    <a:lnTo>
                      <a:pt x="390" y="19"/>
                    </a:lnTo>
                    <a:lnTo>
                      <a:pt x="392" y="21"/>
                    </a:lnTo>
                    <a:lnTo>
                      <a:pt x="392" y="24"/>
                    </a:lnTo>
                    <a:lnTo>
                      <a:pt x="392" y="26"/>
                    </a:lnTo>
                    <a:lnTo>
                      <a:pt x="392" y="26"/>
                    </a:lnTo>
                    <a:lnTo>
                      <a:pt x="392" y="29"/>
                    </a:lnTo>
                    <a:close/>
                    <a:moveTo>
                      <a:pt x="503" y="64"/>
                    </a:moveTo>
                    <a:lnTo>
                      <a:pt x="503" y="62"/>
                    </a:lnTo>
                    <a:lnTo>
                      <a:pt x="506" y="59"/>
                    </a:lnTo>
                    <a:lnTo>
                      <a:pt x="506" y="57"/>
                    </a:lnTo>
                    <a:lnTo>
                      <a:pt x="501" y="64"/>
                    </a:lnTo>
                    <a:lnTo>
                      <a:pt x="498" y="64"/>
                    </a:lnTo>
                    <a:lnTo>
                      <a:pt x="503" y="64"/>
                    </a:lnTo>
                    <a:close/>
                    <a:moveTo>
                      <a:pt x="487" y="38"/>
                    </a:moveTo>
                    <a:lnTo>
                      <a:pt x="489" y="36"/>
                    </a:lnTo>
                    <a:lnTo>
                      <a:pt x="489" y="36"/>
                    </a:lnTo>
                    <a:lnTo>
                      <a:pt x="487" y="36"/>
                    </a:lnTo>
                    <a:lnTo>
                      <a:pt x="487" y="38"/>
                    </a:lnTo>
                    <a:close/>
                    <a:moveTo>
                      <a:pt x="487" y="36"/>
                    </a:moveTo>
                    <a:lnTo>
                      <a:pt x="487" y="36"/>
                    </a:lnTo>
                    <a:lnTo>
                      <a:pt x="487" y="36"/>
                    </a:lnTo>
                    <a:lnTo>
                      <a:pt x="487" y="36"/>
                    </a:lnTo>
                    <a:close/>
                    <a:moveTo>
                      <a:pt x="487" y="36"/>
                    </a:moveTo>
                    <a:lnTo>
                      <a:pt x="487" y="36"/>
                    </a:lnTo>
                    <a:lnTo>
                      <a:pt x="487" y="36"/>
                    </a:lnTo>
                    <a:lnTo>
                      <a:pt x="487" y="36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5" name="Freeform 26"/>
              <p:cNvSpPr>
                <a:spLocks/>
              </p:cNvSpPr>
              <p:nvPr/>
            </p:nvSpPr>
            <p:spPr bwMode="auto">
              <a:xfrm>
                <a:off x="6472211" y="2672228"/>
                <a:ext cx="534480" cy="316650"/>
              </a:xfrm>
              <a:custGeom>
                <a:avLst/>
                <a:gdLst/>
                <a:ahLst/>
                <a:cxnLst>
                  <a:cxn ang="0">
                    <a:pos x="17" y="102"/>
                  </a:cxn>
                  <a:cxn ang="0">
                    <a:pos x="14" y="83"/>
                  </a:cxn>
                  <a:cxn ang="0">
                    <a:pos x="26" y="54"/>
                  </a:cxn>
                  <a:cxn ang="0">
                    <a:pos x="24" y="45"/>
                  </a:cxn>
                  <a:cxn ang="0">
                    <a:pos x="40" y="50"/>
                  </a:cxn>
                  <a:cxn ang="0">
                    <a:pos x="64" y="59"/>
                  </a:cxn>
                  <a:cxn ang="0">
                    <a:pos x="90" y="54"/>
                  </a:cxn>
                  <a:cxn ang="0">
                    <a:pos x="106" y="50"/>
                  </a:cxn>
                  <a:cxn ang="0">
                    <a:pos x="128" y="36"/>
                  </a:cxn>
                  <a:cxn ang="0">
                    <a:pos x="149" y="19"/>
                  </a:cxn>
                  <a:cxn ang="0">
                    <a:pos x="180" y="7"/>
                  </a:cxn>
                  <a:cxn ang="0">
                    <a:pos x="201" y="17"/>
                  </a:cxn>
                  <a:cxn ang="0">
                    <a:pos x="177" y="38"/>
                  </a:cxn>
                  <a:cxn ang="0">
                    <a:pos x="163" y="69"/>
                  </a:cxn>
                  <a:cxn ang="0">
                    <a:pos x="189" y="95"/>
                  </a:cxn>
                  <a:cxn ang="0">
                    <a:pos x="227" y="95"/>
                  </a:cxn>
                  <a:cxn ang="0">
                    <a:pos x="260" y="125"/>
                  </a:cxn>
                  <a:cxn ang="0">
                    <a:pos x="286" y="95"/>
                  </a:cxn>
                  <a:cxn ang="0">
                    <a:pos x="293" y="69"/>
                  </a:cxn>
                  <a:cxn ang="0">
                    <a:pos x="307" y="36"/>
                  </a:cxn>
                  <a:cxn ang="0">
                    <a:pos x="336" y="52"/>
                  </a:cxn>
                  <a:cxn ang="0">
                    <a:pos x="369" y="59"/>
                  </a:cxn>
                  <a:cxn ang="0">
                    <a:pos x="406" y="59"/>
                  </a:cxn>
                  <a:cxn ang="0">
                    <a:pos x="423" y="59"/>
                  </a:cxn>
                  <a:cxn ang="0">
                    <a:pos x="458" y="69"/>
                  </a:cxn>
                  <a:cxn ang="0">
                    <a:pos x="484" y="85"/>
                  </a:cxn>
                  <a:cxn ang="0">
                    <a:pos x="494" y="114"/>
                  </a:cxn>
                  <a:cxn ang="0">
                    <a:pos x="496" y="130"/>
                  </a:cxn>
                  <a:cxn ang="0">
                    <a:pos x="501" y="144"/>
                  </a:cxn>
                  <a:cxn ang="0">
                    <a:pos x="503" y="189"/>
                  </a:cxn>
                  <a:cxn ang="0">
                    <a:pos x="482" y="199"/>
                  </a:cxn>
                  <a:cxn ang="0">
                    <a:pos x="456" y="177"/>
                  </a:cxn>
                  <a:cxn ang="0">
                    <a:pos x="430" y="184"/>
                  </a:cxn>
                  <a:cxn ang="0">
                    <a:pos x="409" y="203"/>
                  </a:cxn>
                  <a:cxn ang="0">
                    <a:pos x="395" y="220"/>
                  </a:cxn>
                  <a:cxn ang="0">
                    <a:pos x="371" y="225"/>
                  </a:cxn>
                  <a:cxn ang="0">
                    <a:pos x="343" y="229"/>
                  </a:cxn>
                  <a:cxn ang="0">
                    <a:pos x="312" y="234"/>
                  </a:cxn>
                  <a:cxn ang="0">
                    <a:pos x="288" y="248"/>
                  </a:cxn>
                  <a:cxn ang="0">
                    <a:pos x="267" y="269"/>
                  </a:cxn>
                  <a:cxn ang="0">
                    <a:pos x="255" y="284"/>
                  </a:cxn>
                  <a:cxn ang="0">
                    <a:pos x="218" y="293"/>
                  </a:cxn>
                  <a:cxn ang="0">
                    <a:pos x="203" y="265"/>
                  </a:cxn>
                  <a:cxn ang="0">
                    <a:pos x="189" y="255"/>
                  </a:cxn>
                  <a:cxn ang="0">
                    <a:pos x="184" y="246"/>
                  </a:cxn>
                  <a:cxn ang="0">
                    <a:pos x="203" y="232"/>
                  </a:cxn>
                  <a:cxn ang="0">
                    <a:pos x="201" y="206"/>
                  </a:cxn>
                  <a:cxn ang="0">
                    <a:pos x="222" y="187"/>
                  </a:cxn>
                  <a:cxn ang="0">
                    <a:pos x="203" y="170"/>
                  </a:cxn>
                  <a:cxn ang="0">
                    <a:pos x="170" y="175"/>
                  </a:cxn>
                  <a:cxn ang="0">
                    <a:pos x="151" y="191"/>
                  </a:cxn>
                  <a:cxn ang="0">
                    <a:pos x="128" y="208"/>
                  </a:cxn>
                  <a:cxn ang="0">
                    <a:pos x="111" y="217"/>
                  </a:cxn>
                  <a:cxn ang="0">
                    <a:pos x="95" y="227"/>
                  </a:cxn>
                  <a:cxn ang="0">
                    <a:pos x="71" y="234"/>
                  </a:cxn>
                  <a:cxn ang="0">
                    <a:pos x="57" y="222"/>
                  </a:cxn>
                  <a:cxn ang="0">
                    <a:pos x="38" y="222"/>
                  </a:cxn>
                  <a:cxn ang="0">
                    <a:pos x="14" y="217"/>
                  </a:cxn>
                  <a:cxn ang="0">
                    <a:pos x="14" y="199"/>
                  </a:cxn>
                  <a:cxn ang="0">
                    <a:pos x="24" y="180"/>
                  </a:cxn>
                  <a:cxn ang="0">
                    <a:pos x="19" y="156"/>
                  </a:cxn>
                  <a:cxn ang="0">
                    <a:pos x="12" y="137"/>
                  </a:cxn>
                  <a:cxn ang="0">
                    <a:pos x="3" y="121"/>
                  </a:cxn>
                </a:cxnLst>
                <a:rect l="0" t="0" r="r" b="b"/>
                <a:pathLst>
                  <a:path w="503" h="298">
                    <a:moveTo>
                      <a:pt x="0" y="116"/>
                    </a:moveTo>
                    <a:lnTo>
                      <a:pt x="0" y="114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7" y="114"/>
                    </a:lnTo>
                    <a:lnTo>
                      <a:pt x="7" y="111"/>
                    </a:lnTo>
                    <a:lnTo>
                      <a:pt x="10" y="111"/>
                    </a:lnTo>
                    <a:lnTo>
                      <a:pt x="10" y="111"/>
                    </a:lnTo>
                    <a:lnTo>
                      <a:pt x="12" y="109"/>
                    </a:lnTo>
                    <a:lnTo>
                      <a:pt x="12" y="109"/>
                    </a:lnTo>
                    <a:lnTo>
                      <a:pt x="12" y="109"/>
                    </a:lnTo>
                    <a:lnTo>
                      <a:pt x="12" y="106"/>
                    </a:lnTo>
                    <a:lnTo>
                      <a:pt x="12" y="106"/>
                    </a:lnTo>
                    <a:lnTo>
                      <a:pt x="12" y="104"/>
                    </a:lnTo>
                    <a:lnTo>
                      <a:pt x="14" y="104"/>
                    </a:lnTo>
                    <a:lnTo>
                      <a:pt x="14" y="102"/>
                    </a:lnTo>
                    <a:lnTo>
                      <a:pt x="17" y="102"/>
                    </a:lnTo>
                    <a:lnTo>
                      <a:pt x="17" y="102"/>
                    </a:lnTo>
                    <a:lnTo>
                      <a:pt x="14" y="99"/>
                    </a:lnTo>
                    <a:lnTo>
                      <a:pt x="17" y="99"/>
                    </a:lnTo>
                    <a:lnTo>
                      <a:pt x="19" y="102"/>
                    </a:lnTo>
                    <a:lnTo>
                      <a:pt x="19" y="99"/>
                    </a:lnTo>
                    <a:lnTo>
                      <a:pt x="17" y="99"/>
                    </a:lnTo>
                    <a:lnTo>
                      <a:pt x="17" y="97"/>
                    </a:lnTo>
                    <a:lnTo>
                      <a:pt x="14" y="97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2" y="85"/>
                    </a:lnTo>
                    <a:lnTo>
                      <a:pt x="14" y="85"/>
                    </a:lnTo>
                    <a:lnTo>
                      <a:pt x="12" y="85"/>
                    </a:lnTo>
                    <a:lnTo>
                      <a:pt x="14" y="85"/>
                    </a:lnTo>
                    <a:lnTo>
                      <a:pt x="14" y="83"/>
                    </a:lnTo>
                    <a:lnTo>
                      <a:pt x="14" y="83"/>
                    </a:lnTo>
                    <a:lnTo>
                      <a:pt x="14" y="8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7" y="76"/>
                    </a:lnTo>
                    <a:lnTo>
                      <a:pt x="17" y="73"/>
                    </a:lnTo>
                    <a:lnTo>
                      <a:pt x="14" y="73"/>
                    </a:lnTo>
                    <a:lnTo>
                      <a:pt x="17" y="71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19" y="69"/>
                    </a:lnTo>
                    <a:lnTo>
                      <a:pt x="19" y="66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21" y="62"/>
                    </a:lnTo>
                    <a:lnTo>
                      <a:pt x="24" y="59"/>
                    </a:lnTo>
                    <a:lnTo>
                      <a:pt x="24" y="57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47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6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0"/>
                    </a:lnTo>
                    <a:lnTo>
                      <a:pt x="29" y="40"/>
                    </a:lnTo>
                    <a:lnTo>
                      <a:pt x="31" y="43"/>
                    </a:lnTo>
                    <a:lnTo>
                      <a:pt x="31" y="43"/>
                    </a:lnTo>
                    <a:lnTo>
                      <a:pt x="33" y="43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3"/>
                    </a:lnTo>
                    <a:lnTo>
                      <a:pt x="36" y="45"/>
                    </a:lnTo>
                    <a:lnTo>
                      <a:pt x="36" y="47"/>
                    </a:lnTo>
                    <a:lnTo>
                      <a:pt x="36" y="50"/>
                    </a:lnTo>
                    <a:lnTo>
                      <a:pt x="38" y="47"/>
                    </a:lnTo>
                    <a:lnTo>
                      <a:pt x="40" y="47"/>
                    </a:lnTo>
                    <a:lnTo>
                      <a:pt x="40" y="50"/>
                    </a:lnTo>
                    <a:lnTo>
                      <a:pt x="43" y="50"/>
                    </a:lnTo>
                    <a:lnTo>
                      <a:pt x="45" y="50"/>
                    </a:lnTo>
                    <a:lnTo>
                      <a:pt x="47" y="50"/>
                    </a:lnTo>
                    <a:lnTo>
                      <a:pt x="47" y="50"/>
                    </a:lnTo>
                    <a:lnTo>
                      <a:pt x="47" y="52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2" y="57"/>
                    </a:lnTo>
                    <a:lnTo>
                      <a:pt x="52" y="57"/>
                    </a:lnTo>
                    <a:lnTo>
                      <a:pt x="55" y="57"/>
                    </a:lnTo>
                    <a:lnTo>
                      <a:pt x="55" y="57"/>
                    </a:lnTo>
                    <a:lnTo>
                      <a:pt x="55" y="57"/>
                    </a:lnTo>
                    <a:lnTo>
                      <a:pt x="57" y="59"/>
                    </a:lnTo>
                    <a:lnTo>
                      <a:pt x="57" y="59"/>
                    </a:lnTo>
                    <a:lnTo>
                      <a:pt x="59" y="59"/>
                    </a:lnTo>
                    <a:lnTo>
                      <a:pt x="59" y="64"/>
                    </a:lnTo>
                    <a:lnTo>
                      <a:pt x="64" y="59"/>
                    </a:lnTo>
                    <a:lnTo>
                      <a:pt x="66" y="59"/>
                    </a:lnTo>
                    <a:lnTo>
                      <a:pt x="66" y="59"/>
                    </a:lnTo>
                    <a:lnTo>
                      <a:pt x="69" y="59"/>
                    </a:lnTo>
                    <a:lnTo>
                      <a:pt x="71" y="59"/>
                    </a:lnTo>
                    <a:lnTo>
                      <a:pt x="73" y="62"/>
                    </a:lnTo>
                    <a:lnTo>
                      <a:pt x="76" y="62"/>
                    </a:lnTo>
                    <a:lnTo>
                      <a:pt x="78" y="62"/>
                    </a:lnTo>
                    <a:lnTo>
                      <a:pt x="80" y="64"/>
                    </a:lnTo>
                    <a:lnTo>
                      <a:pt x="83" y="64"/>
                    </a:lnTo>
                    <a:lnTo>
                      <a:pt x="83" y="64"/>
                    </a:lnTo>
                    <a:lnTo>
                      <a:pt x="85" y="64"/>
                    </a:lnTo>
                    <a:lnTo>
                      <a:pt x="85" y="62"/>
                    </a:lnTo>
                    <a:lnTo>
                      <a:pt x="88" y="59"/>
                    </a:lnTo>
                    <a:lnTo>
                      <a:pt x="88" y="57"/>
                    </a:lnTo>
                    <a:lnTo>
                      <a:pt x="88" y="57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54"/>
                    </a:lnTo>
                    <a:lnTo>
                      <a:pt x="92" y="54"/>
                    </a:lnTo>
                    <a:lnTo>
                      <a:pt x="92" y="57"/>
                    </a:lnTo>
                    <a:lnTo>
                      <a:pt x="92" y="57"/>
                    </a:lnTo>
                    <a:lnTo>
                      <a:pt x="92" y="59"/>
                    </a:lnTo>
                    <a:lnTo>
                      <a:pt x="92" y="59"/>
                    </a:lnTo>
                    <a:lnTo>
                      <a:pt x="95" y="59"/>
                    </a:lnTo>
                    <a:lnTo>
                      <a:pt x="95" y="57"/>
                    </a:lnTo>
                    <a:lnTo>
                      <a:pt x="95" y="57"/>
                    </a:lnTo>
                    <a:lnTo>
                      <a:pt x="95" y="54"/>
                    </a:lnTo>
                    <a:lnTo>
                      <a:pt x="97" y="54"/>
                    </a:lnTo>
                    <a:lnTo>
                      <a:pt x="95" y="52"/>
                    </a:lnTo>
                    <a:lnTo>
                      <a:pt x="99" y="52"/>
                    </a:lnTo>
                    <a:lnTo>
                      <a:pt x="102" y="52"/>
                    </a:lnTo>
                    <a:lnTo>
                      <a:pt x="102" y="50"/>
                    </a:lnTo>
                    <a:lnTo>
                      <a:pt x="102" y="50"/>
                    </a:lnTo>
                    <a:lnTo>
                      <a:pt x="102" y="50"/>
                    </a:lnTo>
                    <a:lnTo>
                      <a:pt x="104" y="52"/>
                    </a:lnTo>
                    <a:lnTo>
                      <a:pt x="106" y="52"/>
                    </a:lnTo>
                    <a:lnTo>
                      <a:pt x="106" y="50"/>
                    </a:lnTo>
                    <a:lnTo>
                      <a:pt x="109" y="50"/>
                    </a:lnTo>
                    <a:lnTo>
                      <a:pt x="111" y="50"/>
                    </a:lnTo>
                    <a:lnTo>
                      <a:pt x="111" y="47"/>
                    </a:lnTo>
                    <a:lnTo>
                      <a:pt x="111" y="47"/>
                    </a:lnTo>
                    <a:lnTo>
                      <a:pt x="111" y="45"/>
                    </a:lnTo>
                    <a:lnTo>
                      <a:pt x="114" y="45"/>
                    </a:lnTo>
                    <a:lnTo>
                      <a:pt x="116" y="45"/>
                    </a:lnTo>
                    <a:lnTo>
                      <a:pt x="116" y="45"/>
                    </a:lnTo>
                    <a:lnTo>
                      <a:pt x="116" y="43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8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1" y="36"/>
                    </a:lnTo>
                    <a:lnTo>
                      <a:pt x="123" y="36"/>
                    </a:lnTo>
                    <a:lnTo>
                      <a:pt x="125" y="36"/>
                    </a:lnTo>
                    <a:lnTo>
                      <a:pt x="128" y="36"/>
                    </a:lnTo>
                    <a:lnTo>
                      <a:pt x="128" y="36"/>
                    </a:lnTo>
                    <a:lnTo>
                      <a:pt x="128" y="33"/>
                    </a:lnTo>
                    <a:lnTo>
                      <a:pt x="128" y="31"/>
                    </a:lnTo>
                    <a:lnTo>
                      <a:pt x="128" y="31"/>
                    </a:lnTo>
                    <a:lnTo>
                      <a:pt x="125" y="28"/>
                    </a:lnTo>
                    <a:lnTo>
                      <a:pt x="128" y="28"/>
                    </a:lnTo>
                    <a:lnTo>
                      <a:pt x="125" y="26"/>
                    </a:lnTo>
                    <a:lnTo>
                      <a:pt x="128" y="26"/>
                    </a:lnTo>
                    <a:lnTo>
                      <a:pt x="128" y="26"/>
                    </a:lnTo>
                    <a:lnTo>
                      <a:pt x="128" y="24"/>
                    </a:lnTo>
                    <a:lnTo>
                      <a:pt x="130" y="21"/>
                    </a:lnTo>
                    <a:lnTo>
                      <a:pt x="132" y="19"/>
                    </a:lnTo>
                    <a:lnTo>
                      <a:pt x="135" y="19"/>
                    </a:lnTo>
                    <a:lnTo>
                      <a:pt x="135" y="21"/>
                    </a:lnTo>
                    <a:lnTo>
                      <a:pt x="137" y="21"/>
                    </a:lnTo>
                    <a:lnTo>
                      <a:pt x="142" y="21"/>
                    </a:lnTo>
                    <a:lnTo>
                      <a:pt x="142" y="19"/>
                    </a:lnTo>
                    <a:lnTo>
                      <a:pt x="147" y="19"/>
                    </a:lnTo>
                    <a:lnTo>
                      <a:pt x="149" y="19"/>
                    </a:lnTo>
                    <a:lnTo>
                      <a:pt x="149" y="19"/>
                    </a:lnTo>
                    <a:lnTo>
                      <a:pt x="151" y="17"/>
                    </a:lnTo>
                    <a:lnTo>
                      <a:pt x="154" y="19"/>
                    </a:lnTo>
                    <a:lnTo>
                      <a:pt x="156" y="19"/>
                    </a:lnTo>
                    <a:lnTo>
                      <a:pt x="156" y="17"/>
                    </a:lnTo>
                    <a:lnTo>
                      <a:pt x="158" y="17"/>
                    </a:lnTo>
                    <a:lnTo>
                      <a:pt x="161" y="17"/>
                    </a:lnTo>
                    <a:lnTo>
                      <a:pt x="161" y="17"/>
                    </a:lnTo>
                    <a:lnTo>
                      <a:pt x="161" y="17"/>
                    </a:lnTo>
                    <a:lnTo>
                      <a:pt x="163" y="17"/>
                    </a:lnTo>
                    <a:lnTo>
                      <a:pt x="166" y="17"/>
                    </a:lnTo>
                    <a:lnTo>
                      <a:pt x="166" y="12"/>
                    </a:lnTo>
                    <a:lnTo>
                      <a:pt x="168" y="12"/>
                    </a:lnTo>
                    <a:lnTo>
                      <a:pt x="170" y="12"/>
                    </a:lnTo>
                    <a:lnTo>
                      <a:pt x="173" y="12"/>
                    </a:lnTo>
                    <a:lnTo>
                      <a:pt x="175" y="12"/>
                    </a:lnTo>
                    <a:lnTo>
                      <a:pt x="175" y="7"/>
                    </a:lnTo>
                    <a:lnTo>
                      <a:pt x="177" y="7"/>
                    </a:lnTo>
                    <a:lnTo>
                      <a:pt x="180" y="7"/>
                    </a:lnTo>
                    <a:lnTo>
                      <a:pt x="182" y="5"/>
                    </a:lnTo>
                    <a:lnTo>
                      <a:pt x="184" y="5"/>
                    </a:lnTo>
                    <a:lnTo>
                      <a:pt x="187" y="3"/>
                    </a:lnTo>
                    <a:lnTo>
                      <a:pt x="187" y="5"/>
                    </a:lnTo>
                    <a:lnTo>
                      <a:pt x="189" y="5"/>
                    </a:lnTo>
                    <a:lnTo>
                      <a:pt x="189" y="3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6" y="3"/>
                    </a:lnTo>
                    <a:lnTo>
                      <a:pt x="199" y="3"/>
                    </a:lnTo>
                    <a:lnTo>
                      <a:pt x="199" y="3"/>
                    </a:lnTo>
                    <a:lnTo>
                      <a:pt x="203" y="3"/>
                    </a:lnTo>
                    <a:lnTo>
                      <a:pt x="201" y="3"/>
                    </a:lnTo>
                    <a:lnTo>
                      <a:pt x="203" y="7"/>
                    </a:lnTo>
                    <a:lnTo>
                      <a:pt x="203" y="10"/>
                    </a:lnTo>
                    <a:lnTo>
                      <a:pt x="203" y="12"/>
                    </a:lnTo>
                    <a:lnTo>
                      <a:pt x="201" y="17"/>
                    </a:lnTo>
                    <a:lnTo>
                      <a:pt x="203" y="17"/>
                    </a:lnTo>
                    <a:lnTo>
                      <a:pt x="203" y="17"/>
                    </a:lnTo>
                    <a:lnTo>
                      <a:pt x="203" y="19"/>
                    </a:lnTo>
                    <a:lnTo>
                      <a:pt x="203" y="19"/>
                    </a:lnTo>
                    <a:lnTo>
                      <a:pt x="199" y="21"/>
                    </a:lnTo>
                    <a:lnTo>
                      <a:pt x="199" y="21"/>
                    </a:lnTo>
                    <a:lnTo>
                      <a:pt x="199" y="24"/>
                    </a:lnTo>
                    <a:lnTo>
                      <a:pt x="196" y="24"/>
                    </a:lnTo>
                    <a:lnTo>
                      <a:pt x="194" y="26"/>
                    </a:lnTo>
                    <a:lnTo>
                      <a:pt x="194" y="26"/>
                    </a:lnTo>
                    <a:lnTo>
                      <a:pt x="192" y="26"/>
                    </a:lnTo>
                    <a:lnTo>
                      <a:pt x="189" y="28"/>
                    </a:lnTo>
                    <a:lnTo>
                      <a:pt x="189" y="33"/>
                    </a:lnTo>
                    <a:lnTo>
                      <a:pt x="187" y="33"/>
                    </a:lnTo>
                    <a:lnTo>
                      <a:pt x="184" y="33"/>
                    </a:lnTo>
                    <a:lnTo>
                      <a:pt x="184" y="33"/>
                    </a:lnTo>
                    <a:lnTo>
                      <a:pt x="182" y="36"/>
                    </a:lnTo>
                    <a:lnTo>
                      <a:pt x="182" y="38"/>
                    </a:lnTo>
                    <a:lnTo>
                      <a:pt x="177" y="38"/>
                    </a:lnTo>
                    <a:lnTo>
                      <a:pt x="177" y="38"/>
                    </a:lnTo>
                    <a:lnTo>
                      <a:pt x="177" y="40"/>
                    </a:lnTo>
                    <a:lnTo>
                      <a:pt x="177" y="45"/>
                    </a:lnTo>
                    <a:lnTo>
                      <a:pt x="175" y="47"/>
                    </a:lnTo>
                    <a:lnTo>
                      <a:pt x="175" y="47"/>
                    </a:lnTo>
                    <a:lnTo>
                      <a:pt x="175" y="47"/>
                    </a:lnTo>
                    <a:lnTo>
                      <a:pt x="175" y="50"/>
                    </a:lnTo>
                    <a:lnTo>
                      <a:pt x="175" y="50"/>
                    </a:lnTo>
                    <a:lnTo>
                      <a:pt x="175" y="52"/>
                    </a:lnTo>
                    <a:lnTo>
                      <a:pt x="175" y="54"/>
                    </a:lnTo>
                    <a:lnTo>
                      <a:pt x="175" y="57"/>
                    </a:lnTo>
                    <a:lnTo>
                      <a:pt x="175" y="64"/>
                    </a:lnTo>
                    <a:lnTo>
                      <a:pt x="170" y="66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66" y="66"/>
                    </a:lnTo>
                    <a:lnTo>
                      <a:pt x="166" y="66"/>
                    </a:lnTo>
                    <a:lnTo>
                      <a:pt x="163" y="69"/>
                    </a:lnTo>
                    <a:lnTo>
                      <a:pt x="163" y="69"/>
                    </a:lnTo>
                    <a:lnTo>
                      <a:pt x="163" y="71"/>
                    </a:lnTo>
                    <a:lnTo>
                      <a:pt x="163" y="73"/>
                    </a:lnTo>
                    <a:lnTo>
                      <a:pt x="163" y="76"/>
                    </a:lnTo>
                    <a:lnTo>
                      <a:pt x="163" y="76"/>
                    </a:lnTo>
                    <a:lnTo>
                      <a:pt x="163" y="78"/>
                    </a:lnTo>
                    <a:lnTo>
                      <a:pt x="163" y="80"/>
                    </a:lnTo>
                    <a:lnTo>
                      <a:pt x="166" y="83"/>
                    </a:lnTo>
                    <a:lnTo>
                      <a:pt x="163" y="85"/>
                    </a:lnTo>
                    <a:lnTo>
                      <a:pt x="166" y="85"/>
                    </a:lnTo>
                    <a:lnTo>
                      <a:pt x="163" y="90"/>
                    </a:lnTo>
                    <a:lnTo>
                      <a:pt x="173" y="88"/>
                    </a:lnTo>
                    <a:lnTo>
                      <a:pt x="175" y="88"/>
                    </a:lnTo>
                    <a:lnTo>
                      <a:pt x="180" y="88"/>
                    </a:lnTo>
                    <a:lnTo>
                      <a:pt x="184" y="88"/>
                    </a:lnTo>
                    <a:lnTo>
                      <a:pt x="187" y="88"/>
                    </a:lnTo>
                    <a:lnTo>
                      <a:pt x="187" y="90"/>
                    </a:lnTo>
                    <a:lnTo>
                      <a:pt x="189" y="92"/>
                    </a:lnTo>
                    <a:lnTo>
                      <a:pt x="189" y="92"/>
                    </a:lnTo>
                    <a:lnTo>
                      <a:pt x="189" y="95"/>
                    </a:lnTo>
                    <a:lnTo>
                      <a:pt x="189" y="97"/>
                    </a:lnTo>
                    <a:lnTo>
                      <a:pt x="192" y="99"/>
                    </a:lnTo>
                    <a:lnTo>
                      <a:pt x="192" y="99"/>
                    </a:lnTo>
                    <a:lnTo>
                      <a:pt x="192" y="102"/>
                    </a:lnTo>
                    <a:lnTo>
                      <a:pt x="192" y="102"/>
                    </a:lnTo>
                    <a:lnTo>
                      <a:pt x="194" y="104"/>
                    </a:lnTo>
                    <a:lnTo>
                      <a:pt x="199" y="104"/>
                    </a:lnTo>
                    <a:lnTo>
                      <a:pt x="206" y="102"/>
                    </a:lnTo>
                    <a:lnTo>
                      <a:pt x="208" y="97"/>
                    </a:lnTo>
                    <a:lnTo>
                      <a:pt x="208" y="97"/>
                    </a:lnTo>
                    <a:lnTo>
                      <a:pt x="215" y="95"/>
                    </a:lnTo>
                    <a:lnTo>
                      <a:pt x="215" y="95"/>
                    </a:lnTo>
                    <a:lnTo>
                      <a:pt x="220" y="95"/>
                    </a:lnTo>
                    <a:lnTo>
                      <a:pt x="220" y="92"/>
                    </a:lnTo>
                    <a:lnTo>
                      <a:pt x="225" y="90"/>
                    </a:lnTo>
                    <a:lnTo>
                      <a:pt x="225" y="90"/>
                    </a:lnTo>
                    <a:lnTo>
                      <a:pt x="227" y="92"/>
                    </a:lnTo>
                    <a:lnTo>
                      <a:pt x="227" y="95"/>
                    </a:lnTo>
                    <a:lnTo>
                      <a:pt x="227" y="95"/>
                    </a:lnTo>
                    <a:lnTo>
                      <a:pt x="229" y="97"/>
                    </a:lnTo>
                    <a:lnTo>
                      <a:pt x="229" y="99"/>
                    </a:lnTo>
                    <a:lnTo>
                      <a:pt x="229" y="99"/>
                    </a:lnTo>
                    <a:lnTo>
                      <a:pt x="229" y="99"/>
                    </a:lnTo>
                    <a:lnTo>
                      <a:pt x="229" y="99"/>
                    </a:lnTo>
                    <a:lnTo>
                      <a:pt x="232" y="97"/>
                    </a:lnTo>
                    <a:lnTo>
                      <a:pt x="234" y="95"/>
                    </a:lnTo>
                    <a:lnTo>
                      <a:pt x="236" y="95"/>
                    </a:lnTo>
                    <a:lnTo>
                      <a:pt x="241" y="95"/>
                    </a:lnTo>
                    <a:lnTo>
                      <a:pt x="243" y="92"/>
                    </a:lnTo>
                    <a:lnTo>
                      <a:pt x="253" y="99"/>
                    </a:lnTo>
                    <a:lnTo>
                      <a:pt x="253" y="106"/>
                    </a:lnTo>
                    <a:lnTo>
                      <a:pt x="258" y="106"/>
                    </a:lnTo>
                    <a:lnTo>
                      <a:pt x="258" y="111"/>
                    </a:lnTo>
                    <a:lnTo>
                      <a:pt x="255" y="114"/>
                    </a:lnTo>
                    <a:lnTo>
                      <a:pt x="255" y="116"/>
                    </a:lnTo>
                    <a:lnTo>
                      <a:pt x="253" y="118"/>
                    </a:lnTo>
                    <a:lnTo>
                      <a:pt x="258" y="123"/>
                    </a:lnTo>
                    <a:lnTo>
                      <a:pt x="260" y="125"/>
                    </a:lnTo>
                    <a:lnTo>
                      <a:pt x="260" y="125"/>
                    </a:lnTo>
                    <a:lnTo>
                      <a:pt x="262" y="118"/>
                    </a:lnTo>
                    <a:lnTo>
                      <a:pt x="267" y="118"/>
                    </a:lnTo>
                    <a:lnTo>
                      <a:pt x="269" y="118"/>
                    </a:lnTo>
                    <a:lnTo>
                      <a:pt x="272" y="118"/>
                    </a:lnTo>
                    <a:lnTo>
                      <a:pt x="274" y="118"/>
                    </a:lnTo>
                    <a:lnTo>
                      <a:pt x="279" y="111"/>
                    </a:lnTo>
                    <a:lnTo>
                      <a:pt x="279" y="111"/>
                    </a:lnTo>
                    <a:lnTo>
                      <a:pt x="279" y="109"/>
                    </a:lnTo>
                    <a:lnTo>
                      <a:pt x="279" y="109"/>
                    </a:lnTo>
                    <a:lnTo>
                      <a:pt x="279" y="106"/>
                    </a:lnTo>
                    <a:lnTo>
                      <a:pt x="281" y="106"/>
                    </a:lnTo>
                    <a:lnTo>
                      <a:pt x="284" y="104"/>
                    </a:lnTo>
                    <a:lnTo>
                      <a:pt x="286" y="104"/>
                    </a:lnTo>
                    <a:lnTo>
                      <a:pt x="286" y="104"/>
                    </a:lnTo>
                    <a:lnTo>
                      <a:pt x="288" y="99"/>
                    </a:lnTo>
                    <a:lnTo>
                      <a:pt x="286" y="95"/>
                    </a:lnTo>
                    <a:lnTo>
                      <a:pt x="286" y="95"/>
                    </a:lnTo>
                    <a:lnTo>
                      <a:pt x="286" y="95"/>
                    </a:lnTo>
                    <a:lnTo>
                      <a:pt x="284" y="95"/>
                    </a:lnTo>
                    <a:lnTo>
                      <a:pt x="284" y="92"/>
                    </a:lnTo>
                    <a:lnTo>
                      <a:pt x="284" y="92"/>
                    </a:lnTo>
                    <a:lnTo>
                      <a:pt x="281" y="92"/>
                    </a:lnTo>
                    <a:lnTo>
                      <a:pt x="279" y="90"/>
                    </a:lnTo>
                    <a:lnTo>
                      <a:pt x="281" y="88"/>
                    </a:lnTo>
                    <a:lnTo>
                      <a:pt x="281" y="83"/>
                    </a:lnTo>
                    <a:lnTo>
                      <a:pt x="286" y="76"/>
                    </a:lnTo>
                    <a:lnTo>
                      <a:pt x="284" y="76"/>
                    </a:lnTo>
                    <a:lnTo>
                      <a:pt x="286" y="73"/>
                    </a:lnTo>
                    <a:lnTo>
                      <a:pt x="286" y="76"/>
                    </a:lnTo>
                    <a:lnTo>
                      <a:pt x="291" y="76"/>
                    </a:lnTo>
                    <a:lnTo>
                      <a:pt x="293" y="78"/>
                    </a:lnTo>
                    <a:lnTo>
                      <a:pt x="293" y="78"/>
                    </a:lnTo>
                    <a:lnTo>
                      <a:pt x="295" y="78"/>
                    </a:lnTo>
                    <a:lnTo>
                      <a:pt x="295" y="78"/>
                    </a:lnTo>
                    <a:lnTo>
                      <a:pt x="295" y="76"/>
                    </a:lnTo>
                    <a:lnTo>
                      <a:pt x="295" y="69"/>
                    </a:lnTo>
                    <a:lnTo>
                      <a:pt x="293" y="69"/>
                    </a:lnTo>
                    <a:lnTo>
                      <a:pt x="293" y="69"/>
                    </a:lnTo>
                    <a:lnTo>
                      <a:pt x="291" y="69"/>
                    </a:lnTo>
                    <a:lnTo>
                      <a:pt x="291" y="66"/>
                    </a:lnTo>
                    <a:lnTo>
                      <a:pt x="288" y="64"/>
                    </a:lnTo>
                    <a:lnTo>
                      <a:pt x="288" y="64"/>
                    </a:lnTo>
                    <a:lnTo>
                      <a:pt x="286" y="62"/>
                    </a:lnTo>
                    <a:lnTo>
                      <a:pt x="284" y="62"/>
                    </a:lnTo>
                    <a:lnTo>
                      <a:pt x="284" y="59"/>
                    </a:lnTo>
                    <a:lnTo>
                      <a:pt x="284" y="57"/>
                    </a:lnTo>
                    <a:lnTo>
                      <a:pt x="284" y="54"/>
                    </a:lnTo>
                    <a:lnTo>
                      <a:pt x="284" y="54"/>
                    </a:lnTo>
                    <a:lnTo>
                      <a:pt x="286" y="50"/>
                    </a:lnTo>
                    <a:lnTo>
                      <a:pt x="286" y="47"/>
                    </a:lnTo>
                    <a:lnTo>
                      <a:pt x="288" y="43"/>
                    </a:lnTo>
                    <a:lnTo>
                      <a:pt x="293" y="45"/>
                    </a:lnTo>
                    <a:lnTo>
                      <a:pt x="295" y="45"/>
                    </a:lnTo>
                    <a:lnTo>
                      <a:pt x="300" y="36"/>
                    </a:lnTo>
                    <a:lnTo>
                      <a:pt x="305" y="38"/>
                    </a:lnTo>
                    <a:lnTo>
                      <a:pt x="307" y="36"/>
                    </a:lnTo>
                    <a:lnTo>
                      <a:pt x="312" y="33"/>
                    </a:lnTo>
                    <a:lnTo>
                      <a:pt x="314" y="36"/>
                    </a:lnTo>
                    <a:lnTo>
                      <a:pt x="314" y="38"/>
                    </a:lnTo>
                    <a:lnTo>
                      <a:pt x="314" y="38"/>
                    </a:lnTo>
                    <a:lnTo>
                      <a:pt x="314" y="43"/>
                    </a:lnTo>
                    <a:lnTo>
                      <a:pt x="314" y="45"/>
                    </a:lnTo>
                    <a:lnTo>
                      <a:pt x="314" y="45"/>
                    </a:lnTo>
                    <a:lnTo>
                      <a:pt x="314" y="47"/>
                    </a:lnTo>
                    <a:lnTo>
                      <a:pt x="314" y="47"/>
                    </a:lnTo>
                    <a:lnTo>
                      <a:pt x="314" y="47"/>
                    </a:lnTo>
                    <a:lnTo>
                      <a:pt x="317" y="50"/>
                    </a:lnTo>
                    <a:lnTo>
                      <a:pt x="319" y="50"/>
                    </a:lnTo>
                    <a:lnTo>
                      <a:pt x="319" y="54"/>
                    </a:lnTo>
                    <a:lnTo>
                      <a:pt x="324" y="54"/>
                    </a:lnTo>
                    <a:lnTo>
                      <a:pt x="324" y="54"/>
                    </a:lnTo>
                    <a:lnTo>
                      <a:pt x="329" y="54"/>
                    </a:lnTo>
                    <a:lnTo>
                      <a:pt x="333" y="52"/>
                    </a:lnTo>
                    <a:lnTo>
                      <a:pt x="333" y="52"/>
                    </a:lnTo>
                    <a:lnTo>
                      <a:pt x="336" y="52"/>
                    </a:lnTo>
                    <a:lnTo>
                      <a:pt x="336" y="52"/>
                    </a:lnTo>
                    <a:lnTo>
                      <a:pt x="338" y="52"/>
                    </a:lnTo>
                    <a:lnTo>
                      <a:pt x="338" y="52"/>
                    </a:lnTo>
                    <a:lnTo>
                      <a:pt x="340" y="50"/>
                    </a:lnTo>
                    <a:lnTo>
                      <a:pt x="340" y="50"/>
                    </a:lnTo>
                    <a:lnTo>
                      <a:pt x="343" y="50"/>
                    </a:lnTo>
                    <a:lnTo>
                      <a:pt x="343" y="50"/>
                    </a:lnTo>
                    <a:lnTo>
                      <a:pt x="343" y="50"/>
                    </a:lnTo>
                    <a:lnTo>
                      <a:pt x="343" y="50"/>
                    </a:lnTo>
                    <a:lnTo>
                      <a:pt x="345" y="54"/>
                    </a:lnTo>
                    <a:lnTo>
                      <a:pt x="345" y="54"/>
                    </a:lnTo>
                    <a:lnTo>
                      <a:pt x="350" y="57"/>
                    </a:lnTo>
                    <a:lnTo>
                      <a:pt x="350" y="57"/>
                    </a:lnTo>
                    <a:lnTo>
                      <a:pt x="350" y="59"/>
                    </a:lnTo>
                    <a:lnTo>
                      <a:pt x="350" y="59"/>
                    </a:lnTo>
                    <a:lnTo>
                      <a:pt x="355" y="59"/>
                    </a:lnTo>
                    <a:lnTo>
                      <a:pt x="355" y="59"/>
                    </a:lnTo>
                    <a:lnTo>
                      <a:pt x="359" y="62"/>
                    </a:lnTo>
                    <a:lnTo>
                      <a:pt x="369" y="59"/>
                    </a:lnTo>
                    <a:lnTo>
                      <a:pt x="378" y="59"/>
                    </a:lnTo>
                    <a:lnTo>
                      <a:pt x="381" y="59"/>
                    </a:lnTo>
                    <a:lnTo>
                      <a:pt x="385" y="59"/>
                    </a:lnTo>
                    <a:lnTo>
                      <a:pt x="388" y="59"/>
                    </a:lnTo>
                    <a:lnTo>
                      <a:pt x="388" y="59"/>
                    </a:lnTo>
                    <a:lnTo>
                      <a:pt x="388" y="57"/>
                    </a:lnTo>
                    <a:lnTo>
                      <a:pt x="390" y="54"/>
                    </a:lnTo>
                    <a:lnTo>
                      <a:pt x="392" y="57"/>
                    </a:lnTo>
                    <a:lnTo>
                      <a:pt x="395" y="57"/>
                    </a:lnTo>
                    <a:lnTo>
                      <a:pt x="395" y="54"/>
                    </a:lnTo>
                    <a:lnTo>
                      <a:pt x="395" y="54"/>
                    </a:lnTo>
                    <a:lnTo>
                      <a:pt x="397" y="57"/>
                    </a:lnTo>
                    <a:lnTo>
                      <a:pt x="399" y="57"/>
                    </a:lnTo>
                    <a:lnTo>
                      <a:pt x="399" y="57"/>
                    </a:lnTo>
                    <a:lnTo>
                      <a:pt x="402" y="57"/>
                    </a:lnTo>
                    <a:lnTo>
                      <a:pt x="404" y="59"/>
                    </a:lnTo>
                    <a:lnTo>
                      <a:pt x="404" y="59"/>
                    </a:lnTo>
                    <a:lnTo>
                      <a:pt x="404" y="59"/>
                    </a:lnTo>
                    <a:lnTo>
                      <a:pt x="406" y="59"/>
                    </a:lnTo>
                    <a:lnTo>
                      <a:pt x="406" y="62"/>
                    </a:lnTo>
                    <a:lnTo>
                      <a:pt x="406" y="62"/>
                    </a:lnTo>
                    <a:lnTo>
                      <a:pt x="409" y="59"/>
                    </a:lnTo>
                    <a:lnTo>
                      <a:pt x="409" y="59"/>
                    </a:lnTo>
                    <a:lnTo>
                      <a:pt x="409" y="59"/>
                    </a:lnTo>
                    <a:lnTo>
                      <a:pt x="411" y="59"/>
                    </a:lnTo>
                    <a:lnTo>
                      <a:pt x="411" y="59"/>
                    </a:lnTo>
                    <a:lnTo>
                      <a:pt x="411" y="59"/>
                    </a:lnTo>
                    <a:lnTo>
                      <a:pt x="414" y="59"/>
                    </a:lnTo>
                    <a:lnTo>
                      <a:pt x="414" y="59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18" y="59"/>
                    </a:lnTo>
                    <a:lnTo>
                      <a:pt x="418" y="59"/>
                    </a:lnTo>
                    <a:lnTo>
                      <a:pt x="418" y="59"/>
                    </a:lnTo>
                    <a:lnTo>
                      <a:pt x="421" y="59"/>
                    </a:lnTo>
                    <a:lnTo>
                      <a:pt x="423" y="59"/>
                    </a:lnTo>
                    <a:lnTo>
                      <a:pt x="423" y="59"/>
                    </a:lnTo>
                    <a:lnTo>
                      <a:pt x="423" y="59"/>
                    </a:lnTo>
                    <a:lnTo>
                      <a:pt x="425" y="62"/>
                    </a:lnTo>
                    <a:lnTo>
                      <a:pt x="428" y="62"/>
                    </a:lnTo>
                    <a:lnTo>
                      <a:pt x="430" y="64"/>
                    </a:lnTo>
                    <a:lnTo>
                      <a:pt x="432" y="64"/>
                    </a:lnTo>
                    <a:lnTo>
                      <a:pt x="435" y="66"/>
                    </a:lnTo>
                    <a:lnTo>
                      <a:pt x="435" y="69"/>
                    </a:lnTo>
                    <a:lnTo>
                      <a:pt x="442" y="69"/>
                    </a:lnTo>
                    <a:lnTo>
                      <a:pt x="444" y="66"/>
                    </a:lnTo>
                    <a:lnTo>
                      <a:pt x="449" y="66"/>
                    </a:lnTo>
                    <a:lnTo>
                      <a:pt x="449" y="64"/>
                    </a:lnTo>
                    <a:lnTo>
                      <a:pt x="451" y="64"/>
                    </a:lnTo>
                    <a:lnTo>
                      <a:pt x="451" y="66"/>
                    </a:lnTo>
                    <a:lnTo>
                      <a:pt x="451" y="69"/>
                    </a:lnTo>
                    <a:lnTo>
                      <a:pt x="454" y="69"/>
                    </a:lnTo>
                    <a:lnTo>
                      <a:pt x="456" y="69"/>
                    </a:lnTo>
                    <a:lnTo>
                      <a:pt x="458" y="69"/>
                    </a:lnTo>
                    <a:lnTo>
                      <a:pt x="458" y="69"/>
                    </a:lnTo>
                    <a:lnTo>
                      <a:pt x="461" y="66"/>
                    </a:lnTo>
                    <a:lnTo>
                      <a:pt x="463" y="66"/>
                    </a:lnTo>
                    <a:lnTo>
                      <a:pt x="463" y="64"/>
                    </a:lnTo>
                    <a:lnTo>
                      <a:pt x="463" y="64"/>
                    </a:lnTo>
                    <a:lnTo>
                      <a:pt x="466" y="62"/>
                    </a:lnTo>
                    <a:lnTo>
                      <a:pt x="466" y="62"/>
                    </a:lnTo>
                    <a:lnTo>
                      <a:pt x="470" y="66"/>
                    </a:lnTo>
                    <a:lnTo>
                      <a:pt x="470" y="66"/>
                    </a:lnTo>
                    <a:lnTo>
                      <a:pt x="473" y="64"/>
                    </a:lnTo>
                    <a:lnTo>
                      <a:pt x="475" y="64"/>
                    </a:lnTo>
                    <a:lnTo>
                      <a:pt x="475" y="64"/>
                    </a:lnTo>
                    <a:lnTo>
                      <a:pt x="477" y="64"/>
                    </a:lnTo>
                    <a:lnTo>
                      <a:pt x="480" y="62"/>
                    </a:lnTo>
                    <a:lnTo>
                      <a:pt x="480" y="62"/>
                    </a:lnTo>
                    <a:lnTo>
                      <a:pt x="482" y="59"/>
                    </a:lnTo>
                    <a:lnTo>
                      <a:pt x="482" y="62"/>
                    </a:lnTo>
                    <a:lnTo>
                      <a:pt x="482" y="76"/>
                    </a:lnTo>
                    <a:lnTo>
                      <a:pt x="482" y="80"/>
                    </a:lnTo>
                    <a:lnTo>
                      <a:pt x="484" y="85"/>
                    </a:lnTo>
                    <a:lnTo>
                      <a:pt x="484" y="85"/>
                    </a:lnTo>
                    <a:lnTo>
                      <a:pt x="487" y="88"/>
                    </a:lnTo>
                    <a:lnTo>
                      <a:pt x="487" y="88"/>
                    </a:lnTo>
                    <a:lnTo>
                      <a:pt x="487" y="90"/>
                    </a:lnTo>
                    <a:lnTo>
                      <a:pt x="487" y="92"/>
                    </a:lnTo>
                    <a:lnTo>
                      <a:pt x="487" y="92"/>
                    </a:lnTo>
                    <a:lnTo>
                      <a:pt x="487" y="92"/>
                    </a:lnTo>
                    <a:lnTo>
                      <a:pt x="487" y="95"/>
                    </a:lnTo>
                    <a:lnTo>
                      <a:pt x="487" y="95"/>
                    </a:lnTo>
                    <a:lnTo>
                      <a:pt x="487" y="97"/>
                    </a:lnTo>
                    <a:lnTo>
                      <a:pt x="487" y="97"/>
                    </a:lnTo>
                    <a:lnTo>
                      <a:pt x="487" y="97"/>
                    </a:lnTo>
                    <a:lnTo>
                      <a:pt x="489" y="97"/>
                    </a:lnTo>
                    <a:lnTo>
                      <a:pt x="489" y="99"/>
                    </a:lnTo>
                    <a:lnTo>
                      <a:pt x="489" y="104"/>
                    </a:lnTo>
                    <a:lnTo>
                      <a:pt x="489" y="109"/>
                    </a:lnTo>
                    <a:lnTo>
                      <a:pt x="489" y="111"/>
                    </a:lnTo>
                    <a:lnTo>
                      <a:pt x="492" y="114"/>
                    </a:lnTo>
                    <a:lnTo>
                      <a:pt x="494" y="114"/>
                    </a:lnTo>
                    <a:lnTo>
                      <a:pt x="496" y="114"/>
                    </a:lnTo>
                    <a:lnTo>
                      <a:pt x="496" y="116"/>
                    </a:lnTo>
                    <a:lnTo>
                      <a:pt x="494" y="118"/>
                    </a:lnTo>
                    <a:lnTo>
                      <a:pt x="494" y="118"/>
                    </a:lnTo>
                    <a:lnTo>
                      <a:pt x="496" y="121"/>
                    </a:lnTo>
                    <a:lnTo>
                      <a:pt x="496" y="123"/>
                    </a:lnTo>
                    <a:lnTo>
                      <a:pt x="496" y="123"/>
                    </a:lnTo>
                    <a:lnTo>
                      <a:pt x="494" y="125"/>
                    </a:lnTo>
                    <a:lnTo>
                      <a:pt x="496" y="125"/>
                    </a:lnTo>
                    <a:lnTo>
                      <a:pt x="496" y="125"/>
                    </a:lnTo>
                    <a:lnTo>
                      <a:pt x="496" y="125"/>
                    </a:lnTo>
                    <a:lnTo>
                      <a:pt x="496" y="125"/>
                    </a:lnTo>
                    <a:lnTo>
                      <a:pt x="496" y="125"/>
                    </a:lnTo>
                    <a:lnTo>
                      <a:pt x="496" y="125"/>
                    </a:lnTo>
                    <a:lnTo>
                      <a:pt x="496" y="128"/>
                    </a:lnTo>
                    <a:lnTo>
                      <a:pt x="496" y="128"/>
                    </a:lnTo>
                    <a:lnTo>
                      <a:pt x="496" y="128"/>
                    </a:lnTo>
                    <a:lnTo>
                      <a:pt x="496" y="130"/>
                    </a:lnTo>
                    <a:lnTo>
                      <a:pt x="496" y="130"/>
                    </a:lnTo>
                    <a:lnTo>
                      <a:pt x="496" y="128"/>
                    </a:lnTo>
                    <a:lnTo>
                      <a:pt x="494" y="128"/>
                    </a:lnTo>
                    <a:lnTo>
                      <a:pt x="494" y="128"/>
                    </a:lnTo>
                    <a:lnTo>
                      <a:pt x="496" y="130"/>
                    </a:lnTo>
                    <a:lnTo>
                      <a:pt x="496" y="130"/>
                    </a:lnTo>
                    <a:lnTo>
                      <a:pt x="496" y="130"/>
                    </a:lnTo>
                    <a:lnTo>
                      <a:pt x="499" y="128"/>
                    </a:lnTo>
                    <a:lnTo>
                      <a:pt x="499" y="125"/>
                    </a:lnTo>
                    <a:lnTo>
                      <a:pt x="499" y="123"/>
                    </a:lnTo>
                    <a:lnTo>
                      <a:pt x="499" y="123"/>
                    </a:lnTo>
                    <a:lnTo>
                      <a:pt x="499" y="128"/>
                    </a:lnTo>
                    <a:lnTo>
                      <a:pt x="499" y="132"/>
                    </a:lnTo>
                    <a:lnTo>
                      <a:pt x="499" y="132"/>
                    </a:lnTo>
                    <a:lnTo>
                      <a:pt x="499" y="135"/>
                    </a:lnTo>
                    <a:lnTo>
                      <a:pt x="499" y="137"/>
                    </a:lnTo>
                    <a:lnTo>
                      <a:pt x="499" y="137"/>
                    </a:lnTo>
                    <a:lnTo>
                      <a:pt x="499" y="140"/>
                    </a:lnTo>
                    <a:lnTo>
                      <a:pt x="501" y="142"/>
                    </a:lnTo>
                    <a:lnTo>
                      <a:pt x="501" y="144"/>
                    </a:lnTo>
                    <a:lnTo>
                      <a:pt x="501" y="147"/>
                    </a:lnTo>
                    <a:lnTo>
                      <a:pt x="503" y="147"/>
                    </a:lnTo>
                    <a:lnTo>
                      <a:pt x="503" y="147"/>
                    </a:lnTo>
                    <a:lnTo>
                      <a:pt x="503" y="154"/>
                    </a:lnTo>
                    <a:lnTo>
                      <a:pt x="503" y="156"/>
                    </a:lnTo>
                    <a:lnTo>
                      <a:pt x="501" y="158"/>
                    </a:lnTo>
                    <a:lnTo>
                      <a:pt x="503" y="161"/>
                    </a:lnTo>
                    <a:lnTo>
                      <a:pt x="503" y="165"/>
                    </a:lnTo>
                    <a:lnTo>
                      <a:pt x="503" y="165"/>
                    </a:lnTo>
                    <a:lnTo>
                      <a:pt x="503" y="168"/>
                    </a:lnTo>
                    <a:lnTo>
                      <a:pt x="503" y="168"/>
                    </a:lnTo>
                    <a:lnTo>
                      <a:pt x="503" y="170"/>
                    </a:lnTo>
                    <a:lnTo>
                      <a:pt x="503" y="175"/>
                    </a:lnTo>
                    <a:lnTo>
                      <a:pt x="503" y="175"/>
                    </a:lnTo>
                    <a:lnTo>
                      <a:pt x="503" y="177"/>
                    </a:lnTo>
                    <a:lnTo>
                      <a:pt x="501" y="180"/>
                    </a:lnTo>
                    <a:lnTo>
                      <a:pt x="501" y="187"/>
                    </a:lnTo>
                    <a:lnTo>
                      <a:pt x="501" y="189"/>
                    </a:lnTo>
                    <a:lnTo>
                      <a:pt x="503" y="189"/>
                    </a:lnTo>
                    <a:lnTo>
                      <a:pt x="501" y="191"/>
                    </a:lnTo>
                    <a:lnTo>
                      <a:pt x="501" y="191"/>
                    </a:lnTo>
                    <a:lnTo>
                      <a:pt x="501" y="194"/>
                    </a:lnTo>
                    <a:lnTo>
                      <a:pt x="501" y="196"/>
                    </a:lnTo>
                    <a:lnTo>
                      <a:pt x="499" y="199"/>
                    </a:lnTo>
                    <a:lnTo>
                      <a:pt x="499" y="199"/>
                    </a:lnTo>
                    <a:lnTo>
                      <a:pt x="499" y="199"/>
                    </a:lnTo>
                    <a:lnTo>
                      <a:pt x="496" y="199"/>
                    </a:lnTo>
                    <a:lnTo>
                      <a:pt x="494" y="199"/>
                    </a:lnTo>
                    <a:lnTo>
                      <a:pt x="492" y="196"/>
                    </a:lnTo>
                    <a:lnTo>
                      <a:pt x="492" y="199"/>
                    </a:lnTo>
                    <a:lnTo>
                      <a:pt x="489" y="199"/>
                    </a:lnTo>
                    <a:lnTo>
                      <a:pt x="489" y="199"/>
                    </a:lnTo>
                    <a:lnTo>
                      <a:pt x="489" y="199"/>
                    </a:lnTo>
                    <a:lnTo>
                      <a:pt x="489" y="199"/>
                    </a:lnTo>
                    <a:lnTo>
                      <a:pt x="487" y="196"/>
                    </a:lnTo>
                    <a:lnTo>
                      <a:pt x="487" y="196"/>
                    </a:lnTo>
                    <a:lnTo>
                      <a:pt x="484" y="199"/>
                    </a:lnTo>
                    <a:lnTo>
                      <a:pt x="482" y="199"/>
                    </a:lnTo>
                    <a:lnTo>
                      <a:pt x="482" y="196"/>
                    </a:lnTo>
                    <a:lnTo>
                      <a:pt x="480" y="194"/>
                    </a:lnTo>
                    <a:lnTo>
                      <a:pt x="480" y="194"/>
                    </a:lnTo>
                    <a:lnTo>
                      <a:pt x="480" y="191"/>
                    </a:lnTo>
                    <a:lnTo>
                      <a:pt x="480" y="189"/>
                    </a:lnTo>
                    <a:lnTo>
                      <a:pt x="480" y="187"/>
                    </a:lnTo>
                    <a:lnTo>
                      <a:pt x="477" y="187"/>
                    </a:lnTo>
                    <a:lnTo>
                      <a:pt x="473" y="184"/>
                    </a:lnTo>
                    <a:lnTo>
                      <a:pt x="473" y="182"/>
                    </a:lnTo>
                    <a:lnTo>
                      <a:pt x="470" y="180"/>
                    </a:lnTo>
                    <a:lnTo>
                      <a:pt x="468" y="180"/>
                    </a:lnTo>
                    <a:lnTo>
                      <a:pt x="468" y="180"/>
                    </a:lnTo>
                    <a:lnTo>
                      <a:pt x="468" y="180"/>
                    </a:lnTo>
                    <a:lnTo>
                      <a:pt x="466" y="182"/>
                    </a:lnTo>
                    <a:lnTo>
                      <a:pt x="463" y="180"/>
                    </a:lnTo>
                    <a:lnTo>
                      <a:pt x="461" y="180"/>
                    </a:lnTo>
                    <a:lnTo>
                      <a:pt x="458" y="180"/>
                    </a:lnTo>
                    <a:lnTo>
                      <a:pt x="458" y="180"/>
                    </a:lnTo>
                    <a:lnTo>
                      <a:pt x="456" y="177"/>
                    </a:lnTo>
                    <a:lnTo>
                      <a:pt x="454" y="180"/>
                    </a:lnTo>
                    <a:lnTo>
                      <a:pt x="454" y="180"/>
                    </a:lnTo>
                    <a:lnTo>
                      <a:pt x="451" y="177"/>
                    </a:lnTo>
                    <a:lnTo>
                      <a:pt x="449" y="177"/>
                    </a:lnTo>
                    <a:lnTo>
                      <a:pt x="447" y="177"/>
                    </a:lnTo>
                    <a:lnTo>
                      <a:pt x="442" y="177"/>
                    </a:lnTo>
                    <a:lnTo>
                      <a:pt x="440" y="182"/>
                    </a:lnTo>
                    <a:lnTo>
                      <a:pt x="437" y="182"/>
                    </a:lnTo>
                    <a:lnTo>
                      <a:pt x="437" y="182"/>
                    </a:lnTo>
                    <a:lnTo>
                      <a:pt x="437" y="182"/>
                    </a:lnTo>
                    <a:lnTo>
                      <a:pt x="435" y="182"/>
                    </a:lnTo>
                    <a:lnTo>
                      <a:pt x="435" y="182"/>
                    </a:lnTo>
                    <a:lnTo>
                      <a:pt x="435" y="182"/>
                    </a:lnTo>
                    <a:lnTo>
                      <a:pt x="435" y="182"/>
                    </a:lnTo>
                    <a:lnTo>
                      <a:pt x="432" y="182"/>
                    </a:lnTo>
                    <a:lnTo>
                      <a:pt x="432" y="184"/>
                    </a:lnTo>
                    <a:lnTo>
                      <a:pt x="432" y="184"/>
                    </a:lnTo>
                    <a:lnTo>
                      <a:pt x="432" y="184"/>
                    </a:lnTo>
                    <a:lnTo>
                      <a:pt x="430" y="184"/>
                    </a:lnTo>
                    <a:lnTo>
                      <a:pt x="430" y="187"/>
                    </a:lnTo>
                    <a:lnTo>
                      <a:pt x="425" y="187"/>
                    </a:lnTo>
                    <a:lnTo>
                      <a:pt x="425" y="189"/>
                    </a:lnTo>
                    <a:lnTo>
                      <a:pt x="425" y="189"/>
                    </a:lnTo>
                    <a:lnTo>
                      <a:pt x="423" y="189"/>
                    </a:lnTo>
                    <a:lnTo>
                      <a:pt x="423" y="187"/>
                    </a:lnTo>
                    <a:lnTo>
                      <a:pt x="421" y="187"/>
                    </a:lnTo>
                    <a:lnTo>
                      <a:pt x="416" y="187"/>
                    </a:lnTo>
                    <a:lnTo>
                      <a:pt x="414" y="187"/>
                    </a:lnTo>
                    <a:lnTo>
                      <a:pt x="414" y="191"/>
                    </a:lnTo>
                    <a:lnTo>
                      <a:pt x="414" y="194"/>
                    </a:lnTo>
                    <a:lnTo>
                      <a:pt x="414" y="194"/>
                    </a:lnTo>
                    <a:lnTo>
                      <a:pt x="414" y="196"/>
                    </a:lnTo>
                    <a:lnTo>
                      <a:pt x="414" y="196"/>
                    </a:lnTo>
                    <a:lnTo>
                      <a:pt x="411" y="196"/>
                    </a:lnTo>
                    <a:lnTo>
                      <a:pt x="411" y="201"/>
                    </a:lnTo>
                    <a:lnTo>
                      <a:pt x="411" y="203"/>
                    </a:lnTo>
                    <a:lnTo>
                      <a:pt x="409" y="203"/>
                    </a:lnTo>
                    <a:lnTo>
                      <a:pt x="409" y="203"/>
                    </a:lnTo>
                    <a:lnTo>
                      <a:pt x="411" y="206"/>
                    </a:lnTo>
                    <a:lnTo>
                      <a:pt x="414" y="203"/>
                    </a:lnTo>
                    <a:lnTo>
                      <a:pt x="411" y="206"/>
                    </a:lnTo>
                    <a:lnTo>
                      <a:pt x="411" y="206"/>
                    </a:lnTo>
                    <a:lnTo>
                      <a:pt x="411" y="206"/>
                    </a:lnTo>
                    <a:lnTo>
                      <a:pt x="409" y="208"/>
                    </a:lnTo>
                    <a:lnTo>
                      <a:pt x="414" y="213"/>
                    </a:lnTo>
                    <a:lnTo>
                      <a:pt x="411" y="213"/>
                    </a:lnTo>
                    <a:lnTo>
                      <a:pt x="409" y="213"/>
                    </a:lnTo>
                    <a:lnTo>
                      <a:pt x="406" y="213"/>
                    </a:lnTo>
                    <a:lnTo>
                      <a:pt x="404" y="213"/>
                    </a:lnTo>
                    <a:lnTo>
                      <a:pt x="404" y="213"/>
                    </a:lnTo>
                    <a:lnTo>
                      <a:pt x="402" y="213"/>
                    </a:lnTo>
                    <a:lnTo>
                      <a:pt x="399" y="213"/>
                    </a:lnTo>
                    <a:lnTo>
                      <a:pt x="399" y="213"/>
                    </a:lnTo>
                    <a:lnTo>
                      <a:pt x="399" y="215"/>
                    </a:lnTo>
                    <a:lnTo>
                      <a:pt x="397" y="215"/>
                    </a:lnTo>
                    <a:lnTo>
                      <a:pt x="397" y="217"/>
                    </a:lnTo>
                    <a:lnTo>
                      <a:pt x="395" y="220"/>
                    </a:lnTo>
                    <a:lnTo>
                      <a:pt x="395" y="220"/>
                    </a:lnTo>
                    <a:lnTo>
                      <a:pt x="392" y="220"/>
                    </a:lnTo>
                    <a:lnTo>
                      <a:pt x="390" y="220"/>
                    </a:lnTo>
                    <a:lnTo>
                      <a:pt x="390" y="220"/>
                    </a:lnTo>
                    <a:lnTo>
                      <a:pt x="390" y="217"/>
                    </a:lnTo>
                    <a:lnTo>
                      <a:pt x="388" y="220"/>
                    </a:lnTo>
                    <a:lnTo>
                      <a:pt x="388" y="220"/>
                    </a:lnTo>
                    <a:lnTo>
                      <a:pt x="388" y="220"/>
                    </a:lnTo>
                    <a:lnTo>
                      <a:pt x="385" y="220"/>
                    </a:lnTo>
                    <a:lnTo>
                      <a:pt x="383" y="220"/>
                    </a:lnTo>
                    <a:lnTo>
                      <a:pt x="383" y="222"/>
                    </a:lnTo>
                    <a:lnTo>
                      <a:pt x="383" y="222"/>
                    </a:lnTo>
                    <a:lnTo>
                      <a:pt x="381" y="222"/>
                    </a:lnTo>
                    <a:lnTo>
                      <a:pt x="378" y="225"/>
                    </a:lnTo>
                    <a:lnTo>
                      <a:pt x="378" y="225"/>
                    </a:lnTo>
                    <a:lnTo>
                      <a:pt x="376" y="225"/>
                    </a:lnTo>
                    <a:lnTo>
                      <a:pt x="373" y="225"/>
                    </a:lnTo>
                    <a:lnTo>
                      <a:pt x="373" y="225"/>
                    </a:lnTo>
                    <a:lnTo>
                      <a:pt x="371" y="225"/>
                    </a:lnTo>
                    <a:lnTo>
                      <a:pt x="369" y="225"/>
                    </a:lnTo>
                    <a:lnTo>
                      <a:pt x="366" y="225"/>
                    </a:lnTo>
                    <a:lnTo>
                      <a:pt x="366" y="227"/>
                    </a:lnTo>
                    <a:lnTo>
                      <a:pt x="366" y="227"/>
                    </a:lnTo>
                    <a:lnTo>
                      <a:pt x="366" y="229"/>
                    </a:lnTo>
                    <a:lnTo>
                      <a:pt x="364" y="232"/>
                    </a:lnTo>
                    <a:lnTo>
                      <a:pt x="359" y="229"/>
                    </a:lnTo>
                    <a:lnTo>
                      <a:pt x="359" y="232"/>
                    </a:lnTo>
                    <a:lnTo>
                      <a:pt x="357" y="232"/>
                    </a:lnTo>
                    <a:lnTo>
                      <a:pt x="355" y="232"/>
                    </a:lnTo>
                    <a:lnTo>
                      <a:pt x="352" y="232"/>
                    </a:lnTo>
                    <a:lnTo>
                      <a:pt x="352" y="232"/>
                    </a:lnTo>
                    <a:lnTo>
                      <a:pt x="352" y="234"/>
                    </a:lnTo>
                    <a:lnTo>
                      <a:pt x="350" y="234"/>
                    </a:lnTo>
                    <a:lnTo>
                      <a:pt x="347" y="234"/>
                    </a:lnTo>
                    <a:lnTo>
                      <a:pt x="345" y="232"/>
                    </a:lnTo>
                    <a:lnTo>
                      <a:pt x="345" y="232"/>
                    </a:lnTo>
                    <a:lnTo>
                      <a:pt x="345" y="232"/>
                    </a:lnTo>
                    <a:lnTo>
                      <a:pt x="343" y="229"/>
                    </a:lnTo>
                    <a:lnTo>
                      <a:pt x="338" y="229"/>
                    </a:lnTo>
                    <a:lnTo>
                      <a:pt x="336" y="229"/>
                    </a:lnTo>
                    <a:lnTo>
                      <a:pt x="336" y="229"/>
                    </a:lnTo>
                    <a:lnTo>
                      <a:pt x="333" y="229"/>
                    </a:lnTo>
                    <a:lnTo>
                      <a:pt x="329" y="229"/>
                    </a:lnTo>
                    <a:lnTo>
                      <a:pt x="326" y="232"/>
                    </a:lnTo>
                    <a:lnTo>
                      <a:pt x="324" y="229"/>
                    </a:lnTo>
                    <a:lnTo>
                      <a:pt x="324" y="227"/>
                    </a:lnTo>
                    <a:lnTo>
                      <a:pt x="319" y="232"/>
                    </a:lnTo>
                    <a:lnTo>
                      <a:pt x="319" y="232"/>
                    </a:lnTo>
                    <a:lnTo>
                      <a:pt x="319" y="232"/>
                    </a:lnTo>
                    <a:lnTo>
                      <a:pt x="321" y="234"/>
                    </a:lnTo>
                    <a:lnTo>
                      <a:pt x="321" y="234"/>
                    </a:lnTo>
                    <a:lnTo>
                      <a:pt x="319" y="236"/>
                    </a:lnTo>
                    <a:lnTo>
                      <a:pt x="317" y="236"/>
                    </a:lnTo>
                    <a:lnTo>
                      <a:pt x="317" y="236"/>
                    </a:lnTo>
                    <a:lnTo>
                      <a:pt x="314" y="234"/>
                    </a:lnTo>
                    <a:lnTo>
                      <a:pt x="314" y="234"/>
                    </a:lnTo>
                    <a:lnTo>
                      <a:pt x="312" y="234"/>
                    </a:lnTo>
                    <a:lnTo>
                      <a:pt x="305" y="234"/>
                    </a:lnTo>
                    <a:lnTo>
                      <a:pt x="305" y="232"/>
                    </a:lnTo>
                    <a:lnTo>
                      <a:pt x="303" y="234"/>
                    </a:lnTo>
                    <a:lnTo>
                      <a:pt x="300" y="234"/>
                    </a:lnTo>
                    <a:lnTo>
                      <a:pt x="298" y="234"/>
                    </a:lnTo>
                    <a:lnTo>
                      <a:pt x="298" y="234"/>
                    </a:lnTo>
                    <a:lnTo>
                      <a:pt x="295" y="234"/>
                    </a:lnTo>
                    <a:lnTo>
                      <a:pt x="295" y="236"/>
                    </a:lnTo>
                    <a:lnTo>
                      <a:pt x="295" y="241"/>
                    </a:lnTo>
                    <a:lnTo>
                      <a:pt x="295" y="241"/>
                    </a:lnTo>
                    <a:lnTo>
                      <a:pt x="295" y="243"/>
                    </a:lnTo>
                    <a:lnTo>
                      <a:pt x="295" y="243"/>
                    </a:lnTo>
                    <a:lnTo>
                      <a:pt x="295" y="243"/>
                    </a:lnTo>
                    <a:lnTo>
                      <a:pt x="295" y="246"/>
                    </a:lnTo>
                    <a:lnTo>
                      <a:pt x="295" y="248"/>
                    </a:lnTo>
                    <a:lnTo>
                      <a:pt x="293" y="248"/>
                    </a:lnTo>
                    <a:lnTo>
                      <a:pt x="291" y="248"/>
                    </a:lnTo>
                    <a:lnTo>
                      <a:pt x="288" y="248"/>
                    </a:lnTo>
                    <a:lnTo>
                      <a:pt x="288" y="248"/>
                    </a:lnTo>
                    <a:lnTo>
                      <a:pt x="281" y="246"/>
                    </a:lnTo>
                    <a:lnTo>
                      <a:pt x="281" y="243"/>
                    </a:lnTo>
                    <a:lnTo>
                      <a:pt x="279" y="246"/>
                    </a:lnTo>
                    <a:lnTo>
                      <a:pt x="279" y="246"/>
                    </a:lnTo>
                    <a:lnTo>
                      <a:pt x="277" y="248"/>
                    </a:lnTo>
                    <a:lnTo>
                      <a:pt x="279" y="251"/>
                    </a:lnTo>
                    <a:lnTo>
                      <a:pt x="277" y="251"/>
                    </a:lnTo>
                    <a:lnTo>
                      <a:pt x="279" y="253"/>
                    </a:lnTo>
                    <a:lnTo>
                      <a:pt x="277" y="253"/>
                    </a:lnTo>
                    <a:lnTo>
                      <a:pt x="277" y="253"/>
                    </a:lnTo>
                    <a:lnTo>
                      <a:pt x="272" y="251"/>
                    </a:lnTo>
                    <a:lnTo>
                      <a:pt x="272" y="253"/>
                    </a:lnTo>
                    <a:lnTo>
                      <a:pt x="272" y="255"/>
                    </a:lnTo>
                    <a:lnTo>
                      <a:pt x="272" y="258"/>
                    </a:lnTo>
                    <a:lnTo>
                      <a:pt x="272" y="260"/>
                    </a:lnTo>
                    <a:lnTo>
                      <a:pt x="272" y="265"/>
                    </a:lnTo>
                    <a:lnTo>
                      <a:pt x="269" y="267"/>
                    </a:lnTo>
                    <a:lnTo>
                      <a:pt x="267" y="267"/>
                    </a:lnTo>
                    <a:lnTo>
                      <a:pt x="267" y="269"/>
                    </a:lnTo>
                    <a:lnTo>
                      <a:pt x="269" y="269"/>
                    </a:lnTo>
                    <a:lnTo>
                      <a:pt x="269" y="269"/>
                    </a:lnTo>
                    <a:lnTo>
                      <a:pt x="269" y="269"/>
                    </a:lnTo>
                    <a:lnTo>
                      <a:pt x="272" y="272"/>
                    </a:lnTo>
                    <a:lnTo>
                      <a:pt x="272" y="274"/>
                    </a:lnTo>
                    <a:lnTo>
                      <a:pt x="269" y="274"/>
                    </a:lnTo>
                    <a:lnTo>
                      <a:pt x="267" y="274"/>
                    </a:lnTo>
                    <a:lnTo>
                      <a:pt x="262" y="277"/>
                    </a:lnTo>
                    <a:lnTo>
                      <a:pt x="262" y="277"/>
                    </a:lnTo>
                    <a:lnTo>
                      <a:pt x="262" y="279"/>
                    </a:lnTo>
                    <a:lnTo>
                      <a:pt x="260" y="279"/>
                    </a:lnTo>
                    <a:lnTo>
                      <a:pt x="260" y="279"/>
                    </a:lnTo>
                    <a:lnTo>
                      <a:pt x="260" y="279"/>
                    </a:lnTo>
                    <a:lnTo>
                      <a:pt x="260" y="279"/>
                    </a:lnTo>
                    <a:lnTo>
                      <a:pt x="260" y="279"/>
                    </a:lnTo>
                    <a:lnTo>
                      <a:pt x="260" y="281"/>
                    </a:lnTo>
                    <a:lnTo>
                      <a:pt x="258" y="281"/>
                    </a:lnTo>
                    <a:lnTo>
                      <a:pt x="255" y="281"/>
                    </a:lnTo>
                    <a:lnTo>
                      <a:pt x="255" y="284"/>
                    </a:lnTo>
                    <a:lnTo>
                      <a:pt x="253" y="284"/>
                    </a:lnTo>
                    <a:lnTo>
                      <a:pt x="253" y="284"/>
                    </a:lnTo>
                    <a:lnTo>
                      <a:pt x="251" y="284"/>
                    </a:lnTo>
                    <a:lnTo>
                      <a:pt x="248" y="284"/>
                    </a:lnTo>
                    <a:lnTo>
                      <a:pt x="248" y="286"/>
                    </a:lnTo>
                    <a:lnTo>
                      <a:pt x="241" y="288"/>
                    </a:lnTo>
                    <a:lnTo>
                      <a:pt x="239" y="288"/>
                    </a:lnTo>
                    <a:lnTo>
                      <a:pt x="236" y="288"/>
                    </a:lnTo>
                    <a:lnTo>
                      <a:pt x="236" y="291"/>
                    </a:lnTo>
                    <a:lnTo>
                      <a:pt x="234" y="293"/>
                    </a:lnTo>
                    <a:lnTo>
                      <a:pt x="232" y="295"/>
                    </a:lnTo>
                    <a:lnTo>
                      <a:pt x="232" y="295"/>
                    </a:lnTo>
                    <a:lnTo>
                      <a:pt x="229" y="298"/>
                    </a:lnTo>
                    <a:lnTo>
                      <a:pt x="229" y="298"/>
                    </a:lnTo>
                    <a:lnTo>
                      <a:pt x="227" y="298"/>
                    </a:lnTo>
                    <a:lnTo>
                      <a:pt x="225" y="298"/>
                    </a:lnTo>
                    <a:lnTo>
                      <a:pt x="222" y="295"/>
                    </a:lnTo>
                    <a:lnTo>
                      <a:pt x="220" y="293"/>
                    </a:lnTo>
                    <a:lnTo>
                      <a:pt x="218" y="293"/>
                    </a:lnTo>
                    <a:lnTo>
                      <a:pt x="213" y="293"/>
                    </a:lnTo>
                    <a:lnTo>
                      <a:pt x="213" y="288"/>
                    </a:lnTo>
                    <a:lnTo>
                      <a:pt x="208" y="286"/>
                    </a:lnTo>
                    <a:lnTo>
                      <a:pt x="208" y="284"/>
                    </a:lnTo>
                    <a:lnTo>
                      <a:pt x="208" y="284"/>
                    </a:lnTo>
                    <a:lnTo>
                      <a:pt x="208" y="281"/>
                    </a:lnTo>
                    <a:lnTo>
                      <a:pt x="206" y="281"/>
                    </a:lnTo>
                    <a:lnTo>
                      <a:pt x="203" y="281"/>
                    </a:lnTo>
                    <a:lnTo>
                      <a:pt x="203" y="279"/>
                    </a:lnTo>
                    <a:lnTo>
                      <a:pt x="203" y="279"/>
                    </a:lnTo>
                    <a:lnTo>
                      <a:pt x="206" y="279"/>
                    </a:lnTo>
                    <a:lnTo>
                      <a:pt x="203" y="277"/>
                    </a:lnTo>
                    <a:lnTo>
                      <a:pt x="206" y="274"/>
                    </a:lnTo>
                    <a:lnTo>
                      <a:pt x="206" y="274"/>
                    </a:lnTo>
                    <a:lnTo>
                      <a:pt x="206" y="274"/>
                    </a:lnTo>
                    <a:lnTo>
                      <a:pt x="206" y="272"/>
                    </a:lnTo>
                    <a:lnTo>
                      <a:pt x="206" y="269"/>
                    </a:lnTo>
                    <a:lnTo>
                      <a:pt x="203" y="267"/>
                    </a:lnTo>
                    <a:lnTo>
                      <a:pt x="203" y="265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6" y="260"/>
                    </a:lnTo>
                    <a:lnTo>
                      <a:pt x="203" y="258"/>
                    </a:lnTo>
                    <a:lnTo>
                      <a:pt x="203" y="258"/>
                    </a:lnTo>
                    <a:lnTo>
                      <a:pt x="201" y="258"/>
                    </a:lnTo>
                    <a:lnTo>
                      <a:pt x="201" y="258"/>
                    </a:lnTo>
                    <a:lnTo>
                      <a:pt x="201" y="258"/>
                    </a:lnTo>
                    <a:lnTo>
                      <a:pt x="199" y="255"/>
                    </a:lnTo>
                    <a:lnTo>
                      <a:pt x="199" y="253"/>
                    </a:lnTo>
                    <a:lnTo>
                      <a:pt x="199" y="253"/>
                    </a:lnTo>
                    <a:lnTo>
                      <a:pt x="196" y="253"/>
                    </a:lnTo>
                    <a:lnTo>
                      <a:pt x="196" y="255"/>
                    </a:lnTo>
                    <a:lnTo>
                      <a:pt x="194" y="255"/>
                    </a:lnTo>
                    <a:lnTo>
                      <a:pt x="194" y="253"/>
                    </a:lnTo>
                    <a:lnTo>
                      <a:pt x="194" y="255"/>
                    </a:lnTo>
                    <a:lnTo>
                      <a:pt x="194" y="253"/>
                    </a:lnTo>
                    <a:lnTo>
                      <a:pt x="189" y="253"/>
                    </a:lnTo>
                    <a:lnTo>
                      <a:pt x="189" y="255"/>
                    </a:lnTo>
                    <a:lnTo>
                      <a:pt x="187" y="253"/>
                    </a:lnTo>
                    <a:lnTo>
                      <a:pt x="184" y="253"/>
                    </a:lnTo>
                    <a:lnTo>
                      <a:pt x="184" y="253"/>
                    </a:lnTo>
                    <a:lnTo>
                      <a:pt x="180" y="255"/>
                    </a:lnTo>
                    <a:lnTo>
                      <a:pt x="180" y="255"/>
                    </a:lnTo>
                    <a:lnTo>
                      <a:pt x="180" y="255"/>
                    </a:lnTo>
                    <a:lnTo>
                      <a:pt x="180" y="253"/>
                    </a:lnTo>
                    <a:lnTo>
                      <a:pt x="180" y="251"/>
                    </a:lnTo>
                    <a:lnTo>
                      <a:pt x="180" y="251"/>
                    </a:lnTo>
                    <a:lnTo>
                      <a:pt x="184" y="251"/>
                    </a:lnTo>
                    <a:lnTo>
                      <a:pt x="184" y="251"/>
                    </a:lnTo>
                    <a:lnTo>
                      <a:pt x="184" y="251"/>
                    </a:lnTo>
                    <a:lnTo>
                      <a:pt x="184" y="248"/>
                    </a:lnTo>
                    <a:lnTo>
                      <a:pt x="184" y="248"/>
                    </a:lnTo>
                    <a:lnTo>
                      <a:pt x="184" y="248"/>
                    </a:lnTo>
                    <a:lnTo>
                      <a:pt x="184" y="248"/>
                    </a:lnTo>
                    <a:lnTo>
                      <a:pt x="184" y="248"/>
                    </a:lnTo>
                    <a:lnTo>
                      <a:pt x="184" y="246"/>
                    </a:lnTo>
                    <a:lnTo>
                      <a:pt x="184" y="246"/>
                    </a:lnTo>
                    <a:lnTo>
                      <a:pt x="184" y="246"/>
                    </a:lnTo>
                    <a:lnTo>
                      <a:pt x="187" y="246"/>
                    </a:lnTo>
                    <a:lnTo>
                      <a:pt x="194" y="241"/>
                    </a:lnTo>
                    <a:lnTo>
                      <a:pt x="194" y="241"/>
                    </a:lnTo>
                    <a:lnTo>
                      <a:pt x="192" y="239"/>
                    </a:lnTo>
                    <a:lnTo>
                      <a:pt x="194" y="239"/>
                    </a:lnTo>
                    <a:lnTo>
                      <a:pt x="196" y="239"/>
                    </a:lnTo>
                    <a:lnTo>
                      <a:pt x="196" y="234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6" y="232"/>
                    </a:lnTo>
                    <a:lnTo>
                      <a:pt x="196" y="234"/>
                    </a:lnTo>
                    <a:lnTo>
                      <a:pt x="199" y="232"/>
                    </a:lnTo>
                    <a:lnTo>
                      <a:pt x="199" y="232"/>
                    </a:lnTo>
                    <a:lnTo>
                      <a:pt x="201" y="232"/>
                    </a:lnTo>
                    <a:lnTo>
                      <a:pt x="201" y="232"/>
                    </a:lnTo>
                    <a:lnTo>
                      <a:pt x="203" y="232"/>
                    </a:lnTo>
                    <a:lnTo>
                      <a:pt x="203" y="232"/>
                    </a:lnTo>
                    <a:lnTo>
                      <a:pt x="203" y="232"/>
                    </a:lnTo>
                    <a:lnTo>
                      <a:pt x="203" y="232"/>
                    </a:lnTo>
                    <a:lnTo>
                      <a:pt x="206" y="229"/>
                    </a:lnTo>
                    <a:lnTo>
                      <a:pt x="203" y="229"/>
                    </a:lnTo>
                    <a:lnTo>
                      <a:pt x="203" y="229"/>
                    </a:lnTo>
                    <a:lnTo>
                      <a:pt x="206" y="225"/>
                    </a:lnTo>
                    <a:lnTo>
                      <a:pt x="206" y="222"/>
                    </a:lnTo>
                    <a:lnTo>
                      <a:pt x="206" y="220"/>
                    </a:lnTo>
                    <a:lnTo>
                      <a:pt x="203" y="220"/>
                    </a:lnTo>
                    <a:lnTo>
                      <a:pt x="203" y="217"/>
                    </a:lnTo>
                    <a:lnTo>
                      <a:pt x="201" y="215"/>
                    </a:lnTo>
                    <a:lnTo>
                      <a:pt x="201" y="215"/>
                    </a:lnTo>
                    <a:lnTo>
                      <a:pt x="201" y="215"/>
                    </a:lnTo>
                    <a:lnTo>
                      <a:pt x="199" y="213"/>
                    </a:lnTo>
                    <a:lnTo>
                      <a:pt x="199" y="210"/>
                    </a:lnTo>
                    <a:lnTo>
                      <a:pt x="199" y="210"/>
                    </a:lnTo>
                    <a:lnTo>
                      <a:pt x="199" y="210"/>
                    </a:lnTo>
                    <a:lnTo>
                      <a:pt x="201" y="208"/>
                    </a:lnTo>
                    <a:lnTo>
                      <a:pt x="201" y="206"/>
                    </a:lnTo>
                    <a:lnTo>
                      <a:pt x="203" y="203"/>
                    </a:lnTo>
                    <a:lnTo>
                      <a:pt x="203" y="201"/>
                    </a:lnTo>
                    <a:lnTo>
                      <a:pt x="206" y="201"/>
                    </a:lnTo>
                    <a:lnTo>
                      <a:pt x="208" y="196"/>
                    </a:lnTo>
                    <a:lnTo>
                      <a:pt x="210" y="196"/>
                    </a:lnTo>
                    <a:lnTo>
                      <a:pt x="213" y="196"/>
                    </a:lnTo>
                    <a:lnTo>
                      <a:pt x="215" y="196"/>
                    </a:lnTo>
                    <a:lnTo>
                      <a:pt x="218" y="194"/>
                    </a:lnTo>
                    <a:lnTo>
                      <a:pt x="220" y="194"/>
                    </a:lnTo>
                    <a:lnTo>
                      <a:pt x="220" y="191"/>
                    </a:lnTo>
                    <a:lnTo>
                      <a:pt x="222" y="191"/>
                    </a:lnTo>
                    <a:lnTo>
                      <a:pt x="225" y="191"/>
                    </a:lnTo>
                    <a:lnTo>
                      <a:pt x="225" y="191"/>
                    </a:lnTo>
                    <a:lnTo>
                      <a:pt x="225" y="189"/>
                    </a:lnTo>
                    <a:lnTo>
                      <a:pt x="225" y="189"/>
                    </a:lnTo>
                    <a:lnTo>
                      <a:pt x="225" y="189"/>
                    </a:lnTo>
                    <a:lnTo>
                      <a:pt x="225" y="187"/>
                    </a:lnTo>
                    <a:lnTo>
                      <a:pt x="222" y="187"/>
                    </a:lnTo>
                    <a:lnTo>
                      <a:pt x="222" y="187"/>
                    </a:lnTo>
                    <a:lnTo>
                      <a:pt x="222" y="184"/>
                    </a:lnTo>
                    <a:lnTo>
                      <a:pt x="222" y="184"/>
                    </a:lnTo>
                    <a:lnTo>
                      <a:pt x="222" y="182"/>
                    </a:lnTo>
                    <a:lnTo>
                      <a:pt x="220" y="182"/>
                    </a:lnTo>
                    <a:lnTo>
                      <a:pt x="222" y="180"/>
                    </a:lnTo>
                    <a:lnTo>
                      <a:pt x="220" y="177"/>
                    </a:lnTo>
                    <a:lnTo>
                      <a:pt x="218" y="177"/>
                    </a:lnTo>
                    <a:lnTo>
                      <a:pt x="218" y="177"/>
                    </a:lnTo>
                    <a:lnTo>
                      <a:pt x="218" y="177"/>
                    </a:lnTo>
                    <a:lnTo>
                      <a:pt x="215" y="177"/>
                    </a:lnTo>
                    <a:lnTo>
                      <a:pt x="215" y="175"/>
                    </a:lnTo>
                    <a:lnTo>
                      <a:pt x="215" y="175"/>
                    </a:lnTo>
                    <a:lnTo>
                      <a:pt x="213" y="175"/>
                    </a:lnTo>
                    <a:lnTo>
                      <a:pt x="210" y="175"/>
                    </a:lnTo>
                    <a:lnTo>
                      <a:pt x="208" y="173"/>
                    </a:lnTo>
                    <a:lnTo>
                      <a:pt x="208" y="173"/>
                    </a:lnTo>
                    <a:lnTo>
                      <a:pt x="206" y="173"/>
                    </a:lnTo>
                    <a:lnTo>
                      <a:pt x="206" y="170"/>
                    </a:lnTo>
                    <a:lnTo>
                      <a:pt x="203" y="170"/>
                    </a:lnTo>
                    <a:lnTo>
                      <a:pt x="203" y="170"/>
                    </a:lnTo>
                    <a:lnTo>
                      <a:pt x="203" y="170"/>
                    </a:lnTo>
                    <a:lnTo>
                      <a:pt x="201" y="168"/>
                    </a:lnTo>
                    <a:lnTo>
                      <a:pt x="199" y="165"/>
                    </a:lnTo>
                    <a:lnTo>
                      <a:pt x="196" y="165"/>
                    </a:lnTo>
                    <a:lnTo>
                      <a:pt x="194" y="163"/>
                    </a:lnTo>
                    <a:lnTo>
                      <a:pt x="192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7" y="165"/>
                    </a:lnTo>
                    <a:lnTo>
                      <a:pt x="184" y="165"/>
                    </a:lnTo>
                    <a:lnTo>
                      <a:pt x="184" y="165"/>
                    </a:lnTo>
                    <a:lnTo>
                      <a:pt x="182" y="165"/>
                    </a:lnTo>
                    <a:lnTo>
                      <a:pt x="180" y="168"/>
                    </a:lnTo>
                    <a:lnTo>
                      <a:pt x="180" y="170"/>
                    </a:lnTo>
                    <a:lnTo>
                      <a:pt x="180" y="170"/>
                    </a:lnTo>
                    <a:lnTo>
                      <a:pt x="175" y="175"/>
                    </a:lnTo>
                    <a:lnTo>
                      <a:pt x="173" y="175"/>
                    </a:lnTo>
                    <a:lnTo>
                      <a:pt x="170" y="175"/>
                    </a:lnTo>
                    <a:lnTo>
                      <a:pt x="170" y="175"/>
                    </a:lnTo>
                    <a:lnTo>
                      <a:pt x="168" y="175"/>
                    </a:lnTo>
                    <a:lnTo>
                      <a:pt x="168" y="175"/>
                    </a:lnTo>
                    <a:lnTo>
                      <a:pt x="166" y="175"/>
                    </a:lnTo>
                    <a:lnTo>
                      <a:pt x="161" y="175"/>
                    </a:lnTo>
                    <a:lnTo>
                      <a:pt x="161" y="175"/>
                    </a:lnTo>
                    <a:lnTo>
                      <a:pt x="161" y="177"/>
                    </a:lnTo>
                    <a:lnTo>
                      <a:pt x="161" y="180"/>
                    </a:lnTo>
                    <a:lnTo>
                      <a:pt x="161" y="180"/>
                    </a:lnTo>
                    <a:lnTo>
                      <a:pt x="161" y="182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58" y="184"/>
                    </a:lnTo>
                    <a:lnTo>
                      <a:pt x="158" y="184"/>
                    </a:lnTo>
                    <a:lnTo>
                      <a:pt x="156" y="187"/>
                    </a:lnTo>
                    <a:lnTo>
                      <a:pt x="156" y="189"/>
                    </a:lnTo>
                    <a:lnTo>
                      <a:pt x="156" y="189"/>
                    </a:lnTo>
                    <a:lnTo>
                      <a:pt x="154" y="191"/>
                    </a:lnTo>
                    <a:lnTo>
                      <a:pt x="151" y="191"/>
                    </a:lnTo>
                    <a:lnTo>
                      <a:pt x="149" y="194"/>
                    </a:lnTo>
                    <a:lnTo>
                      <a:pt x="147" y="194"/>
                    </a:lnTo>
                    <a:lnTo>
                      <a:pt x="147" y="196"/>
                    </a:lnTo>
                    <a:lnTo>
                      <a:pt x="147" y="196"/>
                    </a:lnTo>
                    <a:lnTo>
                      <a:pt x="144" y="196"/>
                    </a:lnTo>
                    <a:lnTo>
                      <a:pt x="142" y="196"/>
                    </a:lnTo>
                    <a:lnTo>
                      <a:pt x="142" y="196"/>
                    </a:lnTo>
                    <a:lnTo>
                      <a:pt x="140" y="196"/>
                    </a:lnTo>
                    <a:lnTo>
                      <a:pt x="137" y="196"/>
                    </a:lnTo>
                    <a:lnTo>
                      <a:pt x="137" y="199"/>
                    </a:lnTo>
                    <a:lnTo>
                      <a:pt x="135" y="201"/>
                    </a:lnTo>
                    <a:lnTo>
                      <a:pt x="135" y="201"/>
                    </a:lnTo>
                    <a:lnTo>
                      <a:pt x="135" y="203"/>
                    </a:lnTo>
                    <a:lnTo>
                      <a:pt x="132" y="203"/>
                    </a:lnTo>
                    <a:lnTo>
                      <a:pt x="132" y="203"/>
                    </a:lnTo>
                    <a:lnTo>
                      <a:pt x="130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28" y="208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30" y="210"/>
                    </a:lnTo>
                    <a:lnTo>
                      <a:pt x="130" y="213"/>
                    </a:lnTo>
                    <a:lnTo>
                      <a:pt x="130" y="213"/>
                    </a:lnTo>
                    <a:lnTo>
                      <a:pt x="128" y="215"/>
                    </a:lnTo>
                    <a:lnTo>
                      <a:pt x="128" y="215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5" y="213"/>
                    </a:lnTo>
                    <a:lnTo>
                      <a:pt x="125" y="210"/>
                    </a:lnTo>
                    <a:lnTo>
                      <a:pt x="125" y="210"/>
                    </a:lnTo>
                    <a:lnTo>
                      <a:pt x="123" y="210"/>
                    </a:lnTo>
                    <a:lnTo>
                      <a:pt x="123" y="210"/>
                    </a:lnTo>
                    <a:lnTo>
                      <a:pt x="121" y="213"/>
                    </a:lnTo>
                    <a:lnTo>
                      <a:pt x="116" y="213"/>
                    </a:lnTo>
                    <a:lnTo>
                      <a:pt x="116" y="213"/>
                    </a:lnTo>
                    <a:lnTo>
                      <a:pt x="114" y="213"/>
                    </a:lnTo>
                    <a:lnTo>
                      <a:pt x="111" y="217"/>
                    </a:lnTo>
                    <a:lnTo>
                      <a:pt x="111" y="217"/>
                    </a:lnTo>
                    <a:lnTo>
                      <a:pt x="109" y="220"/>
                    </a:lnTo>
                    <a:lnTo>
                      <a:pt x="111" y="220"/>
                    </a:lnTo>
                    <a:lnTo>
                      <a:pt x="111" y="220"/>
                    </a:lnTo>
                    <a:lnTo>
                      <a:pt x="111" y="220"/>
                    </a:lnTo>
                    <a:lnTo>
                      <a:pt x="109" y="220"/>
                    </a:lnTo>
                    <a:lnTo>
                      <a:pt x="106" y="220"/>
                    </a:lnTo>
                    <a:lnTo>
                      <a:pt x="106" y="222"/>
                    </a:lnTo>
                    <a:lnTo>
                      <a:pt x="104" y="225"/>
                    </a:lnTo>
                    <a:lnTo>
                      <a:pt x="104" y="227"/>
                    </a:lnTo>
                    <a:lnTo>
                      <a:pt x="102" y="227"/>
                    </a:lnTo>
                    <a:lnTo>
                      <a:pt x="102" y="229"/>
                    </a:lnTo>
                    <a:lnTo>
                      <a:pt x="102" y="229"/>
                    </a:lnTo>
                    <a:lnTo>
                      <a:pt x="99" y="229"/>
                    </a:lnTo>
                    <a:lnTo>
                      <a:pt x="97" y="229"/>
                    </a:lnTo>
                    <a:lnTo>
                      <a:pt x="97" y="229"/>
                    </a:lnTo>
                    <a:lnTo>
                      <a:pt x="97" y="229"/>
                    </a:lnTo>
                    <a:lnTo>
                      <a:pt x="97" y="227"/>
                    </a:lnTo>
                    <a:lnTo>
                      <a:pt x="95" y="227"/>
                    </a:lnTo>
                    <a:lnTo>
                      <a:pt x="92" y="225"/>
                    </a:lnTo>
                    <a:lnTo>
                      <a:pt x="88" y="229"/>
                    </a:lnTo>
                    <a:lnTo>
                      <a:pt x="88" y="229"/>
                    </a:lnTo>
                    <a:lnTo>
                      <a:pt x="88" y="232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8" y="234"/>
                    </a:lnTo>
                    <a:lnTo>
                      <a:pt x="88" y="236"/>
                    </a:lnTo>
                    <a:lnTo>
                      <a:pt x="83" y="234"/>
                    </a:lnTo>
                    <a:lnTo>
                      <a:pt x="83" y="234"/>
                    </a:lnTo>
                    <a:lnTo>
                      <a:pt x="83" y="234"/>
                    </a:lnTo>
                    <a:lnTo>
                      <a:pt x="80" y="232"/>
                    </a:lnTo>
                    <a:lnTo>
                      <a:pt x="80" y="232"/>
                    </a:lnTo>
                    <a:lnTo>
                      <a:pt x="78" y="229"/>
                    </a:lnTo>
                    <a:lnTo>
                      <a:pt x="78" y="229"/>
                    </a:lnTo>
                    <a:lnTo>
                      <a:pt x="76" y="229"/>
                    </a:lnTo>
                    <a:lnTo>
                      <a:pt x="76" y="232"/>
                    </a:lnTo>
                    <a:lnTo>
                      <a:pt x="73" y="232"/>
                    </a:lnTo>
                    <a:lnTo>
                      <a:pt x="71" y="234"/>
                    </a:lnTo>
                    <a:lnTo>
                      <a:pt x="69" y="234"/>
                    </a:lnTo>
                    <a:lnTo>
                      <a:pt x="69" y="234"/>
                    </a:lnTo>
                    <a:lnTo>
                      <a:pt x="66" y="234"/>
                    </a:lnTo>
                    <a:lnTo>
                      <a:pt x="66" y="236"/>
                    </a:lnTo>
                    <a:lnTo>
                      <a:pt x="64" y="236"/>
                    </a:lnTo>
                    <a:lnTo>
                      <a:pt x="64" y="236"/>
                    </a:lnTo>
                    <a:lnTo>
                      <a:pt x="62" y="236"/>
                    </a:lnTo>
                    <a:lnTo>
                      <a:pt x="62" y="236"/>
                    </a:lnTo>
                    <a:lnTo>
                      <a:pt x="59" y="234"/>
                    </a:lnTo>
                    <a:lnTo>
                      <a:pt x="59" y="232"/>
                    </a:lnTo>
                    <a:lnTo>
                      <a:pt x="59" y="229"/>
                    </a:lnTo>
                    <a:lnTo>
                      <a:pt x="59" y="229"/>
                    </a:lnTo>
                    <a:lnTo>
                      <a:pt x="59" y="227"/>
                    </a:lnTo>
                    <a:lnTo>
                      <a:pt x="57" y="227"/>
                    </a:lnTo>
                    <a:lnTo>
                      <a:pt x="59" y="225"/>
                    </a:lnTo>
                    <a:lnTo>
                      <a:pt x="57" y="225"/>
                    </a:lnTo>
                    <a:lnTo>
                      <a:pt x="57" y="222"/>
                    </a:lnTo>
                    <a:lnTo>
                      <a:pt x="57" y="222"/>
                    </a:lnTo>
                    <a:lnTo>
                      <a:pt x="57" y="222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7" y="217"/>
                    </a:lnTo>
                    <a:lnTo>
                      <a:pt x="55" y="220"/>
                    </a:lnTo>
                    <a:lnTo>
                      <a:pt x="55" y="217"/>
                    </a:lnTo>
                    <a:lnTo>
                      <a:pt x="55" y="220"/>
                    </a:lnTo>
                    <a:lnTo>
                      <a:pt x="52" y="215"/>
                    </a:lnTo>
                    <a:lnTo>
                      <a:pt x="50" y="217"/>
                    </a:lnTo>
                    <a:lnTo>
                      <a:pt x="50" y="217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45" y="220"/>
                    </a:lnTo>
                    <a:lnTo>
                      <a:pt x="47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3" y="222"/>
                    </a:lnTo>
                    <a:lnTo>
                      <a:pt x="43" y="222"/>
                    </a:lnTo>
                    <a:lnTo>
                      <a:pt x="40" y="222"/>
                    </a:lnTo>
                    <a:lnTo>
                      <a:pt x="38" y="222"/>
                    </a:lnTo>
                    <a:lnTo>
                      <a:pt x="36" y="222"/>
                    </a:lnTo>
                    <a:lnTo>
                      <a:pt x="36" y="225"/>
                    </a:lnTo>
                    <a:lnTo>
                      <a:pt x="36" y="225"/>
                    </a:lnTo>
                    <a:lnTo>
                      <a:pt x="31" y="225"/>
                    </a:lnTo>
                    <a:lnTo>
                      <a:pt x="31" y="227"/>
                    </a:lnTo>
                    <a:lnTo>
                      <a:pt x="29" y="225"/>
                    </a:lnTo>
                    <a:lnTo>
                      <a:pt x="26" y="227"/>
                    </a:lnTo>
                    <a:lnTo>
                      <a:pt x="24" y="225"/>
                    </a:lnTo>
                    <a:lnTo>
                      <a:pt x="24" y="227"/>
                    </a:lnTo>
                    <a:lnTo>
                      <a:pt x="24" y="225"/>
                    </a:lnTo>
                    <a:lnTo>
                      <a:pt x="24" y="227"/>
                    </a:lnTo>
                    <a:lnTo>
                      <a:pt x="21" y="227"/>
                    </a:lnTo>
                    <a:lnTo>
                      <a:pt x="21" y="225"/>
                    </a:lnTo>
                    <a:lnTo>
                      <a:pt x="19" y="225"/>
                    </a:lnTo>
                    <a:lnTo>
                      <a:pt x="19" y="222"/>
                    </a:lnTo>
                    <a:lnTo>
                      <a:pt x="19" y="220"/>
                    </a:lnTo>
                    <a:lnTo>
                      <a:pt x="19" y="220"/>
                    </a:lnTo>
                    <a:lnTo>
                      <a:pt x="19" y="217"/>
                    </a:lnTo>
                    <a:lnTo>
                      <a:pt x="14" y="217"/>
                    </a:lnTo>
                    <a:lnTo>
                      <a:pt x="14" y="215"/>
                    </a:lnTo>
                    <a:lnTo>
                      <a:pt x="14" y="215"/>
                    </a:lnTo>
                    <a:lnTo>
                      <a:pt x="14" y="215"/>
                    </a:lnTo>
                    <a:lnTo>
                      <a:pt x="12" y="213"/>
                    </a:lnTo>
                    <a:lnTo>
                      <a:pt x="12" y="213"/>
                    </a:lnTo>
                    <a:lnTo>
                      <a:pt x="10" y="210"/>
                    </a:lnTo>
                    <a:lnTo>
                      <a:pt x="10" y="210"/>
                    </a:lnTo>
                    <a:lnTo>
                      <a:pt x="7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7" y="206"/>
                    </a:lnTo>
                    <a:lnTo>
                      <a:pt x="7" y="203"/>
                    </a:lnTo>
                    <a:lnTo>
                      <a:pt x="7" y="203"/>
                    </a:lnTo>
                    <a:lnTo>
                      <a:pt x="10" y="203"/>
                    </a:lnTo>
                    <a:lnTo>
                      <a:pt x="12" y="203"/>
                    </a:lnTo>
                    <a:lnTo>
                      <a:pt x="14" y="201"/>
                    </a:lnTo>
                    <a:lnTo>
                      <a:pt x="14" y="201"/>
                    </a:lnTo>
                    <a:lnTo>
                      <a:pt x="14" y="201"/>
                    </a:lnTo>
                    <a:lnTo>
                      <a:pt x="14" y="199"/>
                    </a:lnTo>
                    <a:lnTo>
                      <a:pt x="14" y="199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4" y="194"/>
                    </a:lnTo>
                    <a:lnTo>
                      <a:pt x="14" y="194"/>
                    </a:lnTo>
                    <a:lnTo>
                      <a:pt x="17" y="191"/>
                    </a:lnTo>
                    <a:lnTo>
                      <a:pt x="17" y="189"/>
                    </a:lnTo>
                    <a:lnTo>
                      <a:pt x="14" y="189"/>
                    </a:lnTo>
                    <a:lnTo>
                      <a:pt x="14" y="187"/>
                    </a:lnTo>
                    <a:lnTo>
                      <a:pt x="21" y="187"/>
                    </a:lnTo>
                    <a:lnTo>
                      <a:pt x="21" y="187"/>
                    </a:lnTo>
                    <a:lnTo>
                      <a:pt x="21" y="184"/>
                    </a:lnTo>
                    <a:lnTo>
                      <a:pt x="21" y="184"/>
                    </a:lnTo>
                    <a:lnTo>
                      <a:pt x="24" y="184"/>
                    </a:lnTo>
                    <a:lnTo>
                      <a:pt x="24" y="182"/>
                    </a:lnTo>
                    <a:lnTo>
                      <a:pt x="21" y="182"/>
                    </a:lnTo>
                    <a:lnTo>
                      <a:pt x="21" y="180"/>
                    </a:lnTo>
                    <a:lnTo>
                      <a:pt x="24" y="180"/>
                    </a:lnTo>
                    <a:lnTo>
                      <a:pt x="24" y="177"/>
                    </a:lnTo>
                    <a:lnTo>
                      <a:pt x="26" y="175"/>
                    </a:lnTo>
                    <a:lnTo>
                      <a:pt x="29" y="173"/>
                    </a:lnTo>
                    <a:lnTo>
                      <a:pt x="29" y="170"/>
                    </a:lnTo>
                    <a:lnTo>
                      <a:pt x="29" y="170"/>
                    </a:lnTo>
                    <a:lnTo>
                      <a:pt x="29" y="168"/>
                    </a:lnTo>
                    <a:lnTo>
                      <a:pt x="29" y="168"/>
                    </a:lnTo>
                    <a:lnTo>
                      <a:pt x="29" y="165"/>
                    </a:lnTo>
                    <a:lnTo>
                      <a:pt x="29" y="163"/>
                    </a:lnTo>
                    <a:lnTo>
                      <a:pt x="29" y="161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9" y="158"/>
                    </a:lnTo>
                    <a:lnTo>
                      <a:pt x="26" y="158"/>
                    </a:lnTo>
                    <a:lnTo>
                      <a:pt x="24" y="161"/>
                    </a:lnTo>
                    <a:lnTo>
                      <a:pt x="21" y="158"/>
                    </a:lnTo>
                    <a:lnTo>
                      <a:pt x="21" y="158"/>
                    </a:lnTo>
                    <a:lnTo>
                      <a:pt x="19" y="158"/>
                    </a:lnTo>
                    <a:lnTo>
                      <a:pt x="19" y="156"/>
                    </a:lnTo>
                    <a:lnTo>
                      <a:pt x="19" y="156"/>
                    </a:lnTo>
                    <a:lnTo>
                      <a:pt x="19" y="154"/>
                    </a:lnTo>
                    <a:lnTo>
                      <a:pt x="19" y="151"/>
                    </a:lnTo>
                    <a:lnTo>
                      <a:pt x="17" y="151"/>
                    </a:lnTo>
                    <a:lnTo>
                      <a:pt x="14" y="151"/>
                    </a:lnTo>
                    <a:lnTo>
                      <a:pt x="12" y="151"/>
                    </a:lnTo>
                    <a:lnTo>
                      <a:pt x="10" y="151"/>
                    </a:lnTo>
                    <a:lnTo>
                      <a:pt x="10" y="151"/>
                    </a:lnTo>
                    <a:lnTo>
                      <a:pt x="12" y="149"/>
                    </a:lnTo>
                    <a:lnTo>
                      <a:pt x="10" y="149"/>
                    </a:lnTo>
                    <a:lnTo>
                      <a:pt x="12" y="149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2" y="142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2" y="137"/>
                    </a:lnTo>
                    <a:lnTo>
                      <a:pt x="12" y="137"/>
                    </a:lnTo>
                    <a:lnTo>
                      <a:pt x="12" y="137"/>
                    </a:lnTo>
                    <a:lnTo>
                      <a:pt x="12" y="135"/>
                    </a:lnTo>
                    <a:lnTo>
                      <a:pt x="12" y="132"/>
                    </a:lnTo>
                    <a:lnTo>
                      <a:pt x="10" y="132"/>
                    </a:lnTo>
                    <a:lnTo>
                      <a:pt x="10" y="130"/>
                    </a:lnTo>
                    <a:lnTo>
                      <a:pt x="7" y="130"/>
                    </a:lnTo>
                    <a:lnTo>
                      <a:pt x="5" y="130"/>
                    </a:lnTo>
                    <a:lnTo>
                      <a:pt x="5" y="130"/>
                    </a:lnTo>
                    <a:lnTo>
                      <a:pt x="3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5"/>
                    </a:lnTo>
                    <a:lnTo>
                      <a:pt x="3" y="125"/>
                    </a:lnTo>
                    <a:lnTo>
                      <a:pt x="3" y="123"/>
                    </a:lnTo>
                    <a:lnTo>
                      <a:pt x="3" y="123"/>
                    </a:lnTo>
                    <a:lnTo>
                      <a:pt x="3" y="123"/>
                    </a:lnTo>
                    <a:lnTo>
                      <a:pt x="3" y="123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21"/>
                    </a:lnTo>
                    <a:lnTo>
                      <a:pt x="0" y="118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6" name="Freeform 27"/>
              <p:cNvSpPr>
                <a:spLocks/>
              </p:cNvSpPr>
              <p:nvPr/>
            </p:nvSpPr>
            <p:spPr bwMode="auto">
              <a:xfrm>
                <a:off x="6123684" y="2845429"/>
                <a:ext cx="880882" cy="306024"/>
              </a:xfrm>
              <a:custGeom>
                <a:avLst/>
                <a:gdLst/>
                <a:ahLst/>
                <a:cxnLst>
                  <a:cxn ang="0">
                    <a:pos x="33" y="163"/>
                  </a:cxn>
                  <a:cxn ang="0">
                    <a:pos x="59" y="142"/>
                  </a:cxn>
                  <a:cxn ang="0">
                    <a:pos x="82" y="121"/>
                  </a:cxn>
                  <a:cxn ang="0">
                    <a:pos x="101" y="73"/>
                  </a:cxn>
                  <a:cxn ang="0">
                    <a:pos x="108" y="14"/>
                  </a:cxn>
                  <a:cxn ang="0">
                    <a:pos x="210" y="5"/>
                  </a:cxn>
                  <a:cxn ang="0">
                    <a:pos x="257" y="36"/>
                  </a:cxn>
                  <a:cxn ang="0">
                    <a:pos x="276" y="59"/>
                  </a:cxn>
                  <a:cxn ang="0">
                    <a:pos x="305" y="71"/>
                  </a:cxn>
                  <a:cxn ang="0">
                    <a:pos x="321" y="52"/>
                  </a:cxn>
                  <a:cxn ang="0">
                    <a:pos x="347" y="54"/>
                  </a:cxn>
                  <a:cxn ang="0">
                    <a:pos x="373" y="57"/>
                  </a:cxn>
                  <a:cxn ang="0">
                    <a:pos x="392" y="73"/>
                  </a:cxn>
                  <a:cxn ang="0">
                    <a:pos x="423" y="64"/>
                  </a:cxn>
                  <a:cxn ang="0">
                    <a:pos x="451" y="47"/>
                  </a:cxn>
                  <a:cxn ang="0">
                    <a:pos x="470" y="33"/>
                  </a:cxn>
                  <a:cxn ang="0">
                    <a:pos x="498" y="12"/>
                  </a:cxn>
                  <a:cxn ang="0">
                    <a:pos x="538" y="12"/>
                  </a:cxn>
                  <a:cxn ang="0">
                    <a:pos x="546" y="31"/>
                  </a:cxn>
                  <a:cxn ang="0">
                    <a:pos x="531" y="69"/>
                  </a:cxn>
                  <a:cxn ang="0">
                    <a:pos x="512" y="85"/>
                  </a:cxn>
                  <a:cxn ang="0">
                    <a:pos x="527" y="92"/>
                  </a:cxn>
                  <a:cxn ang="0">
                    <a:pos x="536" y="123"/>
                  </a:cxn>
                  <a:cxn ang="0">
                    <a:pos x="588" y="118"/>
                  </a:cxn>
                  <a:cxn ang="0">
                    <a:pos x="605" y="90"/>
                  </a:cxn>
                  <a:cxn ang="0">
                    <a:pos x="628" y="71"/>
                  </a:cxn>
                  <a:cxn ang="0">
                    <a:pos x="673" y="69"/>
                  </a:cxn>
                  <a:cxn ang="0">
                    <a:pos x="711" y="59"/>
                  </a:cxn>
                  <a:cxn ang="0">
                    <a:pos x="739" y="43"/>
                  </a:cxn>
                  <a:cxn ang="0">
                    <a:pos x="760" y="21"/>
                  </a:cxn>
                  <a:cxn ang="0">
                    <a:pos x="796" y="17"/>
                  </a:cxn>
                  <a:cxn ang="0">
                    <a:pos x="827" y="36"/>
                  </a:cxn>
                  <a:cxn ang="0">
                    <a:pos x="827" y="76"/>
                  </a:cxn>
                  <a:cxn ang="0">
                    <a:pos x="812" y="140"/>
                  </a:cxn>
                  <a:cxn ang="0">
                    <a:pos x="801" y="175"/>
                  </a:cxn>
                  <a:cxn ang="0">
                    <a:pos x="779" y="213"/>
                  </a:cxn>
                  <a:cxn ang="0">
                    <a:pos x="742" y="203"/>
                  </a:cxn>
                  <a:cxn ang="0">
                    <a:pos x="716" y="215"/>
                  </a:cxn>
                  <a:cxn ang="0">
                    <a:pos x="690" y="208"/>
                  </a:cxn>
                  <a:cxn ang="0">
                    <a:pos x="661" y="232"/>
                  </a:cxn>
                  <a:cxn ang="0">
                    <a:pos x="647" y="248"/>
                  </a:cxn>
                  <a:cxn ang="0">
                    <a:pos x="626" y="255"/>
                  </a:cxn>
                  <a:cxn ang="0">
                    <a:pos x="602" y="272"/>
                  </a:cxn>
                  <a:cxn ang="0">
                    <a:pos x="564" y="262"/>
                  </a:cxn>
                  <a:cxn ang="0">
                    <a:pos x="534" y="260"/>
                  </a:cxn>
                  <a:cxn ang="0">
                    <a:pos x="510" y="236"/>
                  </a:cxn>
                  <a:cxn ang="0">
                    <a:pos x="468" y="225"/>
                  </a:cxn>
                  <a:cxn ang="0">
                    <a:pos x="446" y="213"/>
                  </a:cxn>
                  <a:cxn ang="0">
                    <a:pos x="423" y="246"/>
                  </a:cxn>
                  <a:cxn ang="0">
                    <a:pos x="385" y="239"/>
                  </a:cxn>
                  <a:cxn ang="0">
                    <a:pos x="364" y="213"/>
                  </a:cxn>
                  <a:cxn ang="0">
                    <a:pos x="316" y="199"/>
                  </a:cxn>
                  <a:cxn ang="0">
                    <a:pos x="269" y="187"/>
                  </a:cxn>
                  <a:cxn ang="0">
                    <a:pos x="243" y="168"/>
                  </a:cxn>
                  <a:cxn ang="0">
                    <a:pos x="210" y="199"/>
                  </a:cxn>
                  <a:cxn ang="0">
                    <a:pos x="156" y="241"/>
                  </a:cxn>
                  <a:cxn ang="0">
                    <a:pos x="118" y="272"/>
                  </a:cxn>
                  <a:cxn ang="0">
                    <a:pos x="75" y="279"/>
                  </a:cxn>
                  <a:cxn ang="0">
                    <a:pos x="85" y="251"/>
                  </a:cxn>
                  <a:cxn ang="0">
                    <a:pos x="66" y="227"/>
                  </a:cxn>
                  <a:cxn ang="0">
                    <a:pos x="38" y="199"/>
                  </a:cxn>
                  <a:cxn ang="0">
                    <a:pos x="14" y="189"/>
                  </a:cxn>
                </a:cxnLst>
                <a:rect l="0" t="0" r="r" b="b"/>
                <a:pathLst>
                  <a:path w="829" h="288">
                    <a:moveTo>
                      <a:pt x="0" y="187"/>
                    </a:moveTo>
                    <a:lnTo>
                      <a:pt x="2" y="187"/>
                    </a:lnTo>
                    <a:lnTo>
                      <a:pt x="5" y="187"/>
                    </a:lnTo>
                    <a:lnTo>
                      <a:pt x="7" y="184"/>
                    </a:lnTo>
                    <a:lnTo>
                      <a:pt x="9" y="182"/>
                    </a:lnTo>
                    <a:lnTo>
                      <a:pt x="12" y="182"/>
                    </a:lnTo>
                    <a:lnTo>
                      <a:pt x="14" y="180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9" y="177"/>
                    </a:lnTo>
                    <a:lnTo>
                      <a:pt x="19" y="175"/>
                    </a:lnTo>
                    <a:lnTo>
                      <a:pt x="19" y="173"/>
                    </a:lnTo>
                    <a:lnTo>
                      <a:pt x="19" y="173"/>
                    </a:lnTo>
                    <a:lnTo>
                      <a:pt x="19" y="173"/>
                    </a:lnTo>
                    <a:lnTo>
                      <a:pt x="21" y="173"/>
                    </a:lnTo>
                    <a:lnTo>
                      <a:pt x="23" y="173"/>
                    </a:lnTo>
                    <a:lnTo>
                      <a:pt x="23" y="170"/>
                    </a:lnTo>
                    <a:lnTo>
                      <a:pt x="23" y="170"/>
                    </a:lnTo>
                    <a:lnTo>
                      <a:pt x="26" y="168"/>
                    </a:lnTo>
                    <a:lnTo>
                      <a:pt x="26" y="165"/>
                    </a:lnTo>
                    <a:lnTo>
                      <a:pt x="28" y="165"/>
                    </a:lnTo>
                    <a:lnTo>
                      <a:pt x="28" y="165"/>
                    </a:lnTo>
                    <a:lnTo>
                      <a:pt x="28" y="165"/>
                    </a:lnTo>
                    <a:lnTo>
                      <a:pt x="31" y="165"/>
                    </a:lnTo>
                    <a:lnTo>
                      <a:pt x="33" y="163"/>
                    </a:lnTo>
                    <a:lnTo>
                      <a:pt x="33" y="163"/>
                    </a:lnTo>
                    <a:lnTo>
                      <a:pt x="33" y="163"/>
                    </a:lnTo>
                    <a:lnTo>
                      <a:pt x="35" y="161"/>
                    </a:lnTo>
                    <a:lnTo>
                      <a:pt x="35" y="158"/>
                    </a:lnTo>
                    <a:lnTo>
                      <a:pt x="38" y="158"/>
                    </a:lnTo>
                    <a:lnTo>
                      <a:pt x="38" y="154"/>
                    </a:lnTo>
                    <a:lnTo>
                      <a:pt x="40" y="151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7" y="147"/>
                    </a:lnTo>
                    <a:lnTo>
                      <a:pt x="49" y="149"/>
                    </a:lnTo>
                    <a:lnTo>
                      <a:pt x="49" y="149"/>
                    </a:lnTo>
                    <a:lnTo>
                      <a:pt x="49" y="151"/>
                    </a:lnTo>
                    <a:lnTo>
                      <a:pt x="52" y="151"/>
                    </a:lnTo>
                    <a:lnTo>
                      <a:pt x="54" y="154"/>
                    </a:lnTo>
                    <a:lnTo>
                      <a:pt x="57" y="151"/>
                    </a:lnTo>
                    <a:lnTo>
                      <a:pt x="57" y="151"/>
                    </a:lnTo>
                    <a:lnTo>
                      <a:pt x="57" y="149"/>
                    </a:lnTo>
                    <a:lnTo>
                      <a:pt x="57" y="147"/>
                    </a:lnTo>
                    <a:lnTo>
                      <a:pt x="57" y="147"/>
                    </a:lnTo>
                    <a:lnTo>
                      <a:pt x="59" y="147"/>
                    </a:lnTo>
                    <a:lnTo>
                      <a:pt x="59" y="144"/>
                    </a:lnTo>
                    <a:lnTo>
                      <a:pt x="57" y="144"/>
                    </a:lnTo>
                    <a:lnTo>
                      <a:pt x="59" y="142"/>
                    </a:lnTo>
                    <a:lnTo>
                      <a:pt x="61" y="142"/>
                    </a:lnTo>
                    <a:lnTo>
                      <a:pt x="61" y="142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6" y="144"/>
                    </a:lnTo>
                    <a:lnTo>
                      <a:pt x="68" y="142"/>
                    </a:lnTo>
                    <a:lnTo>
                      <a:pt x="66" y="140"/>
                    </a:lnTo>
                    <a:lnTo>
                      <a:pt x="68" y="140"/>
                    </a:lnTo>
                    <a:lnTo>
                      <a:pt x="68" y="137"/>
                    </a:lnTo>
                    <a:lnTo>
                      <a:pt x="71" y="137"/>
                    </a:lnTo>
                    <a:lnTo>
                      <a:pt x="71" y="135"/>
                    </a:lnTo>
                    <a:lnTo>
                      <a:pt x="73" y="135"/>
                    </a:lnTo>
                    <a:lnTo>
                      <a:pt x="73" y="135"/>
                    </a:lnTo>
                    <a:lnTo>
                      <a:pt x="73" y="132"/>
                    </a:lnTo>
                    <a:lnTo>
                      <a:pt x="73" y="132"/>
                    </a:lnTo>
                    <a:lnTo>
                      <a:pt x="73" y="130"/>
                    </a:lnTo>
                    <a:lnTo>
                      <a:pt x="73" y="128"/>
                    </a:lnTo>
                    <a:lnTo>
                      <a:pt x="75" y="128"/>
                    </a:lnTo>
                    <a:lnTo>
                      <a:pt x="78" y="125"/>
                    </a:lnTo>
                    <a:lnTo>
                      <a:pt x="78" y="125"/>
                    </a:lnTo>
                    <a:lnTo>
                      <a:pt x="80" y="125"/>
                    </a:lnTo>
                    <a:lnTo>
                      <a:pt x="82" y="125"/>
                    </a:lnTo>
                    <a:lnTo>
                      <a:pt x="82" y="123"/>
                    </a:lnTo>
                    <a:lnTo>
                      <a:pt x="82" y="123"/>
                    </a:lnTo>
                    <a:lnTo>
                      <a:pt x="82" y="121"/>
                    </a:lnTo>
                    <a:lnTo>
                      <a:pt x="85" y="121"/>
                    </a:lnTo>
                    <a:lnTo>
                      <a:pt x="85" y="121"/>
                    </a:lnTo>
                    <a:lnTo>
                      <a:pt x="87" y="118"/>
                    </a:lnTo>
                    <a:lnTo>
                      <a:pt x="87" y="116"/>
                    </a:lnTo>
                    <a:lnTo>
                      <a:pt x="87" y="116"/>
                    </a:lnTo>
                    <a:lnTo>
                      <a:pt x="90" y="116"/>
                    </a:lnTo>
                    <a:lnTo>
                      <a:pt x="90" y="116"/>
                    </a:lnTo>
                    <a:lnTo>
                      <a:pt x="90" y="114"/>
                    </a:lnTo>
                    <a:lnTo>
                      <a:pt x="92" y="114"/>
                    </a:lnTo>
                    <a:lnTo>
                      <a:pt x="94" y="116"/>
                    </a:lnTo>
                    <a:lnTo>
                      <a:pt x="94" y="114"/>
                    </a:lnTo>
                    <a:lnTo>
                      <a:pt x="97" y="114"/>
                    </a:lnTo>
                    <a:lnTo>
                      <a:pt x="97" y="111"/>
                    </a:lnTo>
                    <a:lnTo>
                      <a:pt x="94" y="111"/>
                    </a:lnTo>
                    <a:lnTo>
                      <a:pt x="94" y="109"/>
                    </a:lnTo>
                    <a:lnTo>
                      <a:pt x="94" y="106"/>
                    </a:lnTo>
                    <a:lnTo>
                      <a:pt x="97" y="102"/>
                    </a:lnTo>
                    <a:lnTo>
                      <a:pt x="99" y="99"/>
                    </a:lnTo>
                    <a:lnTo>
                      <a:pt x="101" y="90"/>
                    </a:lnTo>
                    <a:lnTo>
                      <a:pt x="101" y="90"/>
                    </a:lnTo>
                    <a:lnTo>
                      <a:pt x="101" y="88"/>
                    </a:lnTo>
                    <a:lnTo>
                      <a:pt x="104" y="78"/>
                    </a:lnTo>
                    <a:lnTo>
                      <a:pt x="104" y="76"/>
                    </a:lnTo>
                    <a:lnTo>
                      <a:pt x="101" y="73"/>
                    </a:lnTo>
                    <a:lnTo>
                      <a:pt x="101" y="73"/>
                    </a:lnTo>
                    <a:lnTo>
                      <a:pt x="101" y="71"/>
                    </a:lnTo>
                    <a:lnTo>
                      <a:pt x="99" y="71"/>
                    </a:lnTo>
                    <a:lnTo>
                      <a:pt x="99" y="71"/>
                    </a:lnTo>
                    <a:lnTo>
                      <a:pt x="92" y="69"/>
                    </a:lnTo>
                    <a:lnTo>
                      <a:pt x="90" y="66"/>
                    </a:lnTo>
                    <a:lnTo>
                      <a:pt x="85" y="64"/>
                    </a:lnTo>
                    <a:lnTo>
                      <a:pt x="85" y="59"/>
                    </a:lnTo>
                    <a:lnTo>
                      <a:pt x="87" y="54"/>
                    </a:lnTo>
                    <a:lnTo>
                      <a:pt x="90" y="50"/>
                    </a:lnTo>
                    <a:lnTo>
                      <a:pt x="90" y="47"/>
                    </a:lnTo>
                    <a:lnTo>
                      <a:pt x="90" y="45"/>
                    </a:lnTo>
                    <a:lnTo>
                      <a:pt x="90" y="43"/>
                    </a:lnTo>
                    <a:lnTo>
                      <a:pt x="90" y="43"/>
                    </a:lnTo>
                    <a:lnTo>
                      <a:pt x="90" y="43"/>
                    </a:lnTo>
                    <a:lnTo>
                      <a:pt x="90" y="40"/>
                    </a:lnTo>
                    <a:lnTo>
                      <a:pt x="85" y="36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80" y="26"/>
                    </a:lnTo>
                    <a:lnTo>
                      <a:pt x="82" y="24"/>
                    </a:lnTo>
                    <a:lnTo>
                      <a:pt x="85" y="24"/>
                    </a:lnTo>
                    <a:lnTo>
                      <a:pt x="87" y="24"/>
                    </a:lnTo>
                    <a:lnTo>
                      <a:pt x="90" y="21"/>
                    </a:lnTo>
                    <a:lnTo>
                      <a:pt x="101" y="17"/>
                    </a:lnTo>
                    <a:lnTo>
                      <a:pt x="108" y="14"/>
                    </a:lnTo>
                    <a:lnTo>
                      <a:pt x="118" y="14"/>
                    </a:lnTo>
                    <a:lnTo>
                      <a:pt x="125" y="14"/>
                    </a:lnTo>
                    <a:lnTo>
                      <a:pt x="130" y="14"/>
                    </a:lnTo>
                    <a:lnTo>
                      <a:pt x="134" y="14"/>
                    </a:lnTo>
                    <a:lnTo>
                      <a:pt x="137" y="14"/>
                    </a:lnTo>
                    <a:lnTo>
                      <a:pt x="137" y="17"/>
                    </a:lnTo>
                    <a:lnTo>
                      <a:pt x="139" y="21"/>
                    </a:lnTo>
                    <a:lnTo>
                      <a:pt x="153" y="19"/>
                    </a:lnTo>
                    <a:lnTo>
                      <a:pt x="163" y="17"/>
                    </a:lnTo>
                    <a:lnTo>
                      <a:pt x="168" y="17"/>
                    </a:lnTo>
                    <a:lnTo>
                      <a:pt x="170" y="14"/>
                    </a:lnTo>
                    <a:lnTo>
                      <a:pt x="175" y="17"/>
                    </a:lnTo>
                    <a:lnTo>
                      <a:pt x="177" y="14"/>
                    </a:lnTo>
                    <a:lnTo>
                      <a:pt x="182" y="7"/>
                    </a:lnTo>
                    <a:lnTo>
                      <a:pt x="184" y="7"/>
                    </a:lnTo>
                    <a:lnTo>
                      <a:pt x="184" y="10"/>
                    </a:lnTo>
                    <a:lnTo>
                      <a:pt x="189" y="7"/>
                    </a:lnTo>
                    <a:lnTo>
                      <a:pt x="191" y="7"/>
                    </a:lnTo>
                    <a:lnTo>
                      <a:pt x="194" y="7"/>
                    </a:lnTo>
                    <a:lnTo>
                      <a:pt x="194" y="7"/>
                    </a:lnTo>
                    <a:lnTo>
                      <a:pt x="196" y="7"/>
                    </a:lnTo>
                    <a:lnTo>
                      <a:pt x="198" y="7"/>
                    </a:lnTo>
                    <a:lnTo>
                      <a:pt x="203" y="7"/>
                    </a:lnTo>
                    <a:lnTo>
                      <a:pt x="208" y="5"/>
                    </a:lnTo>
                    <a:lnTo>
                      <a:pt x="210" y="5"/>
                    </a:lnTo>
                    <a:lnTo>
                      <a:pt x="212" y="5"/>
                    </a:lnTo>
                    <a:lnTo>
                      <a:pt x="215" y="5"/>
                    </a:lnTo>
                    <a:lnTo>
                      <a:pt x="217" y="7"/>
                    </a:lnTo>
                    <a:lnTo>
                      <a:pt x="220" y="7"/>
                    </a:lnTo>
                    <a:lnTo>
                      <a:pt x="222" y="7"/>
                    </a:lnTo>
                    <a:lnTo>
                      <a:pt x="222" y="10"/>
                    </a:lnTo>
                    <a:lnTo>
                      <a:pt x="222" y="10"/>
                    </a:lnTo>
                    <a:lnTo>
                      <a:pt x="224" y="12"/>
                    </a:lnTo>
                    <a:lnTo>
                      <a:pt x="227" y="14"/>
                    </a:lnTo>
                    <a:lnTo>
                      <a:pt x="229" y="14"/>
                    </a:lnTo>
                    <a:lnTo>
                      <a:pt x="231" y="19"/>
                    </a:lnTo>
                    <a:lnTo>
                      <a:pt x="234" y="19"/>
                    </a:lnTo>
                    <a:lnTo>
                      <a:pt x="236" y="19"/>
                    </a:lnTo>
                    <a:lnTo>
                      <a:pt x="236" y="21"/>
                    </a:lnTo>
                    <a:lnTo>
                      <a:pt x="238" y="24"/>
                    </a:lnTo>
                    <a:lnTo>
                      <a:pt x="241" y="24"/>
                    </a:lnTo>
                    <a:lnTo>
                      <a:pt x="241" y="24"/>
                    </a:lnTo>
                    <a:lnTo>
                      <a:pt x="245" y="26"/>
                    </a:lnTo>
                    <a:lnTo>
                      <a:pt x="248" y="26"/>
                    </a:lnTo>
                    <a:lnTo>
                      <a:pt x="248" y="26"/>
                    </a:lnTo>
                    <a:lnTo>
                      <a:pt x="250" y="28"/>
                    </a:lnTo>
                    <a:lnTo>
                      <a:pt x="253" y="31"/>
                    </a:lnTo>
                    <a:lnTo>
                      <a:pt x="257" y="33"/>
                    </a:lnTo>
                    <a:lnTo>
                      <a:pt x="257" y="36"/>
                    </a:lnTo>
                    <a:lnTo>
                      <a:pt x="257" y="36"/>
                    </a:lnTo>
                    <a:lnTo>
                      <a:pt x="260" y="40"/>
                    </a:lnTo>
                    <a:lnTo>
                      <a:pt x="260" y="43"/>
                    </a:lnTo>
                    <a:lnTo>
                      <a:pt x="262" y="43"/>
                    </a:lnTo>
                    <a:lnTo>
                      <a:pt x="262" y="43"/>
                    </a:lnTo>
                    <a:lnTo>
                      <a:pt x="264" y="43"/>
                    </a:lnTo>
                    <a:lnTo>
                      <a:pt x="262" y="43"/>
                    </a:lnTo>
                    <a:lnTo>
                      <a:pt x="260" y="45"/>
                    </a:lnTo>
                    <a:lnTo>
                      <a:pt x="260" y="47"/>
                    </a:lnTo>
                    <a:lnTo>
                      <a:pt x="260" y="50"/>
                    </a:lnTo>
                    <a:lnTo>
                      <a:pt x="260" y="50"/>
                    </a:lnTo>
                    <a:lnTo>
                      <a:pt x="260" y="52"/>
                    </a:lnTo>
                    <a:lnTo>
                      <a:pt x="262" y="52"/>
                    </a:lnTo>
                    <a:lnTo>
                      <a:pt x="264" y="50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67" y="52"/>
                    </a:lnTo>
                    <a:lnTo>
                      <a:pt x="267" y="54"/>
                    </a:lnTo>
                    <a:lnTo>
                      <a:pt x="267" y="57"/>
                    </a:lnTo>
                    <a:lnTo>
                      <a:pt x="267" y="57"/>
                    </a:lnTo>
                    <a:lnTo>
                      <a:pt x="267" y="57"/>
                    </a:lnTo>
                    <a:lnTo>
                      <a:pt x="269" y="57"/>
                    </a:lnTo>
                    <a:lnTo>
                      <a:pt x="269" y="57"/>
                    </a:lnTo>
                    <a:lnTo>
                      <a:pt x="271" y="54"/>
                    </a:lnTo>
                    <a:lnTo>
                      <a:pt x="274" y="57"/>
                    </a:lnTo>
                    <a:lnTo>
                      <a:pt x="276" y="59"/>
                    </a:lnTo>
                    <a:lnTo>
                      <a:pt x="281" y="59"/>
                    </a:lnTo>
                    <a:lnTo>
                      <a:pt x="281" y="59"/>
                    </a:lnTo>
                    <a:lnTo>
                      <a:pt x="283" y="62"/>
                    </a:lnTo>
                    <a:lnTo>
                      <a:pt x="286" y="64"/>
                    </a:lnTo>
                    <a:lnTo>
                      <a:pt x="286" y="66"/>
                    </a:lnTo>
                    <a:lnTo>
                      <a:pt x="286" y="66"/>
                    </a:lnTo>
                    <a:lnTo>
                      <a:pt x="286" y="71"/>
                    </a:lnTo>
                    <a:lnTo>
                      <a:pt x="286" y="71"/>
                    </a:lnTo>
                    <a:lnTo>
                      <a:pt x="288" y="73"/>
                    </a:lnTo>
                    <a:lnTo>
                      <a:pt x="286" y="76"/>
                    </a:lnTo>
                    <a:lnTo>
                      <a:pt x="286" y="76"/>
                    </a:lnTo>
                    <a:lnTo>
                      <a:pt x="290" y="73"/>
                    </a:lnTo>
                    <a:lnTo>
                      <a:pt x="293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7" y="71"/>
                    </a:lnTo>
                    <a:lnTo>
                      <a:pt x="297" y="73"/>
                    </a:lnTo>
                    <a:lnTo>
                      <a:pt x="297" y="76"/>
                    </a:lnTo>
                    <a:lnTo>
                      <a:pt x="300" y="76"/>
                    </a:lnTo>
                    <a:lnTo>
                      <a:pt x="302" y="76"/>
                    </a:lnTo>
                    <a:lnTo>
                      <a:pt x="302" y="76"/>
                    </a:lnTo>
                    <a:lnTo>
                      <a:pt x="302" y="76"/>
                    </a:lnTo>
                    <a:lnTo>
                      <a:pt x="302" y="73"/>
                    </a:lnTo>
                    <a:lnTo>
                      <a:pt x="302" y="73"/>
                    </a:lnTo>
                    <a:lnTo>
                      <a:pt x="305" y="71"/>
                    </a:lnTo>
                    <a:lnTo>
                      <a:pt x="305" y="71"/>
                    </a:lnTo>
                    <a:lnTo>
                      <a:pt x="305" y="69"/>
                    </a:lnTo>
                    <a:lnTo>
                      <a:pt x="305" y="66"/>
                    </a:lnTo>
                    <a:lnTo>
                      <a:pt x="305" y="66"/>
                    </a:lnTo>
                    <a:lnTo>
                      <a:pt x="305" y="64"/>
                    </a:lnTo>
                    <a:lnTo>
                      <a:pt x="305" y="64"/>
                    </a:lnTo>
                    <a:lnTo>
                      <a:pt x="307" y="64"/>
                    </a:lnTo>
                    <a:lnTo>
                      <a:pt x="307" y="62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9" y="62"/>
                    </a:lnTo>
                    <a:lnTo>
                      <a:pt x="312" y="62"/>
                    </a:lnTo>
                    <a:lnTo>
                      <a:pt x="312" y="62"/>
                    </a:lnTo>
                    <a:lnTo>
                      <a:pt x="314" y="62"/>
                    </a:lnTo>
                    <a:lnTo>
                      <a:pt x="314" y="59"/>
                    </a:lnTo>
                    <a:lnTo>
                      <a:pt x="314" y="57"/>
                    </a:lnTo>
                    <a:lnTo>
                      <a:pt x="316" y="59"/>
                    </a:lnTo>
                    <a:lnTo>
                      <a:pt x="319" y="59"/>
                    </a:lnTo>
                    <a:lnTo>
                      <a:pt x="319" y="59"/>
                    </a:lnTo>
                    <a:lnTo>
                      <a:pt x="321" y="59"/>
                    </a:lnTo>
                    <a:lnTo>
                      <a:pt x="321" y="57"/>
                    </a:lnTo>
                    <a:lnTo>
                      <a:pt x="321" y="54"/>
                    </a:lnTo>
                    <a:lnTo>
                      <a:pt x="321" y="52"/>
                    </a:lnTo>
                    <a:lnTo>
                      <a:pt x="321" y="52"/>
                    </a:lnTo>
                    <a:lnTo>
                      <a:pt x="321" y="52"/>
                    </a:lnTo>
                    <a:lnTo>
                      <a:pt x="321" y="52"/>
                    </a:lnTo>
                    <a:lnTo>
                      <a:pt x="323" y="52"/>
                    </a:lnTo>
                    <a:lnTo>
                      <a:pt x="326" y="52"/>
                    </a:lnTo>
                    <a:lnTo>
                      <a:pt x="326" y="52"/>
                    </a:lnTo>
                    <a:lnTo>
                      <a:pt x="326" y="50"/>
                    </a:lnTo>
                    <a:lnTo>
                      <a:pt x="328" y="52"/>
                    </a:lnTo>
                    <a:lnTo>
                      <a:pt x="328" y="50"/>
                    </a:lnTo>
                    <a:lnTo>
                      <a:pt x="331" y="50"/>
                    </a:lnTo>
                    <a:lnTo>
                      <a:pt x="331" y="50"/>
                    </a:lnTo>
                    <a:lnTo>
                      <a:pt x="331" y="50"/>
                    </a:lnTo>
                    <a:lnTo>
                      <a:pt x="333" y="47"/>
                    </a:lnTo>
                    <a:lnTo>
                      <a:pt x="331" y="47"/>
                    </a:lnTo>
                    <a:lnTo>
                      <a:pt x="333" y="47"/>
                    </a:lnTo>
                    <a:lnTo>
                      <a:pt x="333" y="47"/>
                    </a:lnTo>
                    <a:lnTo>
                      <a:pt x="333" y="45"/>
                    </a:lnTo>
                    <a:lnTo>
                      <a:pt x="335" y="45"/>
                    </a:lnTo>
                    <a:lnTo>
                      <a:pt x="338" y="47"/>
                    </a:lnTo>
                    <a:lnTo>
                      <a:pt x="338" y="47"/>
                    </a:lnTo>
                    <a:lnTo>
                      <a:pt x="340" y="50"/>
                    </a:lnTo>
                    <a:lnTo>
                      <a:pt x="340" y="50"/>
                    </a:lnTo>
                    <a:lnTo>
                      <a:pt x="342" y="52"/>
                    </a:lnTo>
                    <a:lnTo>
                      <a:pt x="342" y="52"/>
                    </a:lnTo>
                    <a:lnTo>
                      <a:pt x="342" y="52"/>
                    </a:lnTo>
                    <a:lnTo>
                      <a:pt x="342" y="54"/>
                    </a:lnTo>
                    <a:lnTo>
                      <a:pt x="347" y="54"/>
                    </a:lnTo>
                    <a:lnTo>
                      <a:pt x="347" y="57"/>
                    </a:lnTo>
                    <a:lnTo>
                      <a:pt x="347" y="57"/>
                    </a:lnTo>
                    <a:lnTo>
                      <a:pt x="347" y="59"/>
                    </a:lnTo>
                    <a:lnTo>
                      <a:pt x="347" y="62"/>
                    </a:lnTo>
                    <a:lnTo>
                      <a:pt x="349" y="62"/>
                    </a:lnTo>
                    <a:lnTo>
                      <a:pt x="349" y="64"/>
                    </a:lnTo>
                    <a:lnTo>
                      <a:pt x="352" y="64"/>
                    </a:lnTo>
                    <a:lnTo>
                      <a:pt x="352" y="62"/>
                    </a:lnTo>
                    <a:lnTo>
                      <a:pt x="352" y="64"/>
                    </a:lnTo>
                    <a:lnTo>
                      <a:pt x="352" y="62"/>
                    </a:lnTo>
                    <a:lnTo>
                      <a:pt x="354" y="64"/>
                    </a:lnTo>
                    <a:lnTo>
                      <a:pt x="357" y="62"/>
                    </a:lnTo>
                    <a:lnTo>
                      <a:pt x="359" y="64"/>
                    </a:lnTo>
                    <a:lnTo>
                      <a:pt x="359" y="62"/>
                    </a:lnTo>
                    <a:lnTo>
                      <a:pt x="364" y="62"/>
                    </a:lnTo>
                    <a:lnTo>
                      <a:pt x="364" y="62"/>
                    </a:lnTo>
                    <a:lnTo>
                      <a:pt x="364" y="59"/>
                    </a:lnTo>
                    <a:lnTo>
                      <a:pt x="366" y="59"/>
                    </a:lnTo>
                    <a:lnTo>
                      <a:pt x="368" y="59"/>
                    </a:lnTo>
                    <a:lnTo>
                      <a:pt x="371" y="59"/>
                    </a:lnTo>
                    <a:lnTo>
                      <a:pt x="371" y="59"/>
                    </a:lnTo>
                    <a:lnTo>
                      <a:pt x="373" y="59"/>
                    </a:lnTo>
                    <a:lnTo>
                      <a:pt x="373" y="59"/>
                    </a:lnTo>
                    <a:lnTo>
                      <a:pt x="375" y="59"/>
                    </a:lnTo>
                    <a:lnTo>
                      <a:pt x="373" y="57"/>
                    </a:lnTo>
                    <a:lnTo>
                      <a:pt x="378" y="57"/>
                    </a:lnTo>
                    <a:lnTo>
                      <a:pt x="378" y="57"/>
                    </a:lnTo>
                    <a:lnTo>
                      <a:pt x="378" y="54"/>
                    </a:lnTo>
                    <a:lnTo>
                      <a:pt x="378" y="54"/>
                    </a:lnTo>
                    <a:lnTo>
                      <a:pt x="380" y="52"/>
                    </a:lnTo>
                    <a:lnTo>
                      <a:pt x="383" y="57"/>
                    </a:lnTo>
                    <a:lnTo>
                      <a:pt x="383" y="54"/>
                    </a:lnTo>
                    <a:lnTo>
                      <a:pt x="383" y="57"/>
                    </a:lnTo>
                    <a:lnTo>
                      <a:pt x="385" y="54"/>
                    </a:lnTo>
                    <a:lnTo>
                      <a:pt x="385" y="57"/>
                    </a:lnTo>
                    <a:lnTo>
                      <a:pt x="385" y="57"/>
                    </a:lnTo>
                    <a:lnTo>
                      <a:pt x="385" y="59"/>
                    </a:lnTo>
                    <a:lnTo>
                      <a:pt x="385" y="59"/>
                    </a:lnTo>
                    <a:lnTo>
                      <a:pt x="385" y="59"/>
                    </a:lnTo>
                    <a:lnTo>
                      <a:pt x="385" y="62"/>
                    </a:lnTo>
                    <a:lnTo>
                      <a:pt x="387" y="62"/>
                    </a:lnTo>
                    <a:lnTo>
                      <a:pt x="385" y="64"/>
                    </a:lnTo>
                    <a:lnTo>
                      <a:pt x="387" y="64"/>
                    </a:lnTo>
                    <a:lnTo>
                      <a:pt x="387" y="66"/>
                    </a:lnTo>
                    <a:lnTo>
                      <a:pt x="387" y="66"/>
                    </a:lnTo>
                    <a:lnTo>
                      <a:pt x="387" y="69"/>
                    </a:lnTo>
                    <a:lnTo>
                      <a:pt x="387" y="71"/>
                    </a:lnTo>
                    <a:lnTo>
                      <a:pt x="390" y="73"/>
                    </a:lnTo>
                    <a:lnTo>
                      <a:pt x="390" y="73"/>
                    </a:lnTo>
                    <a:lnTo>
                      <a:pt x="392" y="73"/>
                    </a:lnTo>
                    <a:lnTo>
                      <a:pt x="392" y="73"/>
                    </a:lnTo>
                    <a:lnTo>
                      <a:pt x="394" y="73"/>
                    </a:lnTo>
                    <a:lnTo>
                      <a:pt x="394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9" y="71"/>
                    </a:lnTo>
                    <a:lnTo>
                      <a:pt x="401" y="69"/>
                    </a:lnTo>
                    <a:lnTo>
                      <a:pt x="404" y="69"/>
                    </a:lnTo>
                    <a:lnTo>
                      <a:pt x="404" y="66"/>
                    </a:lnTo>
                    <a:lnTo>
                      <a:pt x="406" y="66"/>
                    </a:lnTo>
                    <a:lnTo>
                      <a:pt x="406" y="66"/>
                    </a:lnTo>
                    <a:lnTo>
                      <a:pt x="408" y="69"/>
                    </a:lnTo>
                    <a:lnTo>
                      <a:pt x="408" y="69"/>
                    </a:lnTo>
                    <a:lnTo>
                      <a:pt x="411" y="71"/>
                    </a:lnTo>
                    <a:lnTo>
                      <a:pt x="411" y="71"/>
                    </a:lnTo>
                    <a:lnTo>
                      <a:pt x="411" y="71"/>
                    </a:lnTo>
                    <a:lnTo>
                      <a:pt x="416" y="73"/>
                    </a:lnTo>
                    <a:lnTo>
                      <a:pt x="416" y="71"/>
                    </a:lnTo>
                    <a:lnTo>
                      <a:pt x="416" y="71"/>
                    </a:lnTo>
                    <a:lnTo>
                      <a:pt x="416" y="69"/>
                    </a:lnTo>
                    <a:lnTo>
                      <a:pt x="416" y="69"/>
                    </a:lnTo>
                    <a:lnTo>
                      <a:pt x="416" y="66"/>
                    </a:lnTo>
                    <a:lnTo>
                      <a:pt x="416" y="66"/>
                    </a:lnTo>
                    <a:lnTo>
                      <a:pt x="420" y="62"/>
                    </a:lnTo>
                    <a:lnTo>
                      <a:pt x="423" y="64"/>
                    </a:lnTo>
                    <a:lnTo>
                      <a:pt x="425" y="64"/>
                    </a:lnTo>
                    <a:lnTo>
                      <a:pt x="425" y="66"/>
                    </a:lnTo>
                    <a:lnTo>
                      <a:pt x="425" y="66"/>
                    </a:lnTo>
                    <a:lnTo>
                      <a:pt x="425" y="66"/>
                    </a:lnTo>
                    <a:lnTo>
                      <a:pt x="427" y="66"/>
                    </a:lnTo>
                    <a:lnTo>
                      <a:pt x="430" y="66"/>
                    </a:lnTo>
                    <a:lnTo>
                      <a:pt x="430" y="66"/>
                    </a:lnTo>
                    <a:lnTo>
                      <a:pt x="430" y="64"/>
                    </a:lnTo>
                    <a:lnTo>
                      <a:pt x="432" y="64"/>
                    </a:lnTo>
                    <a:lnTo>
                      <a:pt x="432" y="62"/>
                    </a:lnTo>
                    <a:lnTo>
                      <a:pt x="434" y="59"/>
                    </a:lnTo>
                    <a:lnTo>
                      <a:pt x="434" y="57"/>
                    </a:lnTo>
                    <a:lnTo>
                      <a:pt x="437" y="57"/>
                    </a:lnTo>
                    <a:lnTo>
                      <a:pt x="439" y="57"/>
                    </a:lnTo>
                    <a:lnTo>
                      <a:pt x="439" y="57"/>
                    </a:lnTo>
                    <a:lnTo>
                      <a:pt x="439" y="57"/>
                    </a:lnTo>
                    <a:lnTo>
                      <a:pt x="437" y="57"/>
                    </a:lnTo>
                    <a:lnTo>
                      <a:pt x="439" y="54"/>
                    </a:lnTo>
                    <a:lnTo>
                      <a:pt x="439" y="54"/>
                    </a:lnTo>
                    <a:lnTo>
                      <a:pt x="442" y="50"/>
                    </a:lnTo>
                    <a:lnTo>
                      <a:pt x="444" y="50"/>
                    </a:lnTo>
                    <a:lnTo>
                      <a:pt x="444" y="50"/>
                    </a:lnTo>
                    <a:lnTo>
                      <a:pt x="449" y="50"/>
                    </a:lnTo>
                    <a:lnTo>
                      <a:pt x="451" y="47"/>
                    </a:lnTo>
                    <a:lnTo>
                      <a:pt x="451" y="47"/>
                    </a:lnTo>
                    <a:lnTo>
                      <a:pt x="453" y="47"/>
                    </a:lnTo>
                    <a:lnTo>
                      <a:pt x="453" y="47"/>
                    </a:lnTo>
                    <a:lnTo>
                      <a:pt x="453" y="50"/>
                    </a:lnTo>
                    <a:lnTo>
                      <a:pt x="456" y="50"/>
                    </a:lnTo>
                    <a:lnTo>
                      <a:pt x="456" y="50"/>
                    </a:lnTo>
                    <a:lnTo>
                      <a:pt x="456" y="52"/>
                    </a:lnTo>
                    <a:lnTo>
                      <a:pt x="456" y="52"/>
                    </a:lnTo>
                    <a:lnTo>
                      <a:pt x="458" y="50"/>
                    </a:lnTo>
                    <a:lnTo>
                      <a:pt x="458" y="50"/>
                    </a:lnTo>
                    <a:lnTo>
                      <a:pt x="458" y="47"/>
                    </a:lnTo>
                    <a:lnTo>
                      <a:pt x="456" y="47"/>
                    </a:lnTo>
                    <a:lnTo>
                      <a:pt x="456" y="47"/>
                    </a:lnTo>
                    <a:lnTo>
                      <a:pt x="456" y="45"/>
                    </a:lnTo>
                    <a:lnTo>
                      <a:pt x="458" y="45"/>
                    </a:lnTo>
                    <a:lnTo>
                      <a:pt x="458" y="43"/>
                    </a:lnTo>
                    <a:lnTo>
                      <a:pt x="458" y="43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3" y="40"/>
                    </a:lnTo>
                    <a:lnTo>
                      <a:pt x="463" y="38"/>
                    </a:lnTo>
                    <a:lnTo>
                      <a:pt x="463" y="38"/>
                    </a:lnTo>
                    <a:lnTo>
                      <a:pt x="465" y="36"/>
                    </a:lnTo>
                    <a:lnTo>
                      <a:pt x="465" y="33"/>
                    </a:lnTo>
                    <a:lnTo>
                      <a:pt x="468" y="33"/>
                    </a:lnTo>
                    <a:lnTo>
                      <a:pt x="470" y="33"/>
                    </a:lnTo>
                    <a:lnTo>
                      <a:pt x="470" y="33"/>
                    </a:lnTo>
                    <a:lnTo>
                      <a:pt x="472" y="33"/>
                    </a:lnTo>
                    <a:lnTo>
                      <a:pt x="475" y="33"/>
                    </a:lnTo>
                    <a:lnTo>
                      <a:pt x="475" y="33"/>
                    </a:lnTo>
                    <a:lnTo>
                      <a:pt x="475" y="31"/>
                    </a:lnTo>
                    <a:lnTo>
                      <a:pt x="477" y="31"/>
                    </a:lnTo>
                    <a:lnTo>
                      <a:pt x="479" y="28"/>
                    </a:lnTo>
                    <a:lnTo>
                      <a:pt x="482" y="28"/>
                    </a:lnTo>
                    <a:lnTo>
                      <a:pt x="484" y="26"/>
                    </a:lnTo>
                    <a:lnTo>
                      <a:pt x="484" y="26"/>
                    </a:lnTo>
                    <a:lnTo>
                      <a:pt x="484" y="24"/>
                    </a:lnTo>
                    <a:lnTo>
                      <a:pt x="486" y="21"/>
                    </a:lnTo>
                    <a:lnTo>
                      <a:pt x="486" y="21"/>
                    </a:lnTo>
                    <a:lnTo>
                      <a:pt x="486" y="21"/>
                    </a:lnTo>
                    <a:lnTo>
                      <a:pt x="486" y="19"/>
                    </a:lnTo>
                    <a:lnTo>
                      <a:pt x="489" y="19"/>
                    </a:lnTo>
                    <a:lnTo>
                      <a:pt x="489" y="17"/>
                    </a:lnTo>
                    <a:lnTo>
                      <a:pt x="489" y="17"/>
                    </a:lnTo>
                    <a:lnTo>
                      <a:pt x="489" y="14"/>
                    </a:lnTo>
                    <a:lnTo>
                      <a:pt x="489" y="12"/>
                    </a:lnTo>
                    <a:lnTo>
                      <a:pt x="489" y="12"/>
                    </a:lnTo>
                    <a:lnTo>
                      <a:pt x="494" y="12"/>
                    </a:lnTo>
                    <a:lnTo>
                      <a:pt x="496" y="12"/>
                    </a:lnTo>
                    <a:lnTo>
                      <a:pt x="496" y="12"/>
                    </a:lnTo>
                    <a:lnTo>
                      <a:pt x="498" y="12"/>
                    </a:lnTo>
                    <a:lnTo>
                      <a:pt x="498" y="12"/>
                    </a:lnTo>
                    <a:lnTo>
                      <a:pt x="501" y="12"/>
                    </a:lnTo>
                    <a:lnTo>
                      <a:pt x="503" y="12"/>
                    </a:lnTo>
                    <a:lnTo>
                      <a:pt x="508" y="7"/>
                    </a:lnTo>
                    <a:lnTo>
                      <a:pt x="508" y="7"/>
                    </a:lnTo>
                    <a:lnTo>
                      <a:pt x="508" y="5"/>
                    </a:lnTo>
                    <a:lnTo>
                      <a:pt x="510" y="2"/>
                    </a:lnTo>
                    <a:lnTo>
                      <a:pt x="512" y="2"/>
                    </a:lnTo>
                    <a:lnTo>
                      <a:pt x="512" y="2"/>
                    </a:lnTo>
                    <a:lnTo>
                      <a:pt x="515" y="2"/>
                    </a:lnTo>
                    <a:lnTo>
                      <a:pt x="517" y="0"/>
                    </a:lnTo>
                    <a:lnTo>
                      <a:pt x="520" y="0"/>
                    </a:lnTo>
                    <a:lnTo>
                      <a:pt x="520" y="0"/>
                    </a:lnTo>
                    <a:lnTo>
                      <a:pt x="522" y="0"/>
                    </a:lnTo>
                    <a:lnTo>
                      <a:pt x="524" y="2"/>
                    </a:lnTo>
                    <a:lnTo>
                      <a:pt x="527" y="2"/>
                    </a:lnTo>
                    <a:lnTo>
                      <a:pt x="529" y="5"/>
                    </a:lnTo>
                    <a:lnTo>
                      <a:pt x="531" y="7"/>
                    </a:lnTo>
                    <a:lnTo>
                      <a:pt x="531" y="7"/>
                    </a:lnTo>
                    <a:lnTo>
                      <a:pt x="531" y="7"/>
                    </a:lnTo>
                    <a:lnTo>
                      <a:pt x="534" y="7"/>
                    </a:lnTo>
                    <a:lnTo>
                      <a:pt x="534" y="10"/>
                    </a:lnTo>
                    <a:lnTo>
                      <a:pt x="536" y="10"/>
                    </a:lnTo>
                    <a:lnTo>
                      <a:pt x="536" y="10"/>
                    </a:lnTo>
                    <a:lnTo>
                      <a:pt x="538" y="12"/>
                    </a:lnTo>
                    <a:lnTo>
                      <a:pt x="541" y="12"/>
                    </a:lnTo>
                    <a:lnTo>
                      <a:pt x="543" y="12"/>
                    </a:lnTo>
                    <a:lnTo>
                      <a:pt x="543" y="12"/>
                    </a:lnTo>
                    <a:lnTo>
                      <a:pt x="543" y="14"/>
                    </a:lnTo>
                    <a:lnTo>
                      <a:pt x="546" y="14"/>
                    </a:lnTo>
                    <a:lnTo>
                      <a:pt x="546" y="14"/>
                    </a:lnTo>
                    <a:lnTo>
                      <a:pt x="546" y="14"/>
                    </a:lnTo>
                    <a:lnTo>
                      <a:pt x="548" y="14"/>
                    </a:lnTo>
                    <a:lnTo>
                      <a:pt x="550" y="17"/>
                    </a:lnTo>
                    <a:lnTo>
                      <a:pt x="548" y="19"/>
                    </a:lnTo>
                    <a:lnTo>
                      <a:pt x="550" y="19"/>
                    </a:lnTo>
                    <a:lnTo>
                      <a:pt x="550" y="21"/>
                    </a:lnTo>
                    <a:lnTo>
                      <a:pt x="550" y="21"/>
                    </a:lnTo>
                    <a:lnTo>
                      <a:pt x="550" y="24"/>
                    </a:lnTo>
                    <a:lnTo>
                      <a:pt x="550" y="24"/>
                    </a:lnTo>
                    <a:lnTo>
                      <a:pt x="553" y="24"/>
                    </a:lnTo>
                    <a:lnTo>
                      <a:pt x="553" y="26"/>
                    </a:lnTo>
                    <a:lnTo>
                      <a:pt x="553" y="26"/>
                    </a:lnTo>
                    <a:lnTo>
                      <a:pt x="553" y="26"/>
                    </a:lnTo>
                    <a:lnTo>
                      <a:pt x="553" y="28"/>
                    </a:lnTo>
                    <a:lnTo>
                      <a:pt x="553" y="28"/>
                    </a:lnTo>
                    <a:lnTo>
                      <a:pt x="550" y="28"/>
                    </a:lnTo>
                    <a:lnTo>
                      <a:pt x="548" y="28"/>
                    </a:lnTo>
                    <a:lnTo>
                      <a:pt x="548" y="31"/>
                    </a:lnTo>
                    <a:lnTo>
                      <a:pt x="546" y="31"/>
                    </a:lnTo>
                    <a:lnTo>
                      <a:pt x="543" y="33"/>
                    </a:lnTo>
                    <a:lnTo>
                      <a:pt x="541" y="33"/>
                    </a:lnTo>
                    <a:lnTo>
                      <a:pt x="538" y="33"/>
                    </a:lnTo>
                    <a:lnTo>
                      <a:pt x="536" y="33"/>
                    </a:lnTo>
                    <a:lnTo>
                      <a:pt x="534" y="38"/>
                    </a:lnTo>
                    <a:lnTo>
                      <a:pt x="531" y="38"/>
                    </a:lnTo>
                    <a:lnTo>
                      <a:pt x="531" y="40"/>
                    </a:lnTo>
                    <a:lnTo>
                      <a:pt x="529" y="43"/>
                    </a:lnTo>
                    <a:lnTo>
                      <a:pt x="529" y="45"/>
                    </a:lnTo>
                    <a:lnTo>
                      <a:pt x="527" y="47"/>
                    </a:lnTo>
                    <a:lnTo>
                      <a:pt x="527" y="47"/>
                    </a:lnTo>
                    <a:lnTo>
                      <a:pt x="527" y="47"/>
                    </a:lnTo>
                    <a:lnTo>
                      <a:pt x="527" y="50"/>
                    </a:lnTo>
                    <a:lnTo>
                      <a:pt x="529" y="52"/>
                    </a:lnTo>
                    <a:lnTo>
                      <a:pt x="529" y="52"/>
                    </a:lnTo>
                    <a:lnTo>
                      <a:pt x="529" y="52"/>
                    </a:lnTo>
                    <a:lnTo>
                      <a:pt x="531" y="54"/>
                    </a:lnTo>
                    <a:lnTo>
                      <a:pt x="531" y="57"/>
                    </a:lnTo>
                    <a:lnTo>
                      <a:pt x="534" y="57"/>
                    </a:lnTo>
                    <a:lnTo>
                      <a:pt x="534" y="59"/>
                    </a:lnTo>
                    <a:lnTo>
                      <a:pt x="534" y="62"/>
                    </a:lnTo>
                    <a:lnTo>
                      <a:pt x="531" y="66"/>
                    </a:lnTo>
                    <a:lnTo>
                      <a:pt x="531" y="66"/>
                    </a:lnTo>
                    <a:lnTo>
                      <a:pt x="534" y="66"/>
                    </a:lnTo>
                    <a:lnTo>
                      <a:pt x="531" y="69"/>
                    </a:lnTo>
                    <a:lnTo>
                      <a:pt x="531" y="69"/>
                    </a:lnTo>
                    <a:lnTo>
                      <a:pt x="531" y="69"/>
                    </a:lnTo>
                    <a:lnTo>
                      <a:pt x="531" y="69"/>
                    </a:lnTo>
                    <a:lnTo>
                      <a:pt x="529" y="69"/>
                    </a:lnTo>
                    <a:lnTo>
                      <a:pt x="529" y="69"/>
                    </a:lnTo>
                    <a:lnTo>
                      <a:pt x="527" y="69"/>
                    </a:lnTo>
                    <a:lnTo>
                      <a:pt x="527" y="69"/>
                    </a:lnTo>
                    <a:lnTo>
                      <a:pt x="524" y="71"/>
                    </a:lnTo>
                    <a:lnTo>
                      <a:pt x="524" y="69"/>
                    </a:lnTo>
                    <a:lnTo>
                      <a:pt x="522" y="71"/>
                    </a:lnTo>
                    <a:lnTo>
                      <a:pt x="522" y="71"/>
                    </a:lnTo>
                    <a:lnTo>
                      <a:pt x="522" y="71"/>
                    </a:lnTo>
                    <a:lnTo>
                      <a:pt x="524" y="71"/>
                    </a:lnTo>
                    <a:lnTo>
                      <a:pt x="524" y="76"/>
                    </a:lnTo>
                    <a:lnTo>
                      <a:pt x="522" y="76"/>
                    </a:lnTo>
                    <a:lnTo>
                      <a:pt x="520" y="76"/>
                    </a:lnTo>
                    <a:lnTo>
                      <a:pt x="522" y="78"/>
                    </a:lnTo>
                    <a:lnTo>
                      <a:pt x="522" y="78"/>
                    </a:lnTo>
                    <a:lnTo>
                      <a:pt x="515" y="83"/>
                    </a:lnTo>
                    <a:lnTo>
                      <a:pt x="512" y="83"/>
                    </a:lnTo>
                    <a:lnTo>
                      <a:pt x="512" y="83"/>
                    </a:lnTo>
                    <a:lnTo>
                      <a:pt x="512" y="83"/>
                    </a:lnTo>
                    <a:lnTo>
                      <a:pt x="512" y="85"/>
                    </a:lnTo>
                    <a:lnTo>
                      <a:pt x="512" y="85"/>
                    </a:lnTo>
                    <a:lnTo>
                      <a:pt x="512" y="85"/>
                    </a:lnTo>
                    <a:lnTo>
                      <a:pt x="512" y="85"/>
                    </a:lnTo>
                    <a:lnTo>
                      <a:pt x="512" y="85"/>
                    </a:lnTo>
                    <a:lnTo>
                      <a:pt x="512" y="88"/>
                    </a:lnTo>
                    <a:lnTo>
                      <a:pt x="512" y="88"/>
                    </a:lnTo>
                    <a:lnTo>
                      <a:pt x="512" y="88"/>
                    </a:lnTo>
                    <a:lnTo>
                      <a:pt x="508" y="88"/>
                    </a:lnTo>
                    <a:lnTo>
                      <a:pt x="508" y="88"/>
                    </a:lnTo>
                    <a:lnTo>
                      <a:pt x="508" y="90"/>
                    </a:lnTo>
                    <a:lnTo>
                      <a:pt x="508" y="92"/>
                    </a:lnTo>
                    <a:lnTo>
                      <a:pt x="508" y="92"/>
                    </a:lnTo>
                    <a:lnTo>
                      <a:pt x="508" y="92"/>
                    </a:lnTo>
                    <a:lnTo>
                      <a:pt x="512" y="90"/>
                    </a:lnTo>
                    <a:lnTo>
                      <a:pt x="512" y="90"/>
                    </a:lnTo>
                    <a:lnTo>
                      <a:pt x="515" y="90"/>
                    </a:lnTo>
                    <a:lnTo>
                      <a:pt x="517" y="92"/>
                    </a:lnTo>
                    <a:lnTo>
                      <a:pt x="517" y="90"/>
                    </a:lnTo>
                    <a:lnTo>
                      <a:pt x="522" y="90"/>
                    </a:lnTo>
                    <a:lnTo>
                      <a:pt x="522" y="92"/>
                    </a:lnTo>
                    <a:lnTo>
                      <a:pt x="522" y="90"/>
                    </a:lnTo>
                    <a:lnTo>
                      <a:pt x="522" y="92"/>
                    </a:lnTo>
                    <a:lnTo>
                      <a:pt x="524" y="92"/>
                    </a:lnTo>
                    <a:lnTo>
                      <a:pt x="524" y="90"/>
                    </a:lnTo>
                    <a:lnTo>
                      <a:pt x="527" y="90"/>
                    </a:lnTo>
                    <a:lnTo>
                      <a:pt x="527" y="90"/>
                    </a:lnTo>
                    <a:lnTo>
                      <a:pt x="527" y="92"/>
                    </a:lnTo>
                    <a:lnTo>
                      <a:pt x="529" y="95"/>
                    </a:lnTo>
                    <a:lnTo>
                      <a:pt x="529" y="95"/>
                    </a:lnTo>
                    <a:lnTo>
                      <a:pt x="529" y="95"/>
                    </a:lnTo>
                    <a:lnTo>
                      <a:pt x="531" y="95"/>
                    </a:lnTo>
                    <a:lnTo>
                      <a:pt x="531" y="95"/>
                    </a:lnTo>
                    <a:lnTo>
                      <a:pt x="534" y="97"/>
                    </a:lnTo>
                    <a:lnTo>
                      <a:pt x="534" y="97"/>
                    </a:lnTo>
                    <a:lnTo>
                      <a:pt x="534" y="99"/>
                    </a:lnTo>
                    <a:lnTo>
                      <a:pt x="531" y="102"/>
                    </a:lnTo>
                    <a:lnTo>
                      <a:pt x="531" y="104"/>
                    </a:lnTo>
                    <a:lnTo>
                      <a:pt x="534" y="106"/>
                    </a:lnTo>
                    <a:lnTo>
                      <a:pt x="534" y="109"/>
                    </a:lnTo>
                    <a:lnTo>
                      <a:pt x="534" y="111"/>
                    </a:lnTo>
                    <a:lnTo>
                      <a:pt x="534" y="111"/>
                    </a:lnTo>
                    <a:lnTo>
                      <a:pt x="534" y="111"/>
                    </a:lnTo>
                    <a:lnTo>
                      <a:pt x="531" y="114"/>
                    </a:lnTo>
                    <a:lnTo>
                      <a:pt x="534" y="116"/>
                    </a:lnTo>
                    <a:lnTo>
                      <a:pt x="531" y="116"/>
                    </a:lnTo>
                    <a:lnTo>
                      <a:pt x="531" y="116"/>
                    </a:lnTo>
                    <a:lnTo>
                      <a:pt x="531" y="118"/>
                    </a:lnTo>
                    <a:lnTo>
                      <a:pt x="534" y="118"/>
                    </a:lnTo>
                    <a:lnTo>
                      <a:pt x="536" y="118"/>
                    </a:lnTo>
                    <a:lnTo>
                      <a:pt x="536" y="121"/>
                    </a:lnTo>
                    <a:lnTo>
                      <a:pt x="536" y="121"/>
                    </a:lnTo>
                    <a:lnTo>
                      <a:pt x="536" y="123"/>
                    </a:lnTo>
                    <a:lnTo>
                      <a:pt x="541" y="125"/>
                    </a:lnTo>
                    <a:lnTo>
                      <a:pt x="541" y="130"/>
                    </a:lnTo>
                    <a:lnTo>
                      <a:pt x="546" y="130"/>
                    </a:lnTo>
                    <a:lnTo>
                      <a:pt x="548" y="130"/>
                    </a:lnTo>
                    <a:lnTo>
                      <a:pt x="550" y="132"/>
                    </a:lnTo>
                    <a:lnTo>
                      <a:pt x="553" y="135"/>
                    </a:lnTo>
                    <a:lnTo>
                      <a:pt x="555" y="135"/>
                    </a:lnTo>
                    <a:lnTo>
                      <a:pt x="557" y="135"/>
                    </a:lnTo>
                    <a:lnTo>
                      <a:pt x="557" y="135"/>
                    </a:lnTo>
                    <a:lnTo>
                      <a:pt x="560" y="132"/>
                    </a:lnTo>
                    <a:lnTo>
                      <a:pt x="560" y="132"/>
                    </a:lnTo>
                    <a:lnTo>
                      <a:pt x="562" y="130"/>
                    </a:lnTo>
                    <a:lnTo>
                      <a:pt x="564" y="128"/>
                    </a:lnTo>
                    <a:lnTo>
                      <a:pt x="564" y="125"/>
                    </a:lnTo>
                    <a:lnTo>
                      <a:pt x="567" y="125"/>
                    </a:lnTo>
                    <a:lnTo>
                      <a:pt x="569" y="125"/>
                    </a:lnTo>
                    <a:lnTo>
                      <a:pt x="576" y="123"/>
                    </a:lnTo>
                    <a:lnTo>
                      <a:pt x="576" y="121"/>
                    </a:lnTo>
                    <a:lnTo>
                      <a:pt x="579" y="121"/>
                    </a:lnTo>
                    <a:lnTo>
                      <a:pt x="581" y="121"/>
                    </a:lnTo>
                    <a:lnTo>
                      <a:pt x="581" y="121"/>
                    </a:lnTo>
                    <a:lnTo>
                      <a:pt x="583" y="121"/>
                    </a:lnTo>
                    <a:lnTo>
                      <a:pt x="583" y="118"/>
                    </a:lnTo>
                    <a:lnTo>
                      <a:pt x="586" y="118"/>
                    </a:lnTo>
                    <a:lnTo>
                      <a:pt x="588" y="118"/>
                    </a:lnTo>
                    <a:lnTo>
                      <a:pt x="588" y="116"/>
                    </a:lnTo>
                    <a:lnTo>
                      <a:pt x="588" y="116"/>
                    </a:lnTo>
                    <a:lnTo>
                      <a:pt x="588" y="116"/>
                    </a:lnTo>
                    <a:lnTo>
                      <a:pt x="588" y="116"/>
                    </a:lnTo>
                    <a:lnTo>
                      <a:pt x="588" y="116"/>
                    </a:lnTo>
                    <a:lnTo>
                      <a:pt x="590" y="116"/>
                    </a:lnTo>
                    <a:lnTo>
                      <a:pt x="590" y="114"/>
                    </a:lnTo>
                    <a:lnTo>
                      <a:pt x="590" y="114"/>
                    </a:lnTo>
                    <a:lnTo>
                      <a:pt x="595" y="111"/>
                    </a:lnTo>
                    <a:lnTo>
                      <a:pt x="597" y="111"/>
                    </a:lnTo>
                    <a:lnTo>
                      <a:pt x="600" y="111"/>
                    </a:lnTo>
                    <a:lnTo>
                      <a:pt x="600" y="109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5" y="106"/>
                    </a:lnTo>
                    <a:lnTo>
                      <a:pt x="595" y="104"/>
                    </a:lnTo>
                    <a:lnTo>
                      <a:pt x="597" y="104"/>
                    </a:lnTo>
                    <a:lnTo>
                      <a:pt x="600" y="102"/>
                    </a:lnTo>
                    <a:lnTo>
                      <a:pt x="600" y="97"/>
                    </a:lnTo>
                    <a:lnTo>
                      <a:pt x="600" y="95"/>
                    </a:lnTo>
                    <a:lnTo>
                      <a:pt x="600" y="92"/>
                    </a:lnTo>
                    <a:lnTo>
                      <a:pt x="600" y="90"/>
                    </a:lnTo>
                    <a:lnTo>
                      <a:pt x="600" y="88"/>
                    </a:lnTo>
                    <a:lnTo>
                      <a:pt x="605" y="90"/>
                    </a:lnTo>
                    <a:lnTo>
                      <a:pt x="605" y="90"/>
                    </a:lnTo>
                    <a:lnTo>
                      <a:pt x="607" y="90"/>
                    </a:lnTo>
                    <a:lnTo>
                      <a:pt x="605" y="88"/>
                    </a:lnTo>
                    <a:lnTo>
                      <a:pt x="607" y="88"/>
                    </a:lnTo>
                    <a:lnTo>
                      <a:pt x="605" y="85"/>
                    </a:lnTo>
                    <a:lnTo>
                      <a:pt x="607" y="83"/>
                    </a:lnTo>
                    <a:lnTo>
                      <a:pt x="607" y="83"/>
                    </a:lnTo>
                    <a:lnTo>
                      <a:pt x="609" y="80"/>
                    </a:lnTo>
                    <a:lnTo>
                      <a:pt x="609" y="83"/>
                    </a:lnTo>
                    <a:lnTo>
                      <a:pt x="616" y="85"/>
                    </a:lnTo>
                    <a:lnTo>
                      <a:pt x="616" y="85"/>
                    </a:lnTo>
                    <a:lnTo>
                      <a:pt x="619" y="85"/>
                    </a:lnTo>
                    <a:lnTo>
                      <a:pt x="621" y="85"/>
                    </a:lnTo>
                    <a:lnTo>
                      <a:pt x="623" y="85"/>
                    </a:lnTo>
                    <a:lnTo>
                      <a:pt x="623" y="83"/>
                    </a:lnTo>
                    <a:lnTo>
                      <a:pt x="623" y="80"/>
                    </a:lnTo>
                    <a:lnTo>
                      <a:pt x="623" y="80"/>
                    </a:lnTo>
                    <a:lnTo>
                      <a:pt x="623" y="80"/>
                    </a:lnTo>
                    <a:lnTo>
                      <a:pt x="623" y="78"/>
                    </a:lnTo>
                    <a:lnTo>
                      <a:pt x="623" y="78"/>
                    </a:lnTo>
                    <a:lnTo>
                      <a:pt x="623" y="73"/>
                    </a:lnTo>
                    <a:lnTo>
                      <a:pt x="623" y="71"/>
                    </a:lnTo>
                    <a:lnTo>
                      <a:pt x="626" y="71"/>
                    </a:lnTo>
                    <a:lnTo>
                      <a:pt x="626" y="71"/>
                    </a:lnTo>
                    <a:lnTo>
                      <a:pt x="628" y="71"/>
                    </a:lnTo>
                    <a:lnTo>
                      <a:pt x="631" y="71"/>
                    </a:lnTo>
                    <a:lnTo>
                      <a:pt x="633" y="69"/>
                    </a:lnTo>
                    <a:lnTo>
                      <a:pt x="633" y="71"/>
                    </a:lnTo>
                    <a:lnTo>
                      <a:pt x="640" y="71"/>
                    </a:lnTo>
                    <a:lnTo>
                      <a:pt x="642" y="71"/>
                    </a:lnTo>
                    <a:lnTo>
                      <a:pt x="642" y="71"/>
                    </a:lnTo>
                    <a:lnTo>
                      <a:pt x="645" y="73"/>
                    </a:lnTo>
                    <a:lnTo>
                      <a:pt x="645" y="73"/>
                    </a:lnTo>
                    <a:lnTo>
                      <a:pt x="647" y="73"/>
                    </a:lnTo>
                    <a:lnTo>
                      <a:pt x="649" y="71"/>
                    </a:lnTo>
                    <a:lnTo>
                      <a:pt x="649" y="71"/>
                    </a:lnTo>
                    <a:lnTo>
                      <a:pt x="647" y="69"/>
                    </a:lnTo>
                    <a:lnTo>
                      <a:pt x="647" y="69"/>
                    </a:lnTo>
                    <a:lnTo>
                      <a:pt x="647" y="69"/>
                    </a:lnTo>
                    <a:lnTo>
                      <a:pt x="652" y="64"/>
                    </a:lnTo>
                    <a:lnTo>
                      <a:pt x="652" y="66"/>
                    </a:lnTo>
                    <a:lnTo>
                      <a:pt x="654" y="69"/>
                    </a:lnTo>
                    <a:lnTo>
                      <a:pt x="657" y="66"/>
                    </a:lnTo>
                    <a:lnTo>
                      <a:pt x="661" y="66"/>
                    </a:lnTo>
                    <a:lnTo>
                      <a:pt x="664" y="66"/>
                    </a:lnTo>
                    <a:lnTo>
                      <a:pt x="664" y="66"/>
                    </a:lnTo>
                    <a:lnTo>
                      <a:pt x="666" y="66"/>
                    </a:lnTo>
                    <a:lnTo>
                      <a:pt x="671" y="66"/>
                    </a:lnTo>
                    <a:lnTo>
                      <a:pt x="673" y="69"/>
                    </a:lnTo>
                    <a:lnTo>
                      <a:pt x="673" y="69"/>
                    </a:lnTo>
                    <a:lnTo>
                      <a:pt x="673" y="69"/>
                    </a:lnTo>
                    <a:lnTo>
                      <a:pt x="675" y="71"/>
                    </a:lnTo>
                    <a:lnTo>
                      <a:pt x="678" y="71"/>
                    </a:lnTo>
                    <a:lnTo>
                      <a:pt x="680" y="71"/>
                    </a:lnTo>
                    <a:lnTo>
                      <a:pt x="680" y="69"/>
                    </a:lnTo>
                    <a:lnTo>
                      <a:pt x="680" y="69"/>
                    </a:lnTo>
                    <a:lnTo>
                      <a:pt x="683" y="69"/>
                    </a:lnTo>
                    <a:lnTo>
                      <a:pt x="685" y="69"/>
                    </a:lnTo>
                    <a:lnTo>
                      <a:pt x="687" y="69"/>
                    </a:lnTo>
                    <a:lnTo>
                      <a:pt x="687" y="66"/>
                    </a:lnTo>
                    <a:lnTo>
                      <a:pt x="692" y="69"/>
                    </a:lnTo>
                    <a:lnTo>
                      <a:pt x="694" y="66"/>
                    </a:lnTo>
                    <a:lnTo>
                      <a:pt x="694" y="64"/>
                    </a:lnTo>
                    <a:lnTo>
                      <a:pt x="694" y="64"/>
                    </a:lnTo>
                    <a:lnTo>
                      <a:pt x="694" y="62"/>
                    </a:lnTo>
                    <a:lnTo>
                      <a:pt x="697" y="62"/>
                    </a:lnTo>
                    <a:lnTo>
                      <a:pt x="699" y="62"/>
                    </a:lnTo>
                    <a:lnTo>
                      <a:pt x="701" y="62"/>
                    </a:lnTo>
                    <a:lnTo>
                      <a:pt x="701" y="62"/>
                    </a:lnTo>
                    <a:lnTo>
                      <a:pt x="704" y="62"/>
                    </a:lnTo>
                    <a:lnTo>
                      <a:pt x="706" y="62"/>
                    </a:lnTo>
                    <a:lnTo>
                      <a:pt x="706" y="62"/>
                    </a:lnTo>
                    <a:lnTo>
                      <a:pt x="709" y="59"/>
                    </a:lnTo>
                    <a:lnTo>
                      <a:pt x="711" y="59"/>
                    </a:lnTo>
                    <a:lnTo>
                      <a:pt x="711" y="59"/>
                    </a:lnTo>
                    <a:lnTo>
                      <a:pt x="711" y="57"/>
                    </a:lnTo>
                    <a:lnTo>
                      <a:pt x="713" y="57"/>
                    </a:lnTo>
                    <a:lnTo>
                      <a:pt x="716" y="57"/>
                    </a:lnTo>
                    <a:lnTo>
                      <a:pt x="716" y="57"/>
                    </a:lnTo>
                    <a:lnTo>
                      <a:pt x="716" y="57"/>
                    </a:lnTo>
                    <a:lnTo>
                      <a:pt x="718" y="54"/>
                    </a:lnTo>
                    <a:lnTo>
                      <a:pt x="718" y="57"/>
                    </a:lnTo>
                    <a:lnTo>
                      <a:pt x="718" y="57"/>
                    </a:lnTo>
                    <a:lnTo>
                      <a:pt x="720" y="57"/>
                    </a:lnTo>
                    <a:lnTo>
                      <a:pt x="723" y="57"/>
                    </a:lnTo>
                    <a:lnTo>
                      <a:pt x="723" y="57"/>
                    </a:lnTo>
                    <a:lnTo>
                      <a:pt x="725" y="54"/>
                    </a:lnTo>
                    <a:lnTo>
                      <a:pt x="725" y="52"/>
                    </a:lnTo>
                    <a:lnTo>
                      <a:pt x="727" y="52"/>
                    </a:lnTo>
                    <a:lnTo>
                      <a:pt x="727" y="50"/>
                    </a:lnTo>
                    <a:lnTo>
                      <a:pt x="727" y="50"/>
                    </a:lnTo>
                    <a:lnTo>
                      <a:pt x="730" y="50"/>
                    </a:lnTo>
                    <a:lnTo>
                      <a:pt x="732" y="50"/>
                    </a:lnTo>
                    <a:lnTo>
                      <a:pt x="732" y="50"/>
                    </a:lnTo>
                    <a:lnTo>
                      <a:pt x="734" y="50"/>
                    </a:lnTo>
                    <a:lnTo>
                      <a:pt x="737" y="50"/>
                    </a:lnTo>
                    <a:lnTo>
                      <a:pt x="739" y="50"/>
                    </a:lnTo>
                    <a:lnTo>
                      <a:pt x="742" y="50"/>
                    </a:lnTo>
                    <a:lnTo>
                      <a:pt x="737" y="45"/>
                    </a:lnTo>
                    <a:lnTo>
                      <a:pt x="739" y="43"/>
                    </a:lnTo>
                    <a:lnTo>
                      <a:pt x="739" y="43"/>
                    </a:lnTo>
                    <a:lnTo>
                      <a:pt x="739" y="43"/>
                    </a:lnTo>
                    <a:lnTo>
                      <a:pt x="742" y="40"/>
                    </a:lnTo>
                    <a:lnTo>
                      <a:pt x="739" y="43"/>
                    </a:lnTo>
                    <a:lnTo>
                      <a:pt x="737" y="40"/>
                    </a:lnTo>
                    <a:lnTo>
                      <a:pt x="737" y="40"/>
                    </a:lnTo>
                    <a:lnTo>
                      <a:pt x="739" y="40"/>
                    </a:lnTo>
                    <a:lnTo>
                      <a:pt x="739" y="38"/>
                    </a:lnTo>
                    <a:lnTo>
                      <a:pt x="739" y="33"/>
                    </a:lnTo>
                    <a:lnTo>
                      <a:pt x="742" y="33"/>
                    </a:lnTo>
                    <a:lnTo>
                      <a:pt x="742" y="33"/>
                    </a:lnTo>
                    <a:lnTo>
                      <a:pt x="742" y="31"/>
                    </a:lnTo>
                    <a:lnTo>
                      <a:pt x="742" y="31"/>
                    </a:lnTo>
                    <a:lnTo>
                      <a:pt x="742" y="28"/>
                    </a:lnTo>
                    <a:lnTo>
                      <a:pt x="742" y="24"/>
                    </a:lnTo>
                    <a:lnTo>
                      <a:pt x="744" y="24"/>
                    </a:lnTo>
                    <a:lnTo>
                      <a:pt x="749" y="24"/>
                    </a:lnTo>
                    <a:lnTo>
                      <a:pt x="751" y="24"/>
                    </a:lnTo>
                    <a:lnTo>
                      <a:pt x="751" y="26"/>
                    </a:lnTo>
                    <a:lnTo>
                      <a:pt x="753" y="26"/>
                    </a:lnTo>
                    <a:lnTo>
                      <a:pt x="753" y="26"/>
                    </a:lnTo>
                    <a:lnTo>
                      <a:pt x="753" y="24"/>
                    </a:lnTo>
                    <a:lnTo>
                      <a:pt x="758" y="24"/>
                    </a:lnTo>
                    <a:lnTo>
                      <a:pt x="758" y="21"/>
                    </a:lnTo>
                    <a:lnTo>
                      <a:pt x="760" y="21"/>
                    </a:lnTo>
                    <a:lnTo>
                      <a:pt x="760" y="21"/>
                    </a:lnTo>
                    <a:lnTo>
                      <a:pt x="760" y="21"/>
                    </a:lnTo>
                    <a:lnTo>
                      <a:pt x="760" y="19"/>
                    </a:lnTo>
                    <a:lnTo>
                      <a:pt x="763" y="19"/>
                    </a:lnTo>
                    <a:lnTo>
                      <a:pt x="763" y="19"/>
                    </a:lnTo>
                    <a:lnTo>
                      <a:pt x="763" y="19"/>
                    </a:lnTo>
                    <a:lnTo>
                      <a:pt x="763" y="19"/>
                    </a:lnTo>
                    <a:lnTo>
                      <a:pt x="765" y="19"/>
                    </a:lnTo>
                    <a:lnTo>
                      <a:pt x="765" y="19"/>
                    </a:lnTo>
                    <a:lnTo>
                      <a:pt x="765" y="19"/>
                    </a:lnTo>
                    <a:lnTo>
                      <a:pt x="768" y="19"/>
                    </a:lnTo>
                    <a:lnTo>
                      <a:pt x="770" y="14"/>
                    </a:lnTo>
                    <a:lnTo>
                      <a:pt x="775" y="14"/>
                    </a:lnTo>
                    <a:lnTo>
                      <a:pt x="777" y="14"/>
                    </a:lnTo>
                    <a:lnTo>
                      <a:pt x="779" y="14"/>
                    </a:lnTo>
                    <a:lnTo>
                      <a:pt x="782" y="17"/>
                    </a:lnTo>
                    <a:lnTo>
                      <a:pt x="782" y="17"/>
                    </a:lnTo>
                    <a:lnTo>
                      <a:pt x="784" y="14"/>
                    </a:lnTo>
                    <a:lnTo>
                      <a:pt x="786" y="17"/>
                    </a:lnTo>
                    <a:lnTo>
                      <a:pt x="786" y="17"/>
                    </a:lnTo>
                    <a:lnTo>
                      <a:pt x="789" y="17"/>
                    </a:lnTo>
                    <a:lnTo>
                      <a:pt x="791" y="17"/>
                    </a:lnTo>
                    <a:lnTo>
                      <a:pt x="794" y="19"/>
                    </a:lnTo>
                    <a:lnTo>
                      <a:pt x="796" y="17"/>
                    </a:lnTo>
                    <a:lnTo>
                      <a:pt x="796" y="17"/>
                    </a:lnTo>
                    <a:lnTo>
                      <a:pt x="796" y="17"/>
                    </a:lnTo>
                    <a:lnTo>
                      <a:pt x="798" y="17"/>
                    </a:lnTo>
                    <a:lnTo>
                      <a:pt x="801" y="19"/>
                    </a:lnTo>
                    <a:lnTo>
                      <a:pt x="801" y="21"/>
                    </a:lnTo>
                    <a:lnTo>
                      <a:pt x="805" y="24"/>
                    </a:lnTo>
                    <a:lnTo>
                      <a:pt x="808" y="24"/>
                    </a:lnTo>
                    <a:lnTo>
                      <a:pt x="808" y="26"/>
                    </a:lnTo>
                    <a:lnTo>
                      <a:pt x="808" y="28"/>
                    </a:lnTo>
                    <a:lnTo>
                      <a:pt x="808" y="31"/>
                    </a:lnTo>
                    <a:lnTo>
                      <a:pt x="808" y="31"/>
                    </a:lnTo>
                    <a:lnTo>
                      <a:pt x="810" y="33"/>
                    </a:lnTo>
                    <a:lnTo>
                      <a:pt x="810" y="36"/>
                    </a:lnTo>
                    <a:lnTo>
                      <a:pt x="812" y="36"/>
                    </a:lnTo>
                    <a:lnTo>
                      <a:pt x="815" y="33"/>
                    </a:lnTo>
                    <a:lnTo>
                      <a:pt x="815" y="33"/>
                    </a:lnTo>
                    <a:lnTo>
                      <a:pt x="817" y="36"/>
                    </a:lnTo>
                    <a:lnTo>
                      <a:pt x="817" y="36"/>
                    </a:lnTo>
                    <a:lnTo>
                      <a:pt x="817" y="36"/>
                    </a:lnTo>
                    <a:lnTo>
                      <a:pt x="817" y="36"/>
                    </a:lnTo>
                    <a:lnTo>
                      <a:pt x="820" y="36"/>
                    </a:lnTo>
                    <a:lnTo>
                      <a:pt x="820" y="33"/>
                    </a:lnTo>
                    <a:lnTo>
                      <a:pt x="822" y="36"/>
                    </a:lnTo>
                    <a:lnTo>
                      <a:pt x="824" y="36"/>
                    </a:lnTo>
                    <a:lnTo>
                      <a:pt x="827" y="36"/>
                    </a:lnTo>
                    <a:lnTo>
                      <a:pt x="827" y="36"/>
                    </a:lnTo>
                    <a:lnTo>
                      <a:pt x="827" y="38"/>
                    </a:lnTo>
                    <a:lnTo>
                      <a:pt x="827" y="38"/>
                    </a:lnTo>
                    <a:lnTo>
                      <a:pt x="827" y="38"/>
                    </a:lnTo>
                    <a:lnTo>
                      <a:pt x="827" y="38"/>
                    </a:lnTo>
                    <a:lnTo>
                      <a:pt x="827" y="40"/>
                    </a:lnTo>
                    <a:lnTo>
                      <a:pt x="829" y="40"/>
                    </a:lnTo>
                    <a:lnTo>
                      <a:pt x="829" y="43"/>
                    </a:lnTo>
                    <a:lnTo>
                      <a:pt x="829" y="45"/>
                    </a:lnTo>
                    <a:lnTo>
                      <a:pt x="829" y="47"/>
                    </a:lnTo>
                    <a:lnTo>
                      <a:pt x="829" y="50"/>
                    </a:lnTo>
                    <a:lnTo>
                      <a:pt x="827" y="54"/>
                    </a:lnTo>
                    <a:lnTo>
                      <a:pt x="827" y="54"/>
                    </a:lnTo>
                    <a:lnTo>
                      <a:pt x="824" y="54"/>
                    </a:lnTo>
                    <a:lnTo>
                      <a:pt x="827" y="57"/>
                    </a:lnTo>
                    <a:lnTo>
                      <a:pt x="827" y="57"/>
                    </a:lnTo>
                    <a:lnTo>
                      <a:pt x="827" y="57"/>
                    </a:lnTo>
                    <a:lnTo>
                      <a:pt x="827" y="59"/>
                    </a:lnTo>
                    <a:lnTo>
                      <a:pt x="829" y="62"/>
                    </a:lnTo>
                    <a:lnTo>
                      <a:pt x="827" y="69"/>
                    </a:lnTo>
                    <a:lnTo>
                      <a:pt x="827" y="71"/>
                    </a:lnTo>
                    <a:lnTo>
                      <a:pt x="824" y="71"/>
                    </a:lnTo>
                    <a:lnTo>
                      <a:pt x="824" y="71"/>
                    </a:lnTo>
                    <a:lnTo>
                      <a:pt x="827" y="73"/>
                    </a:lnTo>
                    <a:lnTo>
                      <a:pt x="827" y="73"/>
                    </a:lnTo>
                    <a:lnTo>
                      <a:pt x="827" y="76"/>
                    </a:lnTo>
                    <a:lnTo>
                      <a:pt x="827" y="76"/>
                    </a:lnTo>
                    <a:lnTo>
                      <a:pt x="827" y="78"/>
                    </a:lnTo>
                    <a:lnTo>
                      <a:pt x="829" y="80"/>
                    </a:lnTo>
                    <a:lnTo>
                      <a:pt x="829" y="83"/>
                    </a:lnTo>
                    <a:lnTo>
                      <a:pt x="829" y="85"/>
                    </a:lnTo>
                    <a:lnTo>
                      <a:pt x="827" y="90"/>
                    </a:lnTo>
                    <a:lnTo>
                      <a:pt x="827" y="95"/>
                    </a:lnTo>
                    <a:lnTo>
                      <a:pt x="827" y="97"/>
                    </a:lnTo>
                    <a:lnTo>
                      <a:pt x="824" y="99"/>
                    </a:lnTo>
                    <a:lnTo>
                      <a:pt x="824" y="99"/>
                    </a:lnTo>
                    <a:lnTo>
                      <a:pt x="824" y="102"/>
                    </a:lnTo>
                    <a:lnTo>
                      <a:pt x="820" y="106"/>
                    </a:lnTo>
                    <a:lnTo>
                      <a:pt x="817" y="116"/>
                    </a:lnTo>
                    <a:lnTo>
                      <a:pt x="817" y="121"/>
                    </a:lnTo>
                    <a:lnTo>
                      <a:pt x="817" y="123"/>
                    </a:lnTo>
                    <a:lnTo>
                      <a:pt x="815" y="125"/>
                    </a:lnTo>
                    <a:lnTo>
                      <a:pt x="817" y="125"/>
                    </a:lnTo>
                    <a:lnTo>
                      <a:pt x="815" y="130"/>
                    </a:lnTo>
                    <a:lnTo>
                      <a:pt x="812" y="132"/>
                    </a:lnTo>
                    <a:lnTo>
                      <a:pt x="812" y="132"/>
                    </a:lnTo>
                    <a:lnTo>
                      <a:pt x="812" y="135"/>
                    </a:lnTo>
                    <a:lnTo>
                      <a:pt x="815" y="135"/>
                    </a:lnTo>
                    <a:lnTo>
                      <a:pt x="812" y="140"/>
                    </a:lnTo>
                    <a:lnTo>
                      <a:pt x="812" y="140"/>
                    </a:lnTo>
                    <a:lnTo>
                      <a:pt x="812" y="140"/>
                    </a:lnTo>
                    <a:lnTo>
                      <a:pt x="815" y="142"/>
                    </a:lnTo>
                    <a:lnTo>
                      <a:pt x="812" y="142"/>
                    </a:lnTo>
                    <a:lnTo>
                      <a:pt x="810" y="142"/>
                    </a:lnTo>
                    <a:lnTo>
                      <a:pt x="810" y="142"/>
                    </a:lnTo>
                    <a:lnTo>
                      <a:pt x="812" y="144"/>
                    </a:lnTo>
                    <a:lnTo>
                      <a:pt x="808" y="151"/>
                    </a:lnTo>
                    <a:lnTo>
                      <a:pt x="808" y="156"/>
                    </a:lnTo>
                    <a:lnTo>
                      <a:pt x="808" y="158"/>
                    </a:lnTo>
                    <a:lnTo>
                      <a:pt x="805" y="158"/>
                    </a:lnTo>
                    <a:lnTo>
                      <a:pt x="805" y="161"/>
                    </a:lnTo>
                    <a:lnTo>
                      <a:pt x="805" y="161"/>
                    </a:lnTo>
                    <a:lnTo>
                      <a:pt x="805" y="163"/>
                    </a:lnTo>
                    <a:lnTo>
                      <a:pt x="805" y="163"/>
                    </a:lnTo>
                    <a:lnTo>
                      <a:pt x="805" y="165"/>
                    </a:lnTo>
                    <a:lnTo>
                      <a:pt x="805" y="168"/>
                    </a:lnTo>
                    <a:lnTo>
                      <a:pt x="805" y="168"/>
                    </a:lnTo>
                    <a:lnTo>
                      <a:pt x="805" y="170"/>
                    </a:lnTo>
                    <a:lnTo>
                      <a:pt x="805" y="170"/>
                    </a:lnTo>
                    <a:lnTo>
                      <a:pt x="803" y="168"/>
                    </a:lnTo>
                    <a:lnTo>
                      <a:pt x="803" y="170"/>
                    </a:lnTo>
                    <a:lnTo>
                      <a:pt x="801" y="170"/>
                    </a:lnTo>
                    <a:lnTo>
                      <a:pt x="801" y="173"/>
                    </a:lnTo>
                    <a:lnTo>
                      <a:pt x="801" y="173"/>
                    </a:lnTo>
                    <a:lnTo>
                      <a:pt x="801" y="175"/>
                    </a:lnTo>
                    <a:lnTo>
                      <a:pt x="801" y="175"/>
                    </a:lnTo>
                    <a:lnTo>
                      <a:pt x="798" y="180"/>
                    </a:lnTo>
                    <a:lnTo>
                      <a:pt x="796" y="180"/>
                    </a:lnTo>
                    <a:lnTo>
                      <a:pt x="798" y="182"/>
                    </a:lnTo>
                    <a:lnTo>
                      <a:pt x="796" y="184"/>
                    </a:lnTo>
                    <a:lnTo>
                      <a:pt x="796" y="187"/>
                    </a:lnTo>
                    <a:lnTo>
                      <a:pt x="796" y="187"/>
                    </a:lnTo>
                    <a:lnTo>
                      <a:pt x="796" y="189"/>
                    </a:lnTo>
                    <a:lnTo>
                      <a:pt x="796" y="189"/>
                    </a:lnTo>
                    <a:lnTo>
                      <a:pt x="794" y="191"/>
                    </a:lnTo>
                    <a:lnTo>
                      <a:pt x="796" y="194"/>
                    </a:lnTo>
                    <a:lnTo>
                      <a:pt x="791" y="196"/>
                    </a:lnTo>
                    <a:lnTo>
                      <a:pt x="791" y="199"/>
                    </a:lnTo>
                    <a:lnTo>
                      <a:pt x="794" y="199"/>
                    </a:lnTo>
                    <a:lnTo>
                      <a:pt x="791" y="199"/>
                    </a:lnTo>
                    <a:lnTo>
                      <a:pt x="791" y="199"/>
                    </a:lnTo>
                    <a:lnTo>
                      <a:pt x="789" y="203"/>
                    </a:lnTo>
                    <a:lnTo>
                      <a:pt x="789" y="206"/>
                    </a:lnTo>
                    <a:lnTo>
                      <a:pt x="789" y="208"/>
                    </a:lnTo>
                    <a:lnTo>
                      <a:pt x="789" y="208"/>
                    </a:lnTo>
                    <a:lnTo>
                      <a:pt x="789" y="210"/>
                    </a:lnTo>
                    <a:lnTo>
                      <a:pt x="786" y="215"/>
                    </a:lnTo>
                    <a:lnTo>
                      <a:pt x="786" y="213"/>
                    </a:lnTo>
                    <a:lnTo>
                      <a:pt x="784" y="213"/>
                    </a:lnTo>
                    <a:lnTo>
                      <a:pt x="779" y="213"/>
                    </a:lnTo>
                    <a:lnTo>
                      <a:pt x="779" y="213"/>
                    </a:lnTo>
                    <a:lnTo>
                      <a:pt x="777" y="213"/>
                    </a:lnTo>
                    <a:lnTo>
                      <a:pt x="775" y="210"/>
                    </a:lnTo>
                    <a:lnTo>
                      <a:pt x="775" y="213"/>
                    </a:lnTo>
                    <a:lnTo>
                      <a:pt x="770" y="210"/>
                    </a:lnTo>
                    <a:lnTo>
                      <a:pt x="770" y="210"/>
                    </a:lnTo>
                    <a:lnTo>
                      <a:pt x="768" y="210"/>
                    </a:lnTo>
                    <a:lnTo>
                      <a:pt x="760" y="208"/>
                    </a:lnTo>
                    <a:lnTo>
                      <a:pt x="756" y="206"/>
                    </a:lnTo>
                    <a:lnTo>
                      <a:pt x="753" y="206"/>
                    </a:lnTo>
                    <a:lnTo>
                      <a:pt x="753" y="206"/>
                    </a:lnTo>
                    <a:lnTo>
                      <a:pt x="753" y="206"/>
                    </a:lnTo>
                    <a:lnTo>
                      <a:pt x="751" y="206"/>
                    </a:lnTo>
                    <a:lnTo>
                      <a:pt x="751" y="206"/>
                    </a:lnTo>
                    <a:lnTo>
                      <a:pt x="749" y="206"/>
                    </a:lnTo>
                    <a:lnTo>
                      <a:pt x="746" y="206"/>
                    </a:lnTo>
                    <a:lnTo>
                      <a:pt x="746" y="203"/>
                    </a:lnTo>
                    <a:lnTo>
                      <a:pt x="746" y="203"/>
                    </a:lnTo>
                    <a:lnTo>
                      <a:pt x="746" y="203"/>
                    </a:lnTo>
                    <a:lnTo>
                      <a:pt x="746" y="203"/>
                    </a:lnTo>
                    <a:lnTo>
                      <a:pt x="746" y="203"/>
                    </a:lnTo>
                    <a:lnTo>
                      <a:pt x="744" y="203"/>
                    </a:lnTo>
                    <a:lnTo>
                      <a:pt x="744" y="203"/>
                    </a:lnTo>
                    <a:lnTo>
                      <a:pt x="744" y="203"/>
                    </a:lnTo>
                    <a:lnTo>
                      <a:pt x="744" y="203"/>
                    </a:lnTo>
                    <a:lnTo>
                      <a:pt x="742" y="203"/>
                    </a:lnTo>
                    <a:lnTo>
                      <a:pt x="742" y="203"/>
                    </a:lnTo>
                    <a:lnTo>
                      <a:pt x="742" y="203"/>
                    </a:lnTo>
                    <a:lnTo>
                      <a:pt x="742" y="203"/>
                    </a:lnTo>
                    <a:lnTo>
                      <a:pt x="739" y="203"/>
                    </a:lnTo>
                    <a:lnTo>
                      <a:pt x="737" y="203"/>
                    </a:lnTo>
                    <a:lnTo>
                      <a:pt x="737" y="203"/>
                    </a:lnTo>
                    <a:lnTo>
                      <a:pt x="737" y="203"/>
                    </a:lnTo>
                    <a:lnTo>
                      <a:pt x="737" y="203"/>
                    </a:lnTo>
                    <a:lnTo>
                      <a:pt x="734" y="203"/>
                    </a:lnTo>
                    <a:lnTo>
                      <a:pt x="734" y="206"/>
                    </a:lnTo>
                    <a:lnTo>
                      <a:pt x="732" y="206"/>
                    </a:lnTo>
                    <a:lnTo>
                      <a:pt x="732" y="206"/>
                    </a:lnTo>
                    <a:lnTo>
                      <a:pt x="732" y="206"/>
                    </a:lnTo>
                    <a:lnTo>
                      <a:pt x="730" y="208"/>
                    </a:lnTo>
                    <a:lnTo>
                      <a:pt x="727" y="208"/>
                    </a:lnTo>
                    <a:lnTo>
                      <a:pt x="725" y="210"/>
                    </a:lnTo>
                    <a:lnTo>
                      <a:pt x="725" y="210"/>
                    </a:lnTo>
                    <a:lnTo>
                      <a:pt x="725" y="210"/>
                    </a:lnTo>
                    <a:lnTo>
                      <a:pt x="723" y="210"/>
                    </a:lnTo>
                    <a:lnTo>
                      <a:pt x="723" y="210"/>
                    </a:lnTo>
                    <a:lnTo>
                      <a:pt x="720" y="213"/>
                    </a:lnTo>
                    <a:lnTo>
                      <a:pt x="718" y="213"/>
                    </a:lnTo>
                    <a:lnTo>
                      <a:pt x="718" y="215"/>
                    </a:lnTo>
                    <a:lnTo>
                      <a:pt x="716" y="213"/>
                    </a:lnTo>
                    <a:lnTo>
                      <a:pt x="716" y="215"/>
                    </a:lnTo>
                    <a:lnTo>
                      <a:pt x="713" y="215"/>
                    </a:lnTo>
                    <a:lnTo>
                      <a:pt x="713" y="215"/>
                    </a:lnTo>
                    <a:lnTo>
                      <a:pt x="711" y="215"/>
                    </a:lnTo>
                    <a:lnTo>
                      <a:pt x="709" y="215"/>
                    </a:lnTo>
                    <a:lnTo>
                      <a:pt x="709" y="213"/>
                    </a:lnTo>
                    <a:lnTo>
                      <a:pt x="706" y="213"/>
                    </a:lnTo>
                    <a:lnTo>
                      <a:pt x="706" y="213"/>
                    </a:lnTo>
                    <a:lnTo>
                      <a:pt x="706" y="213"/>
                    </a:lnTo>
                    <a:lnTo>
                      <a:pt x="706" y="210"/>
                    </a:lnTo>
                    <a:lnTo>
                      <a:pt x="706" y="208"/>
                    </a:lnTo>
                    <a:lnTo>
                      <a:pt x="706" y="208"/>
                    </a:lnTo>
                    <a:lnTo>
                      <a:pt x="706" y="208"/>
                    </a:lnTo>
                    <a:lnTo>
                      <a:pt x="706" y="206"/>
                    </a:lnTo>
                    <a:lnTo>
                      <a:pt x="706" y="206"/>
                    </a:lnTo>
                    <a:lnTo>
                      <a:pt x="704" y="208"/>
                    </a:lnTo>
                    <a:lnTo>
                      <a:pt x="701" y="208"/>
                    </a:lnTo>
                    <a:lnTo>
                      <a:pt x="701" y="208"/>
                    </a:lnTo>
                    <a:lnTo>
                      <a:pt x="699" y="208"/>
                    </a:lnTo>
                    <a:lnTo>
                      <a:pt x="699" y="208"/>
                    </a:lnTo>
                    <a:lnTo>
                      <a:pt x="697" y="208"/>
                    </a:lnTo>
                    <a:lnTo>
                      <a:pt x="692" y="208"/>
                    </a:lnTo>
                    <a:lnTo>
                      <a:pt x="692" y="208"/>
                    </a:lnTo>
                    <a:lnTo>
                      <a:pt x="692" y="208"/>
                    </a:lnTo>
                    <a:lnTo>
                      <a:pt x="690" y="208"/>
                    </a:lnTo>
                    <a:lnTo>
                      <a:pt x="690" y="208"/>
                    </a:lnTo>
                    <a:lnTo>
                      <a:pt x="690" y="208"/>
                    </a:lnTo>
                    <a:lnTo>
                      <a:pt x="690" y="210"/>
                    </a:lnTo>
                    <a:lnTo>
                      <a:pt x="687" y="210"/>
                    </a:lnTo>
                    <a:lnTo>
                      <a:pt x="687" y="210"/>
                    </a:lnTo>
                    <a:lnTo>
                      <a:pt x="685" y="213"/>
                    </a:lnTo>
                    <a:lnTo>
                      <a:pt x="683" y="213"/>
                    </a:lnTo>
                    <a:lnTo>
                      <a:pt x="683" y="213"/>
                    </a:lnTo>
                    <a:lnTo>
                      <a:pt x="683" y="213"/>
                    </a:lnTo>
                    <a:lnTo>
                      <a:pt x="683" y="213"/>
                    </a:lnTo>
                    <a:lnTo>
                      <a:pt x="680" y="213"/>
                    </a:lnTo>
                    <a:lnTo>
                      <a:pt x="678" y="215"/>
                    </a:lnTo>
                    <a:lnTo>
                      <a:pt x="675" y="215"/>
                    </a:lnTo>
                    <a:lnTo>
                      <a:pt x="671" y="215"/>
                    </a:lnTo>
                    <a:lnTo>
                      <a:pt x="668" y="217"/>
                    </a:lnTo>
                    <a:lnTo>
                      <a:pt x="664" y="220"/>
                    </a:lnTo>
                    <a:lnTo>
                      <a:pt x="661" y="222"/>
                    </a:lnTo>
                    <a:lnTo>
                      <a:pt x="664" y="225"/>
                    </a:lnTo>
                    <a:lnTo>
                      <a:pt x="664" y="225"/>
                    </a:lnTo>
                    <a:lnTo>
                      <a:pt x="666" y="227"/>
                    </a:lnTo>
                    <a:lnTo>
                      <a:pt x="664" y="227"/>
                    </a:lnTo>
                    <a:lnTo>
                      <a:pt x="664" y="227"/>
                    </a:lnTo>
                    <a:lnTo>
                      <a:pt x="664" y="229"/>
                    </a:lnTo>
                    <a:lnTo>
                      <a:pt x="661" y="232"/>
                    </a:lnTo>
                    <a:lnTo>
                      <a:pt x="661" y="232"/>
                    </a:lnTo>
                    <a:lnTo>
                      <a:pt x="661" y="232"/>
                    </a:lnTo>
                    <a:lnTo>
                      <a:pt x="659" y="232"/>
                    </a:lnTo>
                    <a:lnTo>
                      <a:pt x="659" y="232"/>
                    </a:lnTo>
                    <a:lnTo>
                      <a:pt x="657" y="232"/>
                    </a:lnTo>
                    <a:lnTo>
                      <a:pt x="657" y="232"/>
                    </a:lnTo>
                    <a:lnTo>
                      <a:pt x="654" y="232"/>
                    </a:lnTo>
                    <a:lnTo>
                      <a:pt x="654" y="232"/>
                    </a:lnTo>
                    <a:lnTo>
                      <a:pt x="654" y="232"/>
                    </a:lnTo>
                    <a:lnTo>
                      <a:pt x="652" y="234"/>
                    </a:lnTo>
                    <a:lnTo>
                      <a:pt x="652" y="236"/>
                    </a:lnTo>
                    <a:lnTo>
                      <a:pt x="652" y="236"/>
                    </a:lnTo>
                    <a:lnTo>
                      <a:pt x="652" y="236"/>
                    </a:lnTo>
                    <a:lnTo>
                      <a:pt x="649" y="239"/>
                    </a:lnTo>
                    <a:lnTo>
                      <a:pt x="647" y="239"/>
                    </a:lnTo>
                    <a:lnTo>
                      <a:pt x="645" y="239"/>
                    </a:lnTo>
                    <a:lnTo>
                      <a:pt x="645" y="241"/>
                    </a:lnTo>
                    <a:lnTo>
                      <a:pt x="645" y="241"/>
                    </a:lnTo>
                    <a:lnTo>
                      <a:pt x="645" y="243"/>
                    </a:lnTo>
                    <a:lnTo>
                      <a:pt x="645" y="243"/>
                    </a:lnTo>
                    <a:lnTo>
                      <a:pt x="647" y="243"/>
                    </a:lnTo>
                    <a:lnTo>
                      <a:pt x="649" y="246"/>
                    </a:lnTo>
                    <a:lnTo>
                      <a:pt x="649" y="246"/>
                    </a:lnTo>
                    <a:lnTo>
                      <a:pt x="649" y="248"/>
                    </a:lnTo>
                    <a:lnTo>
                      <a:pt x="649" y="248"/>
                    </a:lnTo>
                    <a:lnTo>
                      <a:pt x="647" y="251"/>
                    </a:lnTo>
                    <a:lnTo>
                      <a:pt x="647" y="248"/>
                    </a:lnTo>
                    <a:lnTo>
                      <a:pt x="647" y="251"/>
                    </a:lnTo>
                    <a:lnTo>
                      <a:pt x="645" y="251"/>
                    </a:lnTo>
                    <a:lnTo>
                      <a:pt x="645" y="248"/>
                    </a:lnTo>
                    <a:lnTo>
                      <a:pt x="645" y="248"/>
                    </a:lnTo>
                    <a:lnTo>
                      <a:pt x="645" y="248"/>
                    </a:lnTo>
                    <a:lnTo>
                      <a:pt x="642" y="248"/>
                    </a:lnTo>
                    <a:lnTo>
                      <a:pt x="642" y="248"/>
                    </a:lnTo>
                    <a:lnTo>
                      <a:pt x="642" y="251"/>
                    </a:lnTo>
                    <a:lnTo>
                      <a:pt x="640" y="248"/>
                    </a:lnTo>
                    <a:lnTo>
                      <a:pt x="640" y="251"/>
                    </a:lnTo>
                    <a:lnTo>
                      <a:pt x="640" y="248"/>
                    </a:lnTo>
                    <a:lnTo>
                      <a:pt x="640" y="251"/>
                    </a:lnTo>
                    <a:lnTo>
                      <a:pt x="638" y="251"/>
                    </a:lnTo>
                    <a:lnTo>
                      <a:pt x="638" y="253"/>
                    </a:lnTo>
                    <a:lnTo>
                      <a:pt x="635" y="253"/>
                    </a:lnTo>
                    <a:lnTo>
                      <a:pt x="635" y="253"/>
                    </a:lnTo>
                    <a:lnTo>
                      <a:pt x="633" y="253"/>
                    </a:lnTo>
                    <a:lnTo>
                      <a:pt x="633" y="253"/>
                    </a:lnTo>
                    <a:lnTo>
                      <a:pt x="635" y="253"/>
                    </a:lnTo>
                    <a:lnTo>
                      <a:pt x="633" y="255"/>
                    </a:lnTo>
                    <a:lnTo>
                      <a:pt x="633" y="255"/>
                    </a:lnTo>
                    <a:lnTo>
                      <a:pt x="631" y="255"/>
                    </a:lnTo>
                    <a:lnTo>
                      <a:pt x="631" y="255"/>
                    </a:lnTo>
                    <a:lnTo>
                      <a:pt x="628" y="255"/>
                    </a:lnTo>
                    <a:lnTo>
                      <a:pt x="626" y="255"/>
                    </a:lnTo>
                    <a:lnTo>
                      <a:pt x="626" y="255"/>
                    </a:lnTo>
                    <a:lnTo>
                      <a:pt x="626" y="255"/>
                    </a:lnTo>
                    <a:lnTo>
                      <a:pt x="626" y="253"/>
                    </a:lnTo>
                    <a:lnTo>
                      <a:pt x="623" y="253"/>
                    </a:lnTo>
                    <a:lnTo>
                      <a:pt x="623" y="255"/>
                    </a:lnTo>
                    <a:lnTo>
                      <a:pt x="621" y="255"/>
                    </a:lnTo>
                    <a:lnTo>
                      <a:pt x="621" y="255"/>
                    </a:lnTo>
                    <a:lnTo>
                      <a:pt x="621" y="255"/>
                    </a:lnTo>
                    <a:lnTo>
                      <a:pt x="621" y="258"/>
                    </a:lnTo>
                    <a:lnTo>
                      <a:pt x="619" y="258"/>
                    </a:lnTo>
                    <a:lnTo>
                      <a:pt x="619" y="258"/>
                    </a:lnTo>
                    <a:lnTo>
                      <a:pt x="616" y="258"/>
                    </a:lnTo>
                    <a:lnTo>
                      <a:pt x="616" y="260"/>
                    </a:lnTo>
                    <a:lnTo>
                      <a:pt x="616" y="260"/>
                    </a:lnTo>
                    <a:lnTo>
                      <a:pt x="616" y="260"/>
                    </a:lnTo>
                    <a:lnTo>
                      <a:pt x="614" y="262"/>
                    </a:lnTo>
                    <a:lnTo>
                      <a:pt x="607" y="265"/>
                    </a:lnTo>
                    <a:lnTo>
                      <a:pt x="607" y="267"/>
                    </a:lnTo>
                    <a:lnTo>
                      <a:pt x="607" y="267"/>
                    </a:lnTo>
                    <a:lnTo>
                      <a:pt x="607" y="269"/>
                    </a:lnTo>
                    <a:lnTo>
                      <a:pt x="607" y="269"/>
                    </a:lnTo>
                    <a:lnTo>
                      <a:pt x="607" y="269"/>
                    </a:lnTo>
                    <a:lnTo>
                      <a:pt x="605" y="269"/>
                    </a:lnTo>
                    <a:lnTo>
                      <a:pt x="605" y="269"/>
                    </a:lnTo>
                    <a:lnTo>
                      <a:pt x="602" y="272"/>
                    </a:lnTo>
                    <a:lnTo>
                      <a:pt x="602" y="269"/>
                    </a:lnTo>
                    <a:lnTo>
                      <a:pt x="602" y="269"/>
                    </a:lnTo>
                    <a:lnTo>
                      <a:pt x="600" y="269"/>
                    </a:lnTo>
                    <a:lnTo>
                      <a:pt x="600" y="269"/>
                    </a:lnTo>
                    <a:lnTo>
                      <a:pt x="600" y="269"/>
                    </a:lnTo>
                    <a:lnTo>
                      <a:pt x="600" y="269"/>
                    </a:lnTo>
                    <a:lnTo>
                      <a:pt x="600" y="269"/>
                    </a:lnTo>
                    <a:lnTo>
                      <a:pt x="597" y="269"/>
                    </a:lnTo>
                    <a:lnTo>
                      <a:pt x="597" y="267"/>
                    </a:lnTo>
                    <a:lnTo>
                      <a:pt x="597" y="267"/>
                    </a:lnTo>
                    <a:lnTo>
                      <a:pt x="597" y="267"/>
                    </a:lnTo>
                    <a:lnTo>
                      <a:pt x="597" y="267"/>
                    </a:lnTo>
                    <a:lnTo>
                      <a:pt x="595" y="267"/>
                    </a:lnTo>
                    <a:lnTo>
                      <a:pt x="593" y="262"/>
                    </a:lnTo>
                    <a:lnTo>
                      <a:pt x="590" y="262"/>
                    </a:lnTo>
                    <a:lnTo>
                      <a:pt x="583" y="262"/>
                    </a:lnTo>
                    <a:lnTo>
                      <a:pt x="579" y="265"/>
                    </a:lnTo>
                    <a:lnTo>
                      <a:pt x="571" y="265"/>
                    </a:lnTo>
                    <a:lnTo>
                      <a:pt x="571" y="262"/>
                    </a:lnTo>
                    <a:lnTo>
                      <a:pt x="571" y="262"/>
                    </a:lnTo>
                    <a:lnTo>
                      <a:pt x="569" y="262"/>
                    </a:lnTo>
                    <a:lnTo>
                      <a:pt x="567" y="262"/>
                    </a:lnTo>
                    <a:lnTo>
                      <a:pt x="569" y="262"/>
                    </a:lnTo>
                    <a:lnTo>
                      <a:pt x="567" y="262"/>
                    </a:lnTo>
                    <a:lnTo>
                      <a:pt x="564" y="262"/>
                    </a:lnTo>
                    <a:lnTo>
                      <a:pt x="562" y="265"/>
                    </a:lnTo>
                    <a:lnTo>
                      <a:pt x="562" y="269"/>
                    </a:lnTo>
                    <a:lnTo>
                      <a:pt x="562" y="269"/>
                    </a:lnTo>
                    <a:lnTo>
                      <a:pt x="562" y="269"/>
                    </a:lnTo>
                    <a:lnTo>
                      <a:pt x="560" y="272"/>
                    </a:lnTo>
                    <a:lnTo>
                      <a:pt x="560" y="274"/>
                    </a:lnTo>
                    <a:lnTo>
                      <a:pt x="560" y="274"/>
                    </a:lnTo>
                    <a:lnTo>
                      <a:pt x="560" y="274"/>
                    </a:lnTo>
                    <a:lnTo>
                      <a:pt x="560" y="274"/>
                    </a:lnTo>
                    <a:lnTo>
                      <a:pt x="560" y="277"/>
                    </a:lnTo>
                    <a:lnTo>
                      <a:pt x="557" y="277"/>
                    </a:lnTo>
                    <a:lnTo>
                      <a:pt x="555" y="274"/>
                    </a:lnTo>
                    <a:lnTo>
                      <a:pt x="553" y="272"/>
                    </a:lnTo>
                    <a:lnTo>
                      <a:pt x="550" y="267"/>
                    </a:lnTo>
                    <a:lnTo>
                      <a:pt x="546" y="267"/>
                    </a:lnTo>
                    <a:lnTo>
                      <a:pt x="546" y="265"/>
                    </a:lnTo>
                    <a:lnTo>
                      <a:pt x="546" y="267"/>
                    </a:lnTo>
                    <a:lnTo>
                      <a:pt x="543" y="265"/>
                    </a:lnTo>
                    <a:lnTo>
                      <a:pt x="546" y="262"/>
                    </a:lnTo>
                    <a:lnTo>
                      <a:pt x="543" y="260"/>
                    </a:lnTo>
                    <a:lnTo>
                      <a:pt x="541" y="260"/>
                    </a:lnTo>
                    <a:lnTo>
                      <a:pt x="538" y="258"/>
                    </a:lnTo>
                    <a:lnTo>
                      <a:pt x="538" y="258"/>
                    </a:lnTo>
                    <a:lnTo>
                      <a:pt x="536" y="260"/>
                    </a:lnTo>
                    <a:lnTo>
                      <a:pt x="534" y="260"/>
                    </a:lnTo>
                    <a:lnTo>
                      <a:pt x="531" y="262"/>
                    </a:lnTo>
                    <a:lnTo>
                      <a:pt x="531" y="262"/>
                    </a:lnTo>
                    <a:lnTo>
                      <a:pt x="531" y="260"/>
                    </a:lnTo>
                    <a:lnTo>
                      <a:pt x="531" y="260"/>
                    </a:lnTo>
                    <a:lnTo>
                      <a:pt x="531" y="258"/>
                    </a:lnTo>
                    <a:lnTo>
                      <a:pt x="527" y="253"/>
                    </a:lnTo>
                    <a:lnTo>
                      <a:pt x="524" y="255"/>
                    </a:lnTo>
                    <a:lnTo>
                      <a:pt x="522" y="258"/>
                    </a:lnTo>
                    <a:lnTo>
                      <a:pt x="522" y="255"/>
                    </a:lnTo>
                    <a:lnTo>
                      <a:pt x="522" y="255"/>
                    </a:lnTo>
                    <a:lnTo>
                      <a:pt x="522" y="255"/>
                    </a:lnTo>
                    <a:lnTo>
                      <a:pt x="522" y="253"/>
                    </a:lnTo>
                    <a:lnTo>
                      <a:pt x="522" y="253"/>
                    </a:lnTo>
                    <a:lnTo>
                      <a:pt x="522" y="251"/>
                    </a:lnTo>
                    <a:lnTo>
                      <a:pt x="522" y="251"/>
                    </a:lnTo>
                    <a:lnTo>
                      <a:pt x="522" y="251"/>
                    </a:lnTo>
                    <a:lnTo>
                      <a:pt x="520" y="248"/>
                    </a:lnTo>
                    <a:lnTo>
                      <a:pt x="517" y="246"/>
                    </a:lnTo>
                    <a:lnTo>
                      <a:pt x="517" y="246"/>
                    </a:lnTo>
                    <a:lnTo>
                      <a:pt x="515" y="241"/>
                    </a:lnTo>
                    <a:lnTo>
                      <a:pt x="512" y="241"/>
                    </a:lnTo>
                    <a:lnTo>
                      <a:pt x="512" y="239"/>
                    </a:lnTo>
                    <a:lnTo>
                      <a:pt x="512" y="239"/>
                    </a:lnTo>
                    <a:lnTo>
                      <a:pt x="510" y="239"/>
                    </a:lnTo>
                    <a:lnTo>
                      <a:pt x="510" y="236"/>
                    </a:lnTo>
                    <a:lnTo>
                      <a:pt x="501" y="234"/>
                    </a:lnTo>
                    <a:lnTo>
                      <a:pt x="498" y="232"/>
                    </a:lnTo>
                    <a:lnTo>
                      <a:pt x="496" y="229"/>
                    </a:lnTo>
                    <a:lnTo>
                      <a:pt x="496" y="229"/>
                    </a:lnTo>
                    <a:lnTo>
                      <a:pt x="494" y="229"/>
                    </a:lnTo>
                    <a:lnTo>
                      <a:pt x="489" y="227"/>
                    </a:lnTo>
                    <a:lnTo>
                      <a:pt x="489" y="225"/>
                    </a:lnTo>
                    <a:lnTo>
                      <a:pt x="489" y="222"/>
                    </a:lnTo>
                    <a:lnTo>
                      <a:pt x="489" y="222"/>
                    </a:lnTo>
                    <a:lnTo>
                      <a:pt x="486" y="222"/>
                    </a:lnTo>
                    <a:lnTo>
                      <a:pt x="486" y="222"/>
                    </a:lnTo>
                    <a:lnTo>
                      <a:pt x="484" y="222"/>
                    </a:lnTo>
                    <a:lnTo>
                      <a:pt x="484" y="220"/>
                    </a:lnTo>
                    <a:lnTo>
                      <a:pt x="479" y="222"/>
                    </a:lnTo>
                    <a:lnTo>
                      <a:pt x="477" y="222"/>
                    </a:lnTo>
                    <a:lnTo>
                      <a:pt x="477" y="222"/>
                    </a:lnTo>
                    <a:lnTo>
                      <a:pt x="475" y="225"/>
                    </a:lnTo>
                    <a:lnTo>
                      <a:pt x="475" y="227"/>
                    </a:lnTo>
                    <a:lnTo>
                      <a:pt x="475" y="227"/>
                    </a:lnTo>
                    <a:lnTo>
                      <a:pt x="475" y="227"/>
                    </a:lnTo>
                    <a:lnTo>
                      <a:pt x="470" y="227"/>
                    </a:lnTo>
                    <a:lnTo>
                      <a:pt x="468" y="227"/>
                    </a:lnTo>
                    <a:lnTo>
                      <a:pt x="468" y="227"/>
                    </a:lnTo>
                    <a:lnTo>
                      <a:pt x="468" y="225"/>
                    </a:lnTo>
                    <a:lnTo>
                      <a:pt x="468" y="225"/>
                    </a:lnTo>
                    <a:lnTo>
                      <a:pt x="465" y="227"/>
                    </a:lnTo>
                    <a:lnTo>
                      <a:pt x="465" y="225"/>
                    </a:lnTo>
                    <a:lnTo>
                      <a:pt x="463" y="225"/>
                    </a:lnTo>
                    <a:lnTo>
                      <a:pt x="463" y="225"/>
                    </a:lnTo>
                    <a:lnTo>
                      <a:pt x="465" y="225"/>
                    </a:lnTo>
                    <a:lnTo>
                      <a:pt x="465" y="222"/>
                    </a:lnTo>
                    <a:lnTo>
                      <a:pt x="465" y="222"/>
                    </a:lnTo>
                    <a:lnTo>
                      <a:pt x="465" y="220"/>
                    </a:lnTo>
                    <a:lnTo>
                      <a:pt x="463" y="220"/>
                    </a:lnTo>
                    <a:lnTo>
                      <a:pt x="463" y="217"/>
                    </a:lnTo>
                    <a:lnTo>
                      <a:pt x="463" y="217"/>
                    </a:lnTo>
                    <a:lnTo>
                      <a:pt x="460" y="215"/>
                    </a:lnTo>
                    <a:lnTo>
                      <a:pt x="460" y="213"/>
                    </a:lnTo>
                    <a:lnTo>
                      <a:pt x="458" y="213"/>
                    </a:lnTo>
                    <a:lnTo>
                      <a:pt x="458" y="213"/>
                    </a:lnTo>
                    <a:lnTo>
                      <a:pt x="458" y="213"/>
                    </a:lnTo>
                    <a:lnTo>
                      <a:pt x="458" y="210"/>
                    </a:lnTo>
                    <a:lnTo>
                      <a:pt x="458" y="208"/>
                    </a:lnTo>
                    <a:lnTo>
                      <a:pt x="456" y="208"/>
                    </a:lnTo>
                    <a:lnTo>
                      <a:pt x="456" y="208"/>
                    </a:lnTo>
                    <a:lnTo>
                      <a:pt x="453" y="208"/>
                    </a:lnTo>
                    <a:lnTo>
                      <a:pt x="453" y="208"/>
                    </a:lnTo>
                    <a:lnTo>
                      <a:pt x="451" y="210"/>
                    </a:lnTo>
                    <a:lnTo>
                      <a:pt x="449" y="210"/>
                    </a:lnTo>
                    <a:lnTo>
                      <a:pt x="446" y="213"/>
                    </a:lnTo>
                    <a:lnTo>
                      <a:pt x="449" y="213"/>
                    </a:lnTo>
                    <a:lnTo>
                      <a:pt x="449" y="215"/>
                    </a:lnTo>
                    <a:lnTo>
                      <a:pt x="446" y="217"/>
                    </a:lnTo>
                    <a:lnTo>
                      <a:pt x="446" y="217"/>
                    </a:lnTo>
                    <a:lnTo>
                      <a:pt x="446" y="222"/>
                    </a:lnTo>
                    <a:lnTo>
                      <a:pt x="444" y="225"/>
                    </a:lnTo>
                    <a:lnTo>
                      <a:pt x="444" y="225"/>
                    </a:lnTo>
                    <a:lnTo>
                      <a:pt x="442" y="227"/>
                    </a:lnTo>
                    <a:lnTo>
                      <a:pt x="442" y="227"/>
                    </a:lnTo>
                    <a:lnTo>
                      <a:pt x="442" y="229"/>
                    </a:lnTo>
                    <a:lnTo>
                      <a:pt x="439" y="232"/>
                    </a:lnTo>
                    <a:lnTo>
                      <a:pt x="439" y="232"/>
                    </a:lnTo>
                    <a:lnTo>
                      <a:pt x="437" y="232"/>
                    </a:lnTo>
                    <a:lnTo>
                      <a:pt x="437" y="234"/>
                    </a:lnTo>
                    <a:lnTo>
                      <a:pt x="432" y="236"/>
                    </a:lnTo>
                    <a:lnTo>
                      <a:pt x="432" y="239"/>
                    </a:lnTo>
                    <a:lnTo>
                      <a:pt x="432" y="239"/>
                    </a:lnTo>
                    <a:lnTo>
                      <a:pt x="430" y="241"/>
                    </a:lnTo>
                    <a:lnTo>
                      <a:pt x="430" y="241"/>
                    </a:lnTo>
                    <a:lnTo>
                      <a:pt x="430" y="243"/>
                    </a:lnTo>
                    <a:lnTo>
                      <a:pt x="427" y="246"/>
                    </a:lnTo>
                    <a:lnTo>
                      <a:pt x="425" y="246"/>
                    </a:lnTo>
                    <a:lnTo>
                      <a:pt x="425" y="246"/>
                    </a:lnTo>
                    <a:lnTo>
                      <a:pt x="423" y="246"/>
                    </a:lnTo>
                    <a:lnTo>
                      <a:pt x="423" y="246"/>
                    </a:lnTo>
                    <a:lnTo>
                      <a:pt x="420" y="248"/>
                    </a:lnTo>
                    <a:lnTo>
                      <a:pt x="420" y="248"/>
                    </a:lnTo>
                    <a:lnTo>
                      <a:pt x="418" y="248"/>
                    </a:lnTo>
                    <a:lnTo>
                      <a:pt x="416" y="248"/>
                    </a:lnTo>
                    <a:lnTo>
                      <a:pt x="416" y="248"/>
                    </a:lnTo>
                    <a:lnTo>
                      <a:pt x="413" y="248"/>
                    </a:lnTo>
                    <a:lnTo>
                      <a:pt x="413" y="251"/>
                    </a:lnTo>
                    <a:lnTo>
                      <a:pt x="411" y="253"/>
                    </a:lnTo>
                    <a:lnTo>
                      <a:pt x="406" y="255"/>
                    </a:lnTo>
                    <a:lnTo>
                      <a:pt x="406" y="258"/>
                    </a:lnTo>
                    <a:lnTo>
                      <a:pt x="406" y="260"/>
                    </a:lnTo>
                    <a:lnTo>
                      <a:pt x="406" y="260"/>
                    </a:lnTo>
                    <a:lnTo>
                      <a:pt x="401" y="265"/>
                    </a:lnTo>
                    <a:lnTo>
                      <a:pt x="399" y="265"/>
                    </a:lnTo>
                    <a:lnTo>
                      <a:pt x="394" y="269"/>
                    </a:lnTo>
                    <a:lnTo>
                      <a:pt x="394" y="265"/>
                    </a:lnTo>
                    <a:lnTo>
                      <a:pt x="390" y="255"/>
                    </a:lnTo>
                    <a:lnTo>
                      <a:pt x="390" y="253"/>
                    </a:lnTo>
                    <a:lnTo>
                      <a:pt x="387" y="248"/>
                    </a:lnTo>
                    <a:lnTo>
                      <a:pt x="387" y="246"/>
                    </a:lnTo>
                    <a:lnTo>
                      <a:pt x="385" y="246"/>
                    </a:lnTo>
                    <a:lnTo>
                      <a:pt x="385" y="243"/>
                    </a:lnTo>
                    <a:lnTo>
                      <a:pt x="385" y="241"/>
                    </a:lnTo>
                    <a:lnTo>
                      <a:pt x="387" y="239"/>
                    </a:lnTo>
                    <a:lnTo>
                      <a:pt x="385" y="239"/>
                    </a:lnTo>
                    <a:lnTo>
                      <a:pt x="385" y="236"/>
                    </a:lnTo>
                    <a:lnTo>
                      <a:pt x="385" y="234"/>
                    </a:lnTo>
                    <a:lnTo>
                      <a:pt x="387" y="234"/>
                    </a:lnTo>
                    <a:lnTo>
                      <a:pt x="387" y="232"/>
                    </a:lnTo>
                    <a:lnTo>
                      <a:pt x="387" y="232"/>
                    </a:lnTo>
                    <a:lnTo>
                      <a:pt x="387" y="229"/>
                    </a:lnTo>
                    <a:lnTo>
                      <a:pt x="385" y="227"/>
                    </a:lnTo>
                    <a:lnTo>
                      <a:pt x="385" y="225"/>
                    </a:lnTo>
                    <a:lnTo>
                      <a:pt x="383" y="225"/>
                    </a:lnTo>
                    <a:lnTo>
                      <a:pt x="380" y="225"/>
                    </a:lnTo>
                    <a:lnTo>
                      <a:pt x="380" y="225"/>
                    </a:lnTo>
                    <a:lnTo>
                      <a:pt x="375" y="229"/>
                    </a:lnTo>
                    <a:lnTo>
                      <a:pt x="373" y="232"/>
                    </a:lnTo>
                    <a:lnTo>
                      <a:pt x="371" y="232"/>
                    </a:lnTo>
                    <a:lnTo>
                      <a:pt x="368" y="229"/>
                    </a:lnTo>
                    <a:lnTo>
                      <a:pt x="368" y="229"/>
                    </a:lnTo>
                    <a:lnTo>
                      <a:pt x="364" y="227"/>
                    </a:lnTo>
                    <a:lnTo>
                      <a:pt x="361" y="225"/>
                    </a:lnTo>
                    <a:lnTo>
                      <a:pt x="359" y="222"/>
                    </a:lnTo>
                    <a:lnTo>
                      <a:pt x="359" y="220"/>
                    </a:lnTo>
                    <a:lnTo>
                      <a:pt x="359" y="217"/>
                    </a:lnTo>
                    <a:lnTo>
                      <a:pt x="359" y="217"/>
                    </a:lnTo>
                    <a:lnTo>
                      <a:pt x="359" y="217"/>
                    </a:lnTo>
                    <a:lnTo>
                      <a:pt x="361" y="215"/>
                    </a:lnTo>
                    <a:lnTo>
                      <a:pt x="364" y="213"/>
                    </a:lnTo>
                    <a:lnTo>
                      <a:pt x="366" y="213"/>
                    </a:lnTo>
                    <a:lnTo>
                      <a:pt x="366" y="208"/>
                    </a:lnTo>
                    <a:lnTo>
                      <a:pt x="364" y="206"/>
                    </a:lnTo>
                    <a:lnTo>
                      <a:pt x="361" y="203"/>
                    </a:lnTo>
                    <a:lnTo>
                      <a:pt x="357" y="203"/>
                    </a:lnTo>
                    <a:lnTo>
                      <a:pt x="352" y="203"/>
                    </a:lnTo>
                    <a:lnTo>
                      <a:pt x="349" y="210"/>
                    </a:lnTo>
                    <a:lnTo>
                      <a:pt x="347" y="213"/>
                    </a:lnTo>
                    <a:lnTo>
                      <a:pt x="347" y="220"/>
                    </a:lnTo>
                    <a:lnTo>
                      <a:pt x="347" y="225"/>
                    </a:lnTo>
                    <a:lnTo>
                      <a:pt x="345" y="225"/>
                    </a:lnTo>
                    <a:lnTo>
                      <a:pt x="342" y="225"/>
                    </a:lnTo>
                    <a:lnTo>
                      <a:pt x="340" y="222"/>
                    </a:lnTo>
                    <a:lnTo>
                      <a:pt x="338" y="220"/>
                    </a:lnTo>
                    <a:lnTo>
                      <a:pt x="338" y="217"/>
                    </a:lnTo>
                    <a:lnTo>
                      <a:pt x="338" y="215"/>
                    </a:lnTo>
                    <a:lnTo>
                      <a:pt x="338" y="210"/>
                    </a:lnTo>
                    <a:lnTo>
                      <a:pt x="335" y="208"/>
                    </a:lnTo>
                    <a:lnTo>
                      <a:pt x="333" y="206"/>
                    </a:lnTo>
                    <a:lnTo>
                      <a:pt x="331" y="206"/>
                    </a:lnTo>
                    <a:lnTo>
                      <a:pt x="328" y="203"/>
                    </a:lnTo>
                    <a:lnTo>
                      <a:pt x="323" y="199"/>
                    </a:lnTo>
                    <a:lnTo>
                      <a:pt x="323" y="199"/>
                    </a:lnTo>
                    <a:lnTo>
                      <a:pt x="323" y="199"/>
                    </a:lnTo>
                    <a:lnTo>
                      <a:pt x="316" y="199"/>
                    </a:lnTo>
                    <a:lnTo>
                      <a:pt x="314" y="199"/>
                    </a:lnTo>
                    <a:lnTo>
                      <a:pt x="314" y="199"/>
                    </a:lnTo>
                    <a:lnTo>
                      <a:pt x="309" y="199"/>
                    </a:lnTo>
                    <a:lnTo>
                      <a:pt x="305" y="201"/>
                    </a:lnTo>
                    <a:lnTo>
                      <a:pt x="305" y="201"/>
                    </a:lnTo>
                    <a:lnTo>
                      <a:pt x="305" y="201"/>
                    </a:lnTo>
                    <a:lnTo>
                      <a:pt x="302" y="199"/>
                    </a:lnTo>
                    <a:lnTo>
                      <a:pt x="302" y="199"/>
                    </a:lnTo>
                    <a:lnTo>
                      <a:pt x="300" y="196"/>
                    </a:lnTo>
                    <a:lnTo>
                      <a:pt x="295" y="194"/>
                    </a:lnTo>
                    <a:lnTo>
                      <a:pt x="295" y="191"/>
                    </a:lnTo>
                    <a:lnTo>
                      <a:pt x="293" y="191"/>
                    </a:lnTo>
                    <a:lnTo>
                      <a:pt x="290" y="191"/>
                    </a:lnTo>
                    <a:lnTo>
                      <a:pt x="286" y="189"/>
                    </a:lnTo>
                    <a:lnTo>
                      <a:pt x="283" y="189"/>
                    </a:lnTo>
                    <a:lnTo>
                      <a:pt x="279" y="189"/>
                    </a:lnTo>
                    <a:lnTo>
                      <a:pt x="279" y="187"/>
                    </a:lnTo>
                    <a:lnTo>
                      <a:pt x="276" y="187"/>
                    </a:lnTo>
                    <a:lnTo>
                      <a:pt x="276" y="187"/>
                    </a:lnTo>
                    <a:lnTo>
                      <a:pt x="276" y="187"/>
                    </a:lnTo>
                    <a:lnTo>
                      <a:pt x="274" y="189"/>
                    </a:lnTo>
                    <a:lnTo>
                      <a:pt x="269" y="187"/>
                    </a:lnTo>
                    <a:lnTo>
                      <a:pt x="269" y="189"/>
                    </a:lnTo>
                    <a:lnTo>
                      <a:pt x="269" y="189"/>
                    </a:lnTo>
                    <a:lnTo>
                      <a:pt x="269" y="187"/>
                    </a:lnTo>
                    <a:lnTo>
                      <a:pt x="267" y="187"/>
                    </a:lnTo>
                    <a:lnTo>
                      <a:pt x="267" y="184"/>
                    </a:lnTo>
                    <a:lnTo>
                      <a:pt x="267" y="184"/>
                    </a:lnTo>
                    <a:lnTo>
                      <a:pt x="267" y="180"/>
                    </a:lnTo>
                    <a:lnTo>
                      <a:pt x="267" y="180"/>
                    </a:lnTo>
                    <a:lnTo>
                      <a:pt x="267" y="177"/>
                    </a:lnTo>
                    <a:lnTo>
                      <a:pt x="267" y="177"/>
                    </a:lnTo>
                    <a:lnTo>
                      <a:pt x="264" y="175"/>
                    </a:lnTo>
                    <a:lnTo>
                      <a:pt x="264" y="173"/>
                    </a:lnTo>
                    <a:lnTo>
                      <a:pt x="264" y="173"/>
                    </a:lnTo>
                    <a:lnTo>
                      <a:pt x="264" y="170"/>
                    </a:lnTo>
                    <a:lnTo>
                      <a:pt x="262" y="170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7" y="168"/>
                    </a:lnTo>
                    <a:lnTo>
                      <a:pt x="255" y="168"/>
                    </a:lnTo>
                    <a:lnTo>
                      <a:pt x="253" y="168"/>
                    </a:lnTo>
                    <a:lnTo>
                      <a:pt x="253" y="165"/>
                    </a:lnTo>
                    <a:lnTo>
                      <a:pt x="250" y="165"/>
                    </a:lnTo>
                    <a:lnTo>
                      <a:pt x="250" y="165"/>
                    </a:lnTo>
                    <a:lnTo>
                      <a:pt x="250" y="165"/>
                    </a:lnTo>
                    <a:lnTo>
                      <a:pt x="245" y="165"/>
                    </a:lnTo>
                    <a:lnTo>
                      <a:pt x="245" y="165"/>
                    </a:lnTo>
                    <a:lnTo>
                      <a:pt x="245" y="168"/>
                    </a:lnTo>
                    <a:lnTo>
                      <a:pt x="243" y="168"/>
                    </a:lnTo>
                    <a:lnTo>
                      <a:pt x="241" y="168"/>
                    </a:lnTo>
                    <a:lnTo>
                      <a:pt x="241" y="170"/>
                    </a:lnTo>
                    <a:lnTo>
                      <a:pt x="241" y="170"/>
                    </a:lnTo>
                    <a:lnTo>
                      <a:pt x="238" y="173"/>
                    </a:lnTo>
                    <a:lnTo>
                      <a:pt x="231" y="175"/>
                    </a:lnTo>
                    <a:lnTo>
                      <a:pt x="231" y="175"/>
                    </a:lnTo>
                    <a:lnTo>
                      <a:pt x="229" y="177"/>
                    </a:lnTo>
                    <a:lnTo>
                      <a:pt x="227" y="177"/>
                    </a:lnTo>
                    <a:lnTo>
                      <a:pt x="227" y="177"/>
                    </a:lnTo>
                    <a:lnTo>
                      <a:pt x="227" y="180"/>
                    </a:lnTo>
                    <a:lnTo>
                      <a:pt x="222" y="180"/>
                    </a:lnTo>
                    <a:lnTo>
                      <a:pt x="220" y="180"/>
                    </a:lnTo>
                    <a:lnTo>
                      <a:pt x="217" y="182"/>
                    </a:lnTo>
                    <a:lnTo>
                      <a:pt x="215" y="182"/>
                    </a:lnTo>
                    <a:lnTo>
                      <a:pt x="210" y="182"/>
                    </a:lnTo>
                    <a:lnTo>
                      <a:pt x="210" y="184"/>
                    </a:lnTo>
                    <a:lnTo>
                      <a:pt x="212" y="187"/>
                    </a:lnTo>
                    <a:lnTo>
                      <a:pt x="212" y="191"/>
                    </a:lnTo>
                    <a:lnTo>
                      <a:pt x="212" y="194"/>
                    </a:lnTo>
                    <a:lnTo>
                      <a:pt x="212" y="194"/>
                    </a:lnTo>
                    <a:lnTo>
                      <a:pt x="212" y="196"/>
                    </a:lnTo>
                    <a:lnTo>
                      <a:pt x="212" y="199"/>
                    </a:lnTo>
                    <a:lnTo>
                      <a:pt x="212" y="199"/>
                    </a:lnTo>
                    <a:lnTo>
                      <a:pt x="210" y="199"/>
                    </a:lnTo>
                    <a:lnTo>
                      <a:pt x="210" y="199"/>
                    </a:lnTo>
                    <a:lnTo>
                      <a:pt x="203" y="199"/>
                    </a:lnTo>
                    <a:lnTo>
                      <a:pt x="198" y="203"/>
                    </a:lnTo>
                    <a:lnTo>
                      <a:pt x="196" y="203"/>
                    </a:lnTo>
                    <a:lnTo>
                      <a:pt x="194" y="201"/>
                    </a:lnTo>
                    <a:lnTo>
                      <a:pt x="186" y="203"/>
                    </a:lnTo>
                    <a:lnTo>
                      <a:pt x="184" y="203"/>
                    </a:lnTo>
                    <a:lnTo>
                      <a:pt x="184" y="206"/>
                    </a:lnTo>
                    <a:lnTo>
                      <a:pt x="184" y="206"/>
                    </a:lnTo>
                    <a:lnTo>
                      <a:pt x="184" y="208"/>
                    </a:lnTo>
                    <a:lnTo>
                      <a:pt x="184" y="208"/>
                    </a:lnTo>
                    <a:lnTo>
                      <a:pt x="186" y="213"/>
                    </a:lnTo>
                    <a:lnTo>
                      <a:pt x="186" y="217"/>
                    </a:lnTo>
                    <a:lnTo>
                      <a:pt x="184" y="222"/>
                    </a:lnTo>
                    <a:lnTo>
                      <a:pt x="184" y="222"/>
                    </a:lnTo>
                    <a:lnTo>
                      <a:pt x="182" y="225"/>
                    </a:lnTo>
                    <a:lnTo>
                      <a:pt x="182" y="227"/>
                    </a:lnTo>
                    <a:lnTo>
                      <a:pt x="177" y="232"/>
                    </a:lnTo>
                    <a:lnTo>
                      <a:pt x="175" y="234"/>
                    </a:lnTo>
                    <a:lnTo>
                      <a:pt x="172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3" y="234"/>
                    </a:lnTo>
                    <a:lnTo>
                      <a:pt x="163" y="236"/>
                    </a:lnTo>
                    <a:lnTo>
                      <a:pt x="160" y="236"/>
                    </a:lnTo>
                    <a:lnTo>
                      <a:pt x="156" y="241"/>
                    </a:lnTo>
                    <a:lnTo>
                      <a:pt x="153" y="241"/>
                    </a:lnTo>
                    <a:lnTo>
                      <a:pt x="151" y="241"/>
                    </a:lnTo>
                    <a:lnTo>
                      <a:pt x="149" y="239"/>
                    </a:lnTo>
                    <a:lnTo>
                      <a:pt x="146" y="236"/>
                    </a:lnTo>
                    <a:lnTo>
                      <a:pt x="144" y="234"/>
                    </a:lnTo>
                    <a:lnTo>
                      <a:pt x="144" y="234"/>
                    </a:lnTo>
                    <a:lnTo>
                      <a:pt x="144" y="234"/>
                    </a:lnTo>
                    <a:lnTo>
                      <a:pt x="142" y="234"/>
                    </a:lnTo>
                    <a:lnTo>
                      <a:pt x="139" y="234"/>
                    </a:lnTo>
                    <a:lnTo>
                      <a:pt x="139" y="234"/>
                    </a:lnTo>
                    <a:lnTo>
                      <a:pt x="137" y="236"/>
                    </a:lnTo>
                    <a:lnTo>
                      <a:pt x="134" y="241"/>
                    </a:lnTo>
                    <a:lnTo>
                      <a:pt x="134" y="246"/>
                    </a:lnTo>
                    <a:lnTo>
                      <a:pt x="134" y="251"/>
                    </a:lnTo>
                    <a:lnTo>
                      <a:pt x="134" y="253"/>
                    </a:lnTo>
                    <a:lnTo>
                      <a:pt x="132" y="262"/>
                    </a:lnTo>
                    <a:lnTo>
                      <a:pt x="130" y="262"/>
                    </a:lnTo>
                    <a:lnTo>
                      <a:pt x="130" y="269"/>
                    </a:lnTo>
                    <a:lnTo>
                      <a:pt x="130" y="269"/>
                    </a:lnTo>
                    <a:lnTo>
                      <a:pt x="130" y="272"/>
                    </a:lnTo>
                    <a:lnTo>
                      <a:pt x="125" y="274"/>
                    </a:lnTo>
                    <a:lnTo>
                      <a:pt x="125" y="274"/>
                    </a:lnTo>
                    <a:lnTo>
                      <a:pt x="123" y="274"/>
                    </a:lnTo>
                    <a:lnTo>
                      <a:pt x="120" y="272"/>
                    </a:lnTo>
                    <a:lnTo>
                      <a:pt x="118" y="272"/>
                    </a:lnTo>
                    <a:lnTo>
                      <a:pt x="116" y="274"/>
                    </a:lnTo>
                    <a:lnTo>
                      <a:pt x="113" y="279"/>
                    </a:lnTo>
                    <a:lnTo>
                      <a:pt x="111" y="281"/>
                    </a:lnTo>
                    <a:lnTo>
                      <a:pt x="111" y="281"/>
                    </a:lnTo>
                    <a:lnTo>
                      <a:pt x="108" y="279"/>
                    </a:lnTo>
                    <a:lnTo>
                      <a:pt x="108" y="279"/>
                    </a:lnTo>
                    <a:lnTo>
                      <a:pt x="106" y="279"/>
                    </a:lnTo>
                    <a:lnTo>
                      <a:pt x="104" y="281"/>
                    </a:lnTo>
                    <a:lnTo>
                      <a:pt x="104" y="281"/>
                    </a:lnTo>
                    <a:lnTo>
                      <a:pt x="101" y="286"/>
                    </a:lnTo>
                    <a:lnTo>
                      <a:pt x="101" y="286"/>
                    </a:lnTo>
                    <a:lnTo>
                      <a:pt x="99" y="286"/>
                    </a:lnTo>
                    <a:lnTo>
                      <a:pt x="99" y="288"/>
                    </a:lnTo>
                    <a:lnTo>
                      <a:pt x="99" y="288"/>
                    </a:lnTo>
                    <a:lnTo>
                      <a:pt x="97" y="288"/>
                    </a:lnTo>
                    <a:lnTo>
                      <a:pt x="92" y="288"/>
                    </a:lnTo>
                    <a:lnTo>
                      <a:pt x="90" y="288"/>
                    </a:lnTo>
                    <a:lnTo>
                      <a:pt x="85" y="288"/>
                    </a:lnTo>
                    <a:lnTo>
                      <a:pt x="80" y="286"/>
                    </a:lnTo>
                    <a:lnTo>
                      <a:pt x="80" y="284"/>
                    </a:lnTo>
                    <a:lnTo>
                      <a:pt x="75" y="284"/>
                    </a:lnTo>
                    <a:lnTo>
                      <a:pt x="73" y="286"/>
                    </a:lnTo>
                    <a:lnTo>
                      <a:pt x="73" y="284"/>
                    </a:lnTo>
                    <a:lnTo>
                      <a:pt x="75" y="281"/>
                    </a:lnTo>
                    <a:lnTo>
                      <a:pt x="75" y="279"/>
                    </a:lnTo>
                    <a:lnTo>
                      <a:pt x="75" y="279"/>
                    </a:lnTo>
                    <a:lnTo>
                      <a:pt x="78" y="279"/>
                    </a:lnTo>
                    <a:lnTo>
                      <a:pt x="78" y="279"/>
                    </a:lnTo>
                    <a:lnTo>
                      <a:pt x="78" y="277"/>
                    </a:lnTo>
                    <a:lnTo>
                      <a:pt x="75" y="274"/>
                    </a:lnTo>
                    <a:lnTo>
                      <a:pt x="78" y="272"/>
                    </a:lnTo>
                    <a:lnTo>
                      <a:pt x="78" y="272"/>
                    </a:lnTo>
                    <a:lnTo>
                      <a:pt x="78" y="269"/>
                    </a:lnTo>
                    <a:lnTo>
                      <a:pt x="75" y="267"/>
                    </a:lnTo>
                    <a:lnTo>
                      <a:pt x="75" y="265"/>
                    </a:lnTo>
                    <a:lnTo>
                      <a:pt x="78" y="265"/>
                    </a:lnTo>
                    <a:lnTo>
                      <a:pt x="78" y="265"/>
                    </a:lnTo>
                    <a:lnTo>
                      <a:pt x="80" y="265"/>
                    </a:lnTo>
                    <a:lnTo>
                      <a:pt x="82" y="265"/>
                    </a:lnTo>
                    <a:lnTo>
                      <a:pt x="82" y="265"/>
                    </a:lnTo>
                    <a:lnTo>
                      <a:pt x="82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0"/>
                    </a:lnTo>
                    <a:lnTo>
                      <a:pt x="85" y="260"/>
                    </a:lnTo>
                    <a:lnTo>
                      <a:pt x="85" y="258"/>
                    </a:lnTo>
                    <a:lnTo>
                      <a:pt x="82" y="255"/>
                    </a:lnTo>
                    <a:lnTo>
                      <a:pt x="85" y="253"/>
                    </a:lnTo>
                    <a:lnTo>
                      <a:pt x="85" y="253"/>
                    </a:lnTo>
                    <a:lnTo>
                      <a:pt x="85" y="251"/>
                    </a:lnTo>
                    <a:lnTo>
                      <a:pt x="85" y="251"/>
                    </a:lnTo>
                    <a:lnTo>
                      <a:pt x="85" y="248"/>
                    </a:lnTo>
                    <a:lnTo>
                      <a:pt x="87" y="246"/>
                    </a:lnTo>
                    <a:lnTo>
                      <a:pt x="85" y="246"/>
                    </a:lnTo>
                    <a:lnTo>
                      <a:pt x="85" y="243"/>
                    </a:lnTo>
                    <a:lnTo>
                      <a:pt x="82" y="243"/>
                    </a:lnTo>
                    <a:lnTo>
                      <a:pt x="80" y="243"/>
                    </a:lnTo>
                    <a:lnTo>
                      <a:pt x="78" y="243"/>
                    </a:lnTo>
                    <a:lnTo>
                      <a:pt x="75" y="241"/>
                    </a:lnTo>
                    <a:lnTo>
                      <a:pt x="75" y="241"/>
                    </a:lnTo>
                    <a:lnTo>
                      <a:pt x="75" y="241"/>
                    </a:lnTo>
                    <a:lnTo>
                      <a:pt x="75" y="241"/>
                    </a:lnTo>
                    <a:lnTo>
                      <a:pt x="73" y="239"/>
                    </a:lnTo>
                    <a:lnTo>
                      <a:pt x="71" y="241"/>
                    </a:lnTo>
                    <a:lnTo>
                      <a:pt x="71" y="239"/>
                    </a:lnTo>
                    <a:lnTo>
                      <a:pt x="71" y="239"/>
                    </a:lnTo>
                    <a:lnTo>
                      <a:pt x="68" y="236"/>
                    </a:lnTo>
                    <a:lnTo>
                      <a:pt x="66" y="236"/>
                    </a:lnTo>
                    <a:lnTo>
                      <a:pt x="68" y="234"/>
                    </a:lnTo>
                    <a:lnTo>
                      <a:pt x="66" y="234"/>
                    </a:lnTo>
                    <a:lnTo>
                      <a:pt x="66" y="232"/>
                    </a:lnTo>
                    <a:lnTo>
                      <a:pt x="66" y="232"/>
                    </a:lnTo>
                    <a:lnTo>
                      <a:pt x="66" y="229"/>
                    </a:lnTo>
                    <a:lnTo>
                      <a:pt x="66" y="229"/>
                    </a:lnTo>
                    <a:lnTo>
                      <a:pt x="66" y="227"/>
                    </a:lnTo>
                    <a:lnTo>
                      <a:pt x="64" y="225"/>
                    </a:lnTo>
                    <a:lnTo>
                      <a:pt x="64" y="225"/>
                    </a:lnTo>
                    <a:lnTo>
                      <a:pt x="64" y="220"/>
                    </a:lnTo>
                    <a:lnTo>
                      <a:pt x="61" y="220"/>
                    </a:lnTo>
                    <a:lnTo>
                      <a:pt x="61" y="215"/>
                    </a:lnTo>
                    <a:lnTo>
                      <a:pt x="59" y="215"/>
                    </a:lnTo>
                    <a:lnTo>
                      <a:pt x="59" y="213"/>
                    </a:lnTo>
                    <a:lnTo>
                      <a:pt x="57" y="213"/>
                    </a:lnTo>
                    <a:lnTo>
                      <a:pt x="57" y="208"/>
                    </a:lnTo>
                    <a:lnTo>
                      <a:pt x="57" y="208"/>
                    </a:lnTo>
                    <a:lnTo>
                      <a:pt x="57" y="208"/>
                    </a:lnTo>
                    <a:lnTo>
                      <a:pt x="54" y="206"/>
                    </a:lnTo>
                    <a:lnTo>
                      <a:pt x="54" y="206"/>
                    </a:lnTo>
                    <a:lnTo>
                      <a:pt x="52" y="206"/>
                    </a:lnTo>
                    <a:lnTo>
                      <a:pt x="49" y="206"/>
                    </a:lnTo>
                    <a:lnTo>
                      <a:pt x="49" y="203"/>
                    </a:lnTo>
                    <a:lnTo>
                      <a:pt x="47" y="203"/>
                    </a:lnTo>
                    <a:lnTo>
                      <a:pt x="45" y="203"/>
                    </a:lnTo>
                    <a:lnTo>
                      <a:pt x="45" y="203"/>
                    </a:lnTo>
                    <a:lnTo>
                      <a:pt x="42" y="206"/>
                    </a:lnTo>
                    <a:lnTo>
                      <a:pt x="40" y="206"/>
                    </a:lnTo>
                    <a:lnTo>
                      <a:pt x="42" y="201"/>
                    </a:lnTo>
                    <a:lnTo>
                      <a:pt x="40" y="199"/>
                    </a:lnTo>
                    <a:lnTo>
                      <a:pt x="40" y="199"/>
                    </a:lnTo>
                    <a:lnTo>
                      <a:pt x="38" y="199"/>
                    </a:lnTo>
                    <a:lnTo>
                      <a:pt x="35" y="199"/>
                    </a:lnTo>
                    <a:lnTo>
                      <a:pt x="35" y="199"/>
                    </a:lnTo>
                    <a:lnTo>
                      <a:pt x="35" y="199"/>
                    </a:lnTo>
                    <a:lnTo>
                      <a:pt x="35" y="199"/>
                    </a:lnTo>
                    <a:lnTo>
                      <a:pt x="33" y="199"/>
                    </a:lnTo>
                    <a:lnTo>
                      <a:pt x="31" y="196"/>
                    </a:lnTo>
                    <a:lnTo>
                      <a:pt x="31" y="196"/>
                    </a:lnTo>
                    <a:lnTo>
                      <a:pt x="31" y="194"/>
                    </a:lnTo>
                    <a:lnTo>
                      <a:pt x="28" y="194"/>
                    </a:lnTo>
                    <a:lnTo>
                      <a:pt x="28" y="191"/>
                    </a:lnTo>
                    <a:lnTo>
                      <a:pt x="28" y="191"/>
                    </a:lnTo>
                    <a:lnTo>
                      <a:pt x="28" y="189"/>
                    </a:lnTo>
                    <a:lnTo>
                      <a:pt x="28" y="189"/>
                    </a:lnTo>
                    <a:lnTo>
                      <a:pt x="31" y="187"/>
                    </a:lnTo>
                    <a:lnTo>
                      <a:pt x="23" y="189"/>
                    </a:lnTo>
                    <a:lnTo>
                      <a:pt x="23" y="187"/>
                    </a:lnTo>
                    <a:lnTo>
                      <a:pt x="23" y="189"/>
                    </a:lnTo>
                    <a:lnTo>
                      <a:pt x="21" y="187"/>
                    </a:lnTo>
                    <a:lnTo>
                      <a:pt x="21" y="189"/>
                    </a:lnTo>
                    <a:lnTo>
                      <a:pt x="19" y="187"/>
                    </a:lnTo>
                    <a:lnTo>
                      <a:pt x="19" y="189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4" y="189"/>
                    </a:lnTo>
                    <a:lnTo>
                      <a:pt x="14" y="189"/>
                    </a:lnTo>
                    <a:lnTo>
                      <a:pt x="12" y="189"/>
                    </a:lnTo>
                    <a:lnTo>
                      <a:pt x="9" y="191"/>
                    </a:lnTo>
                    <a:lnTo>
                      <a:pt x="9" y="191"/>
                    </a:lnTo>
                    <a:lnTo>
                      <a:pt x="7" y="191"/>
                    </a:lnTo>
                    <a:lnTo>
                      <a:pt x="5" y="189"/>
                    </a:lnTo>
                    <a:lnTo>
                      <a:pt x="2" y="189"/>
                    </a:lnTo>
                    <a:lnTo>
                      <a:pt x="0" y="187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7" name="Freeform 28"/>
              <p:cNvSpPr>
                <a:spLocks/>
              </p:cNvSpPr>
              <p:nvPr/>
            </p:nvSpPr>
            <p:spPr bwMode="auto">
              <a:xfrm>
                <a:off x="5498885" y="2215317"/>
                <a:ext cx="757622" cy="1140152"/>
              </a:xfrm>
              <a:custGeom>
                <a:avLst/>
                <a:gdLst/>
                <a:ahLst/>
                <a:cxnLst>
                  <a:cxn ang="0">
                    <a:pos x="16" y="938"/>
                  </a:cxn>
                  <a:cxn ang="0">
                    <a:pos x="21" y="898"/>
                  </a:cxn>
                  <a:cxn ang="0">
                    <a:pos x="19" y="867"/>
                  </a:cxn>
                  <a:cxn ang="0">
                    <a:pos x="7" y="836"/>
                  </a:cxn>
                  <a:cxn ang="0">
                    <a:pos x="2" y="799"/>
                  </a:cxn>
                  <a:cxn ang="0">
                    <a:pos x="26" y="770"/>
                  </a:cxn>
                  <a:cxn ang="0">
                    <a:pos x="37" y="733"/>
                  </a:cxn>
                  <a:cxn ang="0">
                    <a:pos x="54" y="683"/>
                  </a:cxn>
                  <a:cxn ang="0">
                    <a:pos x="63" y="655"/>
                  </a:cxn>
                  <a:cxn ang="0">
                    <a:pos x="82" y="633"/>
                  </a:cxn>
                  <a:cxn ang="0">
                    <a:pos x="130" y="621"/>
                  </a:cxn>
                  <a:cxn ang="0">
                    <a:pos x="167" y="600"/>
                  </a:cxn>
                  <a:cxn ang="0">
                    <a:pos x="217" y="567"/>
                  </a:cxn>
                  <a:cxn ang="0">
                    <a:pos x="241" y="532"/>
                  </a:cxn>
                  <a:cxn ang="0">
                    <a:pos x="288" y="518"/>
                  </a:cxn>
                  <a:cxn ang="0">
                    <a:pos x="328" y="536"/>
                  </a:cxn>
                  <a:cxn ang="0">
                    <a:pos x="389" y="513"/>
                  </a:cxn>
                  <a:cxn ang="0">
                    <a:pos x="396" y="461"/>
                  </a:cxn>
                  <a:cxn ang="0">
                    <a:pos x="370" y="423"/>
                  </a:cxn>
                  <a:cxn ang="0">
                    <a:pos x="378" y="366"/>
                  </a:cxn>
                  <a:cxn ang="0">
                    <a:pos x="399" y="305"/>
                  </a:cxn>
                  <a:cxn ang="0">
                    <a:pos x="394" y="244"/>
                  </a:cxn>
                  <a:cxn ang="0">
                    <a:pos x="382" y="194"/>
                  </a:cxn>
                  <a:cxn ang="0">
                    <a:pos x="420" y="137"/>
                  </a:cxn>
                  <a:cxn ang="0">
                    <a:pos x="444" y="92"/>
                  </a:cxn>
                  <a:cxn ang="0">
                    <a:pos x="479" y="88"/>
                  </a:cxn>
                  <a:cxn ang="0">
                    <a:pos x="510" y="59"/>
                  </a:cxn>
                  <a:cxn ang="0">
                    <a:pos x="524" y="12"/>
                  </a:cxn>
                  <a:cxn ang="0">
                    <a:pos x="578" y="24"/>
                  </a:cxn>
                  <a:cxn ang="0">
                    <a:pos x="597" y="50"/>
                  </a:cxn>
                  <a:cxn ang="0">
                    <a:pos x="593" y="99"/>
                  </a:cxn>
                  <a:cxn ang="0">
                    <a:pos x="595" y="144"/>
                  </a:cxn>
                  <a:cxn ang="0">
                    <a:pos x="607" y="168"/>
                  </a:cxn>
                  <a:cxn ang="0">
                    <a:pos x="611" y="220"/>
                  </a:cxn>
                  <a:cxn ang="0">
                    <a:pos x="602" y="265"/>
                  </a:cxn>
                  <a:cxn ang="0">
                    <a:pos x="621" y="305"/>
                  </a:cxn>
                  <a:cxn ang="0">
                    <a:pos x="642" y="333"/>
                  </a:cxn>
                  <a:cxn ang="0">
                    <a:pos x="645" y="369"/>
                  </a:cxn>
                  <a:cxn ang="0">
                    <a:pos x="647" y="433"/>
                  </a:cxn>
                  <a:cxn ang="0">
                    <a:pos x="663" y="501"/>
                  </a:cxn>
                  <a:cxn ang="0">
                    <a:pos x="713" y="532"/>
                  </a:cxn>
                  <a:cxn ang="0">
                    <a:pos x="696" y="579"/>
                  </a:cxn>
                  <a:cxn ang="0">
                    <a:pos x="673" y="657"/>
                  </a:cxn>
                  <a:cxn ang="0">
                    <a:pos x="675" y="709"/>
                  </a:cxn>
                  <a:cxn ang="0">
                    <a:pos x="649" y="735"/>
                  </a:cxn>
                  <a:cxn ang="0">
                    <a:pos x="621" y="756"/>
                  </a:cxn>
                  <a:cxn ang="0">
                    <a:pos x="585" y="782"/>
                  </a:cxn>
                  <a:cxn ang="0">
                    <a:pos x="552" y="818"/>
                  </a:cxn>
                  <a:cxn ang="0">
                    <a:pos x="512" y="853"/>
                  </a:cxn>
                  <a:cxn ang="0">
                    <a:pos x="453" y="872"/>
                  </a:cxn>
                  <a:cxn ang="0">
                    <a:pos x="415" y="891"/>
                  </a:cxn>
                  <a:cxn ang="0">
                    <a:pos x="382" y="872"/>
                  </a:cxn>
                  <a:cxn ang="0">
                    <a:pos x="345" y="872"/>
                  </a:cxn>
                  <a:cxn ang="0">
                    <a:pos x="295" y="872"/>
                  </a:cxn>
                  <a:cxn ang="0">
                    <a:pos x="293" y="926"/>
                  </a:cxn>
                  <a:cxn ang="0">
                    <a:pos x="281" y="964"/>
                  </a:cxn>
                  <a:cxn ang="0">
                    <a:pos x="248" y="1014"/>
                  </a:cxn>
                  <a:cxn ang="0">
                    <a:pos x="203" y="1028"/>
                  </a:cxn>
                  <a:cxn ang="0">
                    <a:pos x="165" y="1049"/>
                  </a:cxn>
                  <a:cxn ang="0">
                    <a:pos x="120" y="1063"/>
                  </a:cxn>
                  <a:cxn ang="0">
                    <a:pos x="73" y="1032"/>
                  </a:cxn>
                  <a:cxn ang="0">
                    <a:pos x="54" y="973"/>
                  </a:cxn>
                </a:cxnLst>
                <a:rect l="0" t="0" r="r" b="b"/>
                <a:pathLst>
                  <a:path w="713" h="1073">
                    <a:moveTo>
                      <a:pt x="4" y="983"/>
                    </a:moveTo>
                    <a:lnTo>
                      <a:pt x="4" y="978"/>
                    </a:lnTo>
                    <a:lnTo>
                      <a:pt x="4" y="976"/>
                    </a:lnTo>
                    <a:lnTo>
                      <a:pt x="4" y="976"/>
                    </a:lnTo>
                    <a:lnTo>
                      <a:pt x="7" y="976"/>
                    </a:lnTo>
                    <a:lnTo>
                      <a:pt x="7" y="976"/>
                    </a:lnTo>
                    <a:lnTo>
                      <a:pt x="9" y="973"/>
                    </a:lnTo>
                    <a:lnTo>
                      <a:pt x="9" y="971"/>
                    </a:lnTo>
                    <a:lnTo>
                      <a:pt x="9" y="971"/>
                    </a:lnTo>
                    <a:lnTo>
                      <a:pt x="11" y="971"/>
                    </a:lnTo>
                    <a:lnTo>
                      <a:pt x="11" y="966"/>
                    </a:lnTo>
                    <a:lnTo>
                      <a:pt x="14" y="964"/>
                    </a:lnTo>
                    <a:lnTo>
                      <a:pt x="14" y="964"/>
                    </a:lnTo>
                    <a:lnTo>
                      <a:pt x="16" y="959"/>
                    </a:lnTo>
                    <a:lnTo>
                      <a:pt x="14" y="957"/>
                    </a:lnTo>
                    <a:lnTo>
                      <a:pt x="14" y="957"/>
                    </a:lnTo>
                    <a:lnTo>
                      <a:pt x="14" y="955"/>
                    </a:lnTo>
                    <a:lnTo>
                      <a:pt x="16" y="952"/>
                    </a:lnTo>
                    <a:lnTo>
                      <a:pt x="16" y="950"/>
                    </a:lnTo>
                    <a:lnTo>
                      <a:pt x="16" y="950"/>
                    </a:lnTo>
                    <a:lnTo>
                      <a:pt x="16" y="947"/>
                    </a:lnTo>
                    <a:lnTo>
                      <a:pt x="19" y="945"/>
                    </a:lnTo>
                    <a:lnTo>
                      <a:pt x="19" y="945"/>
                    </a:lnTo>
                    <a:lnTo>
                      <a:pt x="19" y="943"/>
                    </a:lnTo>
                    <a:lnTo>
                      <a:pt x="19" y="940"/>
                    </a:lnTo>
                    <a:lnTo>
                      <a:pt x="16" y="938"/>
                    </a:lnTo>
                    <a:lnTo>
                      <a:pt x="16" y="938"/>
                    </a:lnTo>
                    <a:lnTo>
                      <a:pt x="16" y="936"/>
                    </a:lnTo>
                    <a:lnTo>
                      <a:pt x="16" y="933"/>
                    </a:lnTo>
                    <a:lnTo>
                      <a:pt x="16" y="933"/>
                    </a:lnTo>
                    <a:lnTo>
                      <a:pt x="16" y="931"/>
                    </a:lnTo>
                    <a:lnTo>
                      <a:pt x="16" y="929"/>
                    </a:lnTo>
                    <a:lnTo>
                      <a:pt x="16" y="929"/>
                    </a:lnTo>
                    <a:lnTo>
                      <a:pt x="19" y="926"/>
                    </a:lnTo>
                    <a:lnTo>
                      <a:pt x="19" y="924"/>
                    </a:lnTo>
                    <a:lnTo>
                      <a:pt x="19" y="924"/>
                    </a:lnTo>
                    <a:lnTo>
                      <a:pt x="21" y="921"/>
                    </a:lnTo>
                    <a:lnTo>
                      <a:pt x="21" y="919"/>
                    </a:lnTo>
                    <a:lnTo>
                      <a:pt x="21" y="919"/>
                    </a:lnTo>
                    <a:lnTo>
                      <a:pt x="21" y="919"/>
                    </a:lnTo>
                    <a:lnTo>
                      <a:pt x="21" y="917"/>
                    </a:lnTo>
                    <a:lnTo>
                      <a:pt x="21" y="917"/>
                    </a:lnTo>
                    <a:lnTo>
                      <a:pt x="21" y="914"/>
                    </a:lnTo>
                    <a:lnTo>
                      <a:pt x="21" y="912"/>
                    </a:lnTo>
                    <a:lnTo>
                      <a:pt x="19" y="912"/>
                    </a:lnTo>
                    <a:lnTo>
                      <a:pt x="21" y="912"/>
                    </a:lnTo>
                    <a:lnTo>
                      <a:pt x="19" y="910"/>
                    </a:lnTo>
                    <a:lnTo>
                      <a:pt x="21" y="907"/>
                    </a:lnTo>
                    <a:lnTo>
                      <a:pt x="19" y="905"/>
                    </a:lnTo>
                    <a:lnTo>
                      <a:pt x="21" y="903"/>
                    </a:lnTo>
                    <a:lnTo>
                      <a:pt x="21" y="900"/>
                    </a:lnTo>
                    <a:lnTo>
                      <a:pt x="21" y="900"/>
                    </a:lnTo>
                    <a:lnTo>
                      <a:pt x="21" y="900"/>
                    </a:lnTo>
                    <a:lnTo>
                      <a:pt x="21" y="898"/>
                    </a:lnTo>
                    <a:lnTo>
                      <a:pt x="19" y="898"/>
                    </a:lnTo>
                    <a:lnTo>
                      <a:pt x="19" y="898"/>
                    </a:lnTo>
                    <a:lnTo>
                      <a:pt x="19" y="895"/>
                    </a:lnTo>
                    <a:lnTo>
                      <a:pt x="19" y="893"/>
                    </a:lnTo>
                    <a:lnTo>
                      <a:pt x="19" y="893"/>
                    </a:lnTo>
                    <a:lnTo>
                      <a:pt x="21" y="891"/>
                    </a:lnTo>
                    <a:lnTo>
                      <a:pt x="19" y="888"/>
                    </a:lnTo>
                    <a:lnTo>
                      <a:pt x="21" y="888"/>
                    </a:lnTo>
                    <a:lnTo>
                      <a:pt x="21" y="888"/>
                    </a:lnTo>
                    <a:lnTo>
                      <a:pt x="23" y="884"/>
                    </a:lnTo>
                    <a:lnTo>
                      <a:pt x="23" y="884"/>
                    </a:lnTo>
                    <a:lnTo>
                      <a:pt x="23" y="884"/>
                    </a:lnTo>
                    <a:lnTo>
                      <a:pt x="26" y="881"/>
                    </a:lnTo>
                    <a:lnTo>
                      <a:pt x="26" y="881"/>
                    </a:lnTo>
                    <a:lnTo>
                      <a:pt x="26" y="879"/>
                    </a:lnTo>
                    <a:lnTo>
                      <a:pt x="26" y="879"/>
                    </a:lnTo>
                    <a:lnTo>
                      <a:pt x="26" y="879"/>
                    </a:lnTo>
                    <a:lnTo>
                      <a:pt x="26" y="879"/>
                    </a:lnTo>
                    <a:lnTo>
                      <a:pt x="26" y="877"/>
                    </a:lnTo>
                    <a:lnTo>
                      <a:pt x="23" y="877"/>
                    </a:lnTo>
                    <a:lnTo>
                      <a:pt x="26" y="877"/>
                    </a:lnTo>
                    <a:lnTo>
                      <a:pt x="23" y="877"/>
                    </a:lnTo>
                    <a:lnTo>
                      <a:pt x="23" y="874"/>
                    </a:lnTo>
                    <a:lnTo>
                      <a:pt x="23" y="874"/>
                    </a:lnTo>
                    <a:lnTo>
                      <a:pt x="21" y="870"/>
                    </a:lnTo>
                    <a:lnTo>
                      <a:pt x="21" y="867"/>
                    </a:lnTo>
                    <a:lnTo>
                      <a:pt x="19" y="867"/>
                    </a:lnTo>
                    <a:lnTo>
                      <a:pt x="19" y="865"/>
                    </a:lnTo>
                    <a:lnTo>
                      <a:pt x="16" y="865"/>
                    </a:lnTo>
                    <a:lnTo>
                      <a:pt x="14" y="865"/>
                    </a:lnTo>
                    <a:lnTo>
                      <a:pt x="14" y="865"/>
                    </a:lnTo>
                    <a:lnTo>
                      <a:pt x="14" y="865"/>
                    </a:lnTo>
                    <a:lnTo>
                      <a:pt x="11" y="865"/>
                    </a:lnTo>
                    <a:lnTo>
                      <a:pt x="14" y="862"/>
                    </a:lnTo>
                    <a:lnTo>
                      <a:pt x="11" y="862"/>
                    </a:lnTo>
                    <a:lnTo>
                      <a:pt x="11" y="860"/>
                    </a:lnTo>
                    <a:lnTo>
                      <a:pt x="11" y="860"/>
                    </a:lnTo>
                    <a:lnTo>
                      <a:pt x="11" y="860"/>
                    </a:lnTo>
                    <a:lnTo>
                      <a:pt x="9" y="858"/>
                    </a:lnTo>
                    <a:lnTo>
                      <a:pt x="9" y="858"/>
                    </a:lnTo>
                    <a:lnTo>
                      <a:pt x="11" y="858"/>
                    </a:lnTo>
                    <a:lnTo>
                      <a:pt x="11" y="855"/>
                    </a:lnTo>
                    <a:lnTo>
                      <a:pt x="11" y="853"/>
                    </a:lnTo>
                    <a:lnTo>
                      <a:pt x="11" y="853"/>
                    </a:lnTo>
                    <a:lnTo>
                      <a:pt x="11" y="848"/>
                    </a:lnTo>
                    <a:lnTo>
                      <a:pt x="11" y="848"/>
                    </a:lnTo>
                    <a:lnTo>
                      <a:pt x="11" y="846"/>
                    </a:lnTo>
                    <a:lnTo>
                      <a:pt x="9" y="844"/>
                    </a:lnTo>
                    <a:lnTo>
                      <a:pt x="11" y="844"/>
                    </a:lnTo>
                    <a:lnTo>
                      <a:pt x="11" y="844"/>
                    </a:lnTo>
                    <a:lnTo>
                      <a:pt x="9" y="841"/>
                    </a:lnTo>
                    <a:lnTo>
                      <a:pt x="9" y="841"/>
                    </a:lnTo>
                    <a:lnTo>
                      <a:pt x="9" y="839"/>
                    </a:lnTo>
                    <a:lnTo>
                      <a:pt x="7" y="836"/>
                    </a:lnTo>
                    <a:lnTo>
                      <a:pt x="7" y="834"/>
                    </a:lnTo>
                    <a:lnTo>
                      <a:pt x="7" y="832"/>
                    </a:lnTo>
                    <a:lnTo>
                      <a:pt x="9" y="832"/>
                    </a:lnTo>
                    <a:lnTo>
                      <a:pt x="9" y="829"/>
                    </a:lnTo>
                    <a:lnTo>
                      <a:pt x="7" y="829"/>
                    </a:lnTo>
                    <a:lnTo>
                      <a:pt x="7" y="829"/>
                    </a:lnTo>
                    <a:lnTo>
                      <a:pt x="7" y="827"/>
                    </a:lnTo>
                    <a:lnTo>
                      <a:pt x="7" y="827"/>
                    </a:lnTo>
                    <a:lnTo>
                      <a:pt x="7" y="827"/>
                    </a:lnTo>
                    <a:lnTo>
                      <a:pt x="7" y="825"/>
                    </a:lnTo>
                    <a:lnTo>
                      <a:pt x="7" y="822"/>
                    </a:lnTo>
                    <a:lnTo>
                      <a:pt x="7" y="820"/>
                    </a:lnTo>
                    <a:lnTo>
                      <a:pt x="2" y="820"/>
                    </a:lnTo>
                    <a:lnTo>
                      <a:pt x="2" y="818"/>
                    </a:lnTo>
                    <a:lnTo>
                      <a:pt x="0" y="815"/>
                    </a:lnTo>
                    <a:lnTo>
                      <a:pt x="0" y="815"/>
                    </a:lnTo>
                    <a:lnTo>
                      <a:pt x="0" y="810"/>
                    </a:lnTo>
                    <a:lnTo>
                      <a:pt x="0" y="810"/>
                    </a:lnTo>
                    <a:lnTo>
                      <a:pt x="0" y="808"/>
                    </a:lnTo>
                    <a:lnTo>
                      <a:pt x="0" y="808"/>
                    </a:lnTo>
                    <a:lnTo>
                      <a:pt x="0" y="806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803"/>
                    </a:lnTo>
                    <a:lnTo>
                      <a:pt x="2" y="801"/>
                    </a:lnTo>
                    <a:lnTo>
                      <a:pt x="2" y="801"/>
                    </a:lnTo>
                    <a:lnTo>
                      <a:pt x="2" y="799"/>
                    </a:lnTo>
                    <a:lnTo>
                      <a:pt x="4" y="799"/>
                    </a:lnTo>
                    <a:lnTo>
                      <a:pt x="4" y="799"/>
                    </a:lnTo>
                    <a:lnTo>
                      <a:pt x="7" y="799"/>
                    </a:lnTo>
                    <a:lnTo>
                      <a:pt x="7" y="796"/>
                    </a:lnTo>
                    <a:lnTo>
                      <a:pt x="4" y="796"/>
                    </a:lnTo>
                    <a:lnTo>
                      <a:pt x="2" y="796"/>
                    </a:lnTo>
                    <a:lnTo>
                      <a:pt x="4" y="794"/>
                    </a:lnTo>
                    <a:lnTo>
                      <a:pt x="7" y="792"/>
                    </a:lnTo>
                    <a:lnTo>
                      <a:pt x="7" y="792"/>
                    </a:lnTo>
                    <a:lnTo>
                      <a:pt x="7" y="789"/>
                    </a:lnTo>
                    <a:lnTo>
                      <a:pt x="7" y="789"/>
                    </a:lnTo>
                    <a:lnTo>
                      <a:pt x="9" y="787"/>
                    </a:lnTo>
                    <a:lnTo>
                      <a:pt x="11" y="789"/>
                    </a:lnTo>
                    <a:lnTo>
                      <a:pt x="14" y="784"/>
                    </a:lnTo>
                    <a:lnTo>
                      <a:pt x="14" y="784"/>
                    </a:lnTo>
                    <a:lnTo>
                      <a:pt x="16" y="784"/>
                    </a:lnTo>
                    <a:lnTo>
                      <a:pt x="16" y="782"/>
                    </a:lnTo>
                    <a:lnTo>
                      <a:pt x="16" y="782"/>
                    </a:lnTo>
                    <a:lnTo>
                      <a:pt x="19" y="782"/>
                    </a:lnTo>
                    <a:lnTo>
                      <a:pt x="21" y="775"/>
                    </a:lnTo>
                    <a:lnTo>
                      <a:pt x="23" y="775"/>
                    </a:lnTo>
                    <a:lnTo>
                      <a:pt x="21" y="773"/>
                    </a:lnTo>
                    <a:lnTo>
                      <a:pt x="23" y="770"/>
                    </a:lnTo>
                    <a:lnTo>
                      <a:pt x="23" y="770"/>
                    </a:lnTo>
                    <a:lnTo>
                      <a:pt x="23" y="770"/>
                    </a:lnTo>
                    <a:lnTo>
                      <a:pt x="23" y="768"/>
                    </a:lnTo>
                    <a:lnTo>
                      <a:pt x="26" y="770"/>
                    </a:lnTo>
                    <a:lnTo>
                      <a:pt x="28" y="768"/>
                    </a:lnTo>
                    <a:lnTo>
                      <a:pt x="26" y="766"/>
                    </a:lnTo>
                    <a:lnTo>
                      <a:pt x="26" y="766"/>
                    </a:lnTo>
                    <a:lnTo>
                      <a:pt x="28" y="763"/>
                    </a:lnTo>
                    <a:lnTo>
                      <a:pt x="28" y="761"/>
                    </a:lnTo>
                    <a:lnTo>
                      <a:pt x="28" y="761"/>
                    </a:lnTo>
                    <a:lnTo>
                      <a:pt x="30" y="758"/>
                    </a:lnTo>
                    <a:lnTo>
                      <a:pt x="28" y="756"/>
                    </a:lnTo>
                    <a:lnTo>
                      <a:pt x="30" y="756"/>
                    </a:lnTo>
                    <a:lnTo>
                      <a:pt x="33" y="754"/>
                    </a:lnTo>
                    <a:lnTo>
                      <a:pt x="30" y="754"/>
                    </a:lnTo>
                    <a:lnTo>
                      <a:pt x="33" y="751"/>
                    </a:lnTo>
                    <a:lnTo>
                      <a:pt x="30" y="747"/>
                    </a:lnTo>
                    <a:lnTo>
                      <a:pt x="33" y="747"/>
                    </a:lnTo>
                    <a:lnTo>
                      <a:pt x="33" y="744"/>
                    </a:lnTo>
                    <a:lnTo>
                      <a:pt x="33" y="744"/>
                    </a:lnTo>
                    <a:lnTo>
                      <a:pt x="33" y="742"/>
                    </a:lnTo>
                    <a:lnTo>
                      <a:pt x="33" y="742"/>
                    </a:lnTo>
                    <a:lnTo>
                      <a:pt x="35" y="742"/>
                    </a:lnTo>
                    <a:lnTo>
                      <a:pt x="33" y="740"/>
                    </a:lnTo>
                    <a:lnTo>
                      <a:pt x="35" y="740"/>
                    </a:lnTo>
                    <a:lnTo>
                      <a:pt x="35" y="740"/>
                    </a:lnTo>
                    <a:lnTo>
                      <a:pt x="37" y="737"/>
                    </a:lnTo>
                    <a:lnTo>
                      <a:pt x="35" y="737"/>
                    </a:lnTo>
                    <a:lnTo>
                      <a:pt x="37" y="735"/>
                    </a:lnTo>
                    <a:lnTo>
                      <a:pt x="37" y="735"/>
                    </a:lnTo>
                    <a:lnTo>
                      <a:pt x="37" y="733"/>
                    </a:lnTo>
                    <a:lnTo>
                      <a:pt x="40" y="730"/>
                    </a:lnTo>
                    <a:lnTo>
                      <a:pt x="40" y="728"/>
                    </a:lnTo>
                    <a:lnTo>
                      <a:pt x="42" y="725"/>
                    </a:lnTo>
                    <a:lnTo>
                      <a:pt x="42" y="721"/>
                    </a:lnTo>
                    <a:lnTo>
                      <a:pt x="47" y="716"/>
                    </a:lnTo>
                    <a:lnTo>
                      <a:pt x="47" y="714"/>
                    </a:lnTo>
                    <a:lnTo>
                      <a:pt x="47" y="714"/>
                    </a:lnTo>
                    <a:lnTo>
                      <a:pt x="49" y="711"/>
                    </a:lnTo>
                    <a:lnTo>
                      <a:pt x="52" y="711"/>
                    </a:lnTo>
                    <a:lnTo>
                      <a:pt x="52" y="709"/>
                    </a:lnTo>
                    <a:lnTo>
                      <a:pt x="52" y="707"/>
                    </a:lnTo>
                    <a:lnTo>
                      <a:pt x="52" y="704"/>
                    </a:lnTo>
                    <a:lnTo>
                      <a:pt x="52" y="704"/>
                    </a:lnTo>
                    <a:lnTo>
                      <a:pt x="52" y="702"/>
                    </a:lnTo>
                    <a:lnTo>
                      <a:pt x="54" y="697"/>
                    </a:lnTo>
                    <a:lnTo>
                      <a:pt x="54" y="695"/>
                    </a:lnTo>
                    <a:lnTo>
                      <a:pt x="54" y="695"/>
                    </a:lnTo>
                    <a:lnTo>
                      <a:pt x="52" y="692"/>
                    </a:lnTo>
                    <a:lnTo>
                      <a:pt x="54" y="690"/>
                    </a:lnTo>
                    <a:lnTo>
                      <a:pt x="54" y="690"/>
                    </a:lnTo>
                    <a:lnTo>
                      <a:pt x="56" y="690"/>
                    </a:lnTo>
                    <a:lnTo>
                      <a:pt x="56" y="690"/>
                    </a:lnTo>
                    <a:lnTo>
                      <a:pt x="54" y="688"/>
                    </a:lnTo>
                    <a:lnTo>
                      <a:pt x="54" y="685"/>
                    </a:lnTo>
                    <a:lnTo>
                      <a:pt x="56" y="683"/>
                    </a:lnTo>
                    <a:lnTo>
                      <a:pt x="56" y="683"/>
                    </a:lnTo>
                    <a:lnTo>
                      <a:pt x="54" y="683"/>
                    </a:lnTo>
                    <a:lnTo>
                      <a:pt x="56" y="681"/>
                    </a:lnTo>
                    <a:lnTo>
                      <a:pt x="56" y="681"/>
                    </a:lnTo>
                    <a:lnTo>
                      <a:pt x="56" y="678"/>
                    </a:lnTo>
                    <a:lnTo>
                      <a:pt x="56" y="678"/>
                    </a:lnTo>
                    <a:lnTo>
                      <a:pt x="56" y="678"/>
                    </a:lnTo>
                    <a:lnTo>
                      <a:pt x="59" y="678"/>
                    </a:lnTo>
                    <a:lnTo>
                      <a:pt x="59" y="676"/>
                    </a:lnTo>
                    <a:lnTo>
                      <a:pt x="56" y="673"/>
                    </a:lnTo>
                    <a:lnTo>
                      <a:pt x="59" y="673"/>
                    </a:lnTo>
                    <a:lnTo>
                      <a:pt x="59" y="673"/>
                    </a:lnTo>
                    <a:lnTo>
                      <a:pt x="56" y="671"/>
                    </a:lnTo>
                    <a:lnTo>
                      <a:pt x="56" y="671"/>
                    </a:lnTo>
                    <a:lnTo>
                      <a:pt x="56" y="671"/>
                    </a:lnTo>
                    <a:lnTo>
                      <a:pt x="59" y="669"/>
                    </a:lnTo>
                    <a:lnTo>
                      <a:pt x="59" y="669"/>
                    </a:lnTo>
                    <a:lnTo>
                      <a:pt x="61" y="666"/>
                    </a:lnTo>
                    <a:lnTo>
                      <a:pt x="61" y="664"/>
                    </a:lnTo>
                    <a:lnTo>
                      <a:pt x="61" y="662"/>
                    </a:lnTo>
                    <a:lnTo>
                      <a:pt x="61" y="662"/>
                    </a:lnTo>
                    <a:lnTo>
                      <a:pt x="61" y="659"/>
                    </a:lnTo>
                    <a:lnTo>
                      <a:pt x="63" y="662"/>
                    </a:lnTo>
                    <a:lnTo>
                      <a:pt x="63" y="659"/>
                    </a:lnTo>
                    <a:lnTo>
                      <a:pt x="63" y="659"/>
                    </a:lnTo>
                    <a:lnTo>
                      <a:pt x="63" y="657"/>
                    </a:lnTo>
                    <a:lnTo>
                      <a:pt x="63" y="655"/>
                    </a:lnTo>
                    <a:lnTo>
                      <a:pt x="63" y="655"/>
                    </a:lnTo>
                    <a:lnTo>
                      <a:pt x="63" y="655"/>
                    </a:lnTo>
                    <a:lnTo>
                      <a:pt x="63" y="655"/>
                    </a:lnTo>
                    <a:lnTo>
                      <a:pt x="63" y="655"/>
                    </a:lnTo>
                    <a:lnTo>
                      <a:pt x="63" y="652"/>
                    </a:lnTo>
                    <a:lnTo>
                      <a:pt x="63" y="652"/>
                    </a:lnTo>
                    <a:lnTo>
                      <a:pt x="66" y="650"/>
                    </a:lnTo>
                    <a:lnTo>
                      <a:pt x="66" y="650"/>
                    </a:lnTo>
                    <a:lnTo>
                      <a:pt x="66" y="647"/>
                    </a:lnTo>
                    <a:lnTo>
                      <a:pt x="66" y="647"/>
                    </a:lnTo>
                    <a:lnTo>
                      <a:pt x="68" y="647"/>
                    </a:lnTo>
                    <a:lnTo>
                      <a:pt x="66" y="645"/>
                    </a:lnTo>
                    <a:lnTo>
                      <a:pt x="66" y="645"/>
                    </a:lnTo>
                    <a:lnTo>
                      <a:pt x="68" y="645"/>
                    </a:lnTo>
                    <a:lnTo>
                      <a:pt x="70" y="645"/>
                    </a:lnTo>
                    <a:lnTo>
                      <a:pt x="70" y="645"/>
                    </a:lnTo>
                    <a:lnTo>
                      <a:pt x="70" y="645"/>
                    </a:lnTo>
                    <a:lnTo>
                      <a:pt x="70" y="643"/>
                    </a:lnTo>
                    <a:lnTo>
                      <a:pt x="73" y="643"/>
                    </a:lnTo>
                    <a:lnTo>
                      <a:pt x="73" y="643"/>
                    </a:lnTo>
                    <a:lnTo>
                      <a:pt x="73" y="643"/>
                    </a:lnTo>
                    <a:lnTo>
                      <a:pt x="73" y="643"/>
                    </a:lnTo>
                    <a:lnTo>
                      <a:pt x="75" y="640"/>
                    </a:lnTo>
                    <a:lnTo>
                      <a:pt x="75" y="640"/>
                    </a:lnTo>
                    <a:lnTo>
                      <a:pt x="75" y="638"/>
                    </a:lnTo>
                    <a:lnTo>
                      <a:pt x="75" y="638"/>
                    </a:lnTo>
                    <a:lnTo>
                      <a:pt x="78" y="638"/>
                    </a:lnTo>
                    <a:lnTo>
                      <a:pt x="82" y="636"/>
                    </a:lnTo>
                    <a:lnTo>
                      <a:pt x="82" y="633"/>
                    </a:lnTo>
                    <a:lnTo>
                      <a:pt x="85" y="633"/>
                    </a:lnTo>
                    <a:lnTo>
                      <a:pt x="87" y="633"/>
                    </a:lnTo>
                    <a:lnTo>
                      <a:pt x="87" y="633"/>
                    </a:lnTo>
                    <a:lnTo>
                      <a:pt x="89" y="631"/>
                    </a:lnTo>
                    <a:lnTo>
                      <a:pt x="92" y="633"/>
                    </a:lnTo>
                    <a:lnTo>
                      <a:pt x="94" y="631"/>
                    </a:lnTo>
                    <a:lnTo>
                      <a:pt x="94" y="631"/>
                    </a:lnTo>
                    <a:lnTo>
                      <a:pt x="94" y="631"/>
                    </a:lnTo>
                    <a:lnTo>
                      <a:pt x="96" y="631"/>
                    </a:lnTo>
                    <a:lnTo>
                      <a:pt x="96" y="631"/>
                    </a:lnTo>
                    <a:lnTo>
                      <a:pt x="99" y="631"/>
                    </a:lnTo>
                    <a:lnTo>
                      <a:pt x="99" y="631"/>
                    </a:lnTo>
                    <a:lnTo>
                      <a:pt x="101" y="629"/>
                    </a:lnTo>
                    <a:lnTo>
                      <a:pt x="104" y="626"/>
                    </a:lnTo>
                    <a:lnTo>
                      <a:pt x="106" y="624"/>
                    </a:lnTo>
                    <a:lnTo>
                      <a:pt x="106" y="626"/>
                    </a:lnTo>
                    <a:lnTo>
                      <a:pt x="108" y="626"/>
                    </a:lnTo>
                    <a:lnTo>
                      <a:pt x="108" y="624"/>
                    </a:lnTo>
                    <a:lnTo>
                      <a:pt x="115" y="624"/>
                    </a:lnTo>
                    <a:lnTo>
                      <a:pt x="118" y="624"/>
                    </a:lnTo>
                    <a:lnTo>
                      <a:pt x="118" y="624"/>
                    </a:lnTo>
                    <a:lnTo>
                      <a:pt x="120" y="624"/>
                    </a:lnTo>
                    <a:lnTo>
                      <a:pt x="122" y="621"/>
                    </a:lnTo>
                    <a:lnTo>
                      <a:pt x="125" y="621"/>
                    </a:lnTo>
                    <a:lnTo>
                      <a:pt x="127" y="621"/>
                    </a:lnTo>
                    <a:lnTo>
                      <a:pt x="127" y="621"/>
                    </a:lnTo>
                    <a:lnTo>
                      <a:pt x="130" y="621"/>
                    </a:lnTo>
                    <a:lnTo>
                      <a:pt x="130" y="619"/>
                    </a:lnTo>
                    <a:lnTo>
                      <a:pt x="134" y="619"/>
                    </a:lnTo>
                    <a:lnTo>
                      <a:pt x="134" y="619"/>
                    </a:lnTo>
                    <a:lnTo>
                      <a:pt x="134" y="619"/>
                    </a:lnTo>
                    <a:lnTo>
                      <a:pt x="137" y="617"/>
                    </a:lnTo>
                    <a:lnTo>
                      <a:pt x="137" y="614"/>
                    </a:lnTo>
                    <a:lnTo>
                      <a:pt x="137" y="614"/>
                    </a:lnTo>
                    <a:lnTo>
                      <a:pt x="139" y="612"/>
                    </a:lnTo>
                    <a:lnTo>
                      <a:pt x="139" y="614"/>
                    </a:lnTo>
                    <a:lnTo>
                      <a:pt x="141" y="612"/>
                    </a:lnTo>
                    <a:lnTo>
                      <a:pt x="144" y="612"/>
                    </a:lnTo>
                    <a:lnTo>
                      <a:pt x="144" y="610"/>
                    </a:lnTo>
                    <a:lnTo>
                      <a:pt x="144" y="610"/>
                    </a:lnTo>
                    <a:lnTo>
                      <a:pt x="144" y="607"/>
                    </a:lnTo>
                    <a:lnTo>
                      <a:pt x="148" y="607"/>
                    </a:lnTo>
                    <a:lnTo>
                      <a:pt x="148" y="605"/>
                    </a:lnTo>
                    <a:lnTo>
                      <a:pt x="153" y="605"/>
                    </a:lnTo>
                    <a:lnTo>
                      <a:pt x="153" y="607"/>
                    </a:lnTo>
                    <a:lnTo>
                      <a:pt x="158" y="605"/>
                    </a:lnTo>
                    <a:lnTo>
                      <a:pt x="160" y="607"/>
                    </a:lnTo>
                    <a:lnTo>
                      <a:pt x="163" y="610"/>
                    </a:lnTo>
                    <a:lnTo>
                      <a:pt x="163" y="610"/>
                    </a:lnTo>
                    <a:lnTo>
                      <a:pt x="163" y="610"/>
                    </a:lnTo>
                    <a:lnTo>
                      <a:pt x="165" y="610"/>
                    </a:lnTo>
                    <a:lnTo>
                      <a:pt x="165" y="605"/>
                    </a:lnTo>
                    <a:lnTo>
                      <a:pt x="167" y="605"/>
                    </a:lnTo>
                    <a:lnTo>
                      <a:pt x="167" y="600"/>
                    </a:lnTo>
                    <a:lnTo>
                      <a:pt x="167" y="600"/>
                    </a:lnTo>
                    <a:lnTo>
                      <a:pt x="170" y="600"/>
                    </a:lnTo>
                    <a:lnTo>
                      <a:pt x="172" y="598"/>
                    </a:lnTo>
                    <a:lnTo>
                      <a:pt x="174" y="598"/>
                    </a:lnTo>
                    <a:lnTo>
                      <a:pt x="177" y="593"/>
                    </a:lnTo>
                    <a:lnTo>
                      <a:pt x="177" y="593"/>
                    </a:lnTo>
                    <a:lnTo>
                      <a:pt x="179" y="591"/>
                    </a:lnTo>
                    <a:lnTo>
                      <a:pt x="179" y="591"/>
                    </a:lnTo>
                    <a:lnTo>
                      <a:pt x="182" y="588"/>
                    </a:lnTo>
                    <a:lnTo>
                      <a:pt x="184" y="586"/>
                    </a:lnTo>
                    <a:lnTo>
                      <a:pt x="186" y="586"/>
                    </a:lnTo>
                    <a:lnTo>
                      <a:pt x="186" y="584"/>
                    </a:lnTo>
                    <a:lnTo>
                      <a:pt x="189" y="581"/>
                    </a:lnTo>
                    <a:lnTo>
                      <a:pt x="191" y="581"/>
                    </a:lnTo>
                    <a:lnTo>
                      <a:pt x="191" y="581"/>
                    </a:lnTo>
                    <a:lnTo>
                      <a:pt x="193" y="579"/>
                    </a:lnTo>
                    <a:lnTo>
                      <a:pt x="198" y="579"/>
                    </a:lnTo>
                    <a:lnTo>
                      <a:pt x="200" y="577"/>
                    </a:lnTo>
                    <a:lnTo>
                      <a:pt x="200" y="574"/>
                    </a:lnTo>
                    <a:lnTo>
                      <a:pt x="203" y="572"/>
                    </a:lnTo>
                    <a:lnTo>
                      <a:pt x="205" y="572"/>
                    </a:lnTo>
                    <a:lnTo>
                      <a:pt x="210" y="572"/>
                    </a:lnTo>
                    <a:lnTo>
                      <a:pt x="212" y="572"/>
                    </a:lnTo>
                    <a:lnTo>
                      <a:pt x="212" y="572"/>
                    </a:lnTo>
                    <a:lnTo>
                      <a:pt x="217" y="570"/>
                    </a:lnTo>
                    <a:lnTo>
                      <a:pt x="217" y="567"/>
                    </a:lnTo>
                    <a:lnTo>
                      <a:pt x="217" y="567"/>
                    </a:lnTo>
                    <a:lnTo>
                      <a:pt x="217" y="562"/>
                    </a:lnTo>
                    <a:lnTo>
                      <a:pt x="217" y="562"/>
                    </a:lnTo>
                    <a:lnTo>
                      <a:pt x="219" y="560"/>
                    </a:lnTo>
                    <a:lnTo>
                      <a:pt x="219" y="558"/>
                    </a:lnTo>
                    <a:lnTo>
                      <a:pt x="219" y="558"/>
                    </a:lnTo>
                    <a:lnTo>
                      <a:pt x="222" y="558"/>
                    </a:lnTo>
                    <a:lnTo>
                      <a:pt x="226" y="553"/>
                    </a:lnTo>
                    <a:lnTo>
                      <a:pt x="226" y="548"/>
                    </a:lnTo>
                    <a:lnTo>
                      <a:pt x="229" y="548"/>
                    </a:lnTo>
                    <a:lnTo>
                      <a:pt x="229" y="548"/>
                    </a:lnTo>
                    <a:lnTo>
                      <a:pt x="229" y="548"/>
                    </a:lnTo>
                    <a:lnTo>
                      <a:pt x="229" y="544"/>
                    </a:lnTo>
                    <a:lnTo>
                      <a:pt x="229" y="544"/>
                    </a:lnTo>
                    <a:lnTo>
                      <a:pt x="231" y="541"/>
                    </a:lnTo>
                    <a:lnTo>
                      <a:pt x="236" y="539"/>
                    </a:lnTo>
                    <a:lnTo>
                      <a:pt x="236" y="536"/>
                    </a:lnTo>
                    <a:lnTo>
                      <a:pt x="236" y="536"/>
                    </a:lnTo>
                    <a:lnTo>
                      <a:pt x="238" y="536"/>
                    </a:lnTo>
                    <a:lnTo>
                      <a:pt x="238" y="539"/>
                    </a:lnTo>
                    <a:lnTo>
                      <a:pt x="238" y="539"/>
                    </a:lnTo>
                    <a:lnTo>
                      <a:pt x="238" y="539"/>
                    </a:lnTo>
                    <a:lnTo>
                      <a:pt x="241" y="536"/>
                    </a:lnTo>
                    <a:lnTo>
                      <a:pt x="238" y="534"/>
                    </a:lnTo>
                    <a:lnTo>
                      <a:pt x="238" y="532"/>
                    </a:lnTo>
                    <a:lnTo>
                      <a:pt x="238" y="532"/>
                    </a:lnTo>
                    <a:lnTo>
                      <a:pt x="238" y="532"/>
                    </a:lnTo>
                    <a:lnTo>
                      <a:pt x="241" y="532"/>
                    </a:lnTo>
                    <a:lnTo>
                      <a:pt x="243" y="534"/>
                    </a:lnTo>
                    <a:lnTo>
                      <a:pt x="243" y="534"/>
                    </a:lnTo>
                    <a:lnTo>
                      <a:pt x="245" y="532"/>
                    </a:lnTo>
                    <a:lnTo>
                      <a:pt x="245" y="529"/>
                    </a:lnTo>
                    <a:lnTo>
                      <a:pt x="245" y="527"/>
                    </a:lnTo>
                    <a:lnTo>
                      <a:pt x="248" y="527"/>
                    </a:lnTo>
                    <a:lnTo>
                      <a:pt x="248" y="527"/>
                    </a:lnTo>
                    <a:lnTo>
                      <a:pt x="255" y="525"/>
                    </a:lnTo>
                    <a:lnTo>
                      <a:pt x="255" y="525"/>
                    </a:lnTo>
                    <a:lnTo>
                      <a:pt x="257" y="525"/>
                    </a:lnTo>
                    <a:lnTo>
                      <a:pt x="259" y="525"/>
                    </a:lnTo>
                    <a:lnTo>
                      <a:pt x="259" y="527"/>
                    </a:lnTo>
                    <a:lnTo>
                      <a:pt x="259" y="527"/>
                    </a:lnTo>
                    <a:lnTo>
                      <a:pt x="262" y="527"/>
                    </a:lnTo>
                    <a:lnTo>
                      <a:pt x="262" y="525"/>
                    </a:lnTo>
                    <a:lnTo>
                      <a:pt x="264" y="525"/>
                    </a:lnTo>
                    <a:lnTo>
                      <a:pt x="267" y="525"/>
                    </a:lnTo>
                    <a:lnTo>
                      <a:pt x="271" y="522"/>
                    </a:lnTo>
                    <a:lnTo>
                      <a:pt x="276" y="522"/>
                    </a:lnTo>
                    <a:lnTo>
                      <a:pt x="276" y="520"/>
                    </a:lnTo>
                    <a:lnTo>
                      <a:pt x="276" y="520"/>
                    </a:lnTo>
                    <a:lnTo>
                      <a:pt x="278" y="518"/>
                    </a:lnTo>
                    <a:lnTo>
                      <a:pt x="281" y="520"/>
                    </a:lnTo>
                    <a:lnTo>
                      <a:pt x="283" y="518"/>
                    </a:lnTo>
                    <a:lnTo>
                      <a:pt x="283" y="518"/>
                    </a:lnTo>
                    <a:lnTo>
                      <a:pt x="285" y="518"/>
                    </a:lnTo>
                    <a:lnTo>
                      <a:pt x="288" y="518"/>
                    </a:lnTo>
                    <a:lnTo>
                      <a:pt x="290" y="518"/>
                    </a:lnTo>
                    <a:lnTo>
                      <a:pt x="290" y="518"/>
                    </a:lnTo>
                    <a:lnTo>
                      <a:pt x="290" y="520"/>
                    </a:lnTo>
                    <a:lnTo>
                      <a:pt x="293" y="518"/>
                    </a:lnTo>
                    <a:lnTo>
                      <a:pt x="295" y="520"/>
                    </a:lnTo>
                    <a:lnTo>
                      <a:pt x="297" y="520"/>
                    </a:lnTo>
                    <a:lnTo>
                      <a:pt x="300" y="522"/>
                    </a:lnTo>
                    <a:lnTo>
                      <a:pt x="302" y="525"/>
                    </a:lnTo>
                    <a:lnTo>
                      <a:pt x="304" y="525"/>
                    </a:lnTo>
                    <a:lnTo>
                      <a:pt x="304" y="525"/>
                    </a:lnTo>
                    <a:lnTo>
                      <a:pt x="307" y="525"/>
                    </a:lnTo>
                    <a:lnTo>
                      <a:pt x="307" y="525"/>
                    </a:lnTo>
                    <a:lnTo>
                      <a:pt x="307" y="525"/>
                    </a:lnTo>
                    <a:lnTo>
                      <a:pt x="309" y="525"/>
                    </a:lnTo>
                    <a:lnTo>
                      <a:pt x="309" y="525"/>
                    </a:lnTo>
                    <a:lnTo>
                      <a:pt x="309" y="527"/>
                    </a:lnTo>
                    <a:lnTo>
                      <a:pt x="309" y="529"/>
                    </a:lnTo>
                    <a:lnTo>
                      <a:pt x="311" y="529"/>
                    </a:lnTo>
                    <a:lnTo>
                      <a:pt x="314" y="532"/>
                    </a:lnTo>
                    <a:lnTo>
                      <a:pt x="316" y="532"/>
                    </a:lnTo>
                    <a:lnTo>
                      <a:pt x="316" y="534"/>
                    </a:lnTo>
                    <a:lnTo>
                      <a:pt x="319" y="536"/>
                    </a:lnTo>
                    <a:lnTo>
                      <a:pt x="321" y="539"/>
                    </a:lnTo>
                    <a:lnTo>
                      <a:pt x="321" y="536"/>
                    </a:lnTo>
                    <a:lnTo>
                      <a:pt x="323" y="536"/>
                    </a:lnTo>
                    <a:lnTo>
                      <a:pt x="326" y="536"/>
                    </a:lnTo>
                    <a:lnTo>
                      <a:pt x="328" y="536"/>
                    </a:lnTo>
                    <a:lnTo>
                      <a:pt x="328" y="536"/>
                    </a:lnTo>
                    <a:lnTo>
                      <a:pt x="330" y="536"/>
                    </a:lnTo>
                    <a:lnTo>
                      <a:pt x="330" y="534"/>
                    </a:lnTo>
                    <a:lnTo>
                      <a:pt x="333" y="534"/>
                    </a:lnTo>
                    <a:lnTo>
                      <a:pt x="335" y="532"/>
                    </a:lnTo>
                    <a:lnTo>
                      <a:pt x="340" y="532"/>
                    </a:lnTo>
                    <a:lnTo>
                      <a:pt x="342" y="532"/>
                    </a:lnTo>
                    <a:lnTo>
                      <a:pt x="347" y="529"/>
                    </a:lnTo>
                    <a:lnTo>
                      <a:pt x="347" y="527"/>
                    </a:lnTo>
                    <a:lnTo>
                      <a:pt x="347" y="527"/>
                    </a:lnTo>
                    <a:lnTo>
                      <a:pt x="354" y="527"/>
                    </a:lnTo>
                    <a:lnTo>
                      <a:pt x="356" y="527"/>
                    </a:lnTo>
                    <a:lnTo>
                      <a:pt x="359" y="529"/>
                    </a:lnTo>
                    <a:lnTo>
                      <a:pt x="361" y="529"/>
                    </a:lnTo>
                    <a:lnTo>
                      <a:pt x="363" y="529"/>
                    </a:lnTo>
                    <a:lnTo>
                      <a:pt x="366" y="527"/>
                    </a:lnTo>
                    <a:lnTo>
                      <a:pt x="368" y="525"/>
                    </a:lnTo>
                    <a:lnTo>
                      <a:pt x="370" y="525"/>
                    </a:lnTo>
                    <a:lnTo>
                      <a:pt x="373" y="527"/>
                    </a:lnTo>
                    <a:lnTo>
                      <a:pt x="375" y="527"/>
                    </a:lnTo>
                    <a:lnTo>
                      <a:pt x="378" y="525"/>
                    </a:lnTo>
                    <a:lnTo>
                      <a:pt x="378" y="525"/>
                    </a:lnTo>
                    <a:lnTo>
                      <a:pt x="380" y="525"/>
                    </a:lnTo>
                    <a:lnTo>
                      <a:pt x="382" y="520"/>
                    </a:lnTo>
                    <a:lnTo>
                      <a:pt x="385" y="518"/>
                    </a:lnTo>
                    <a:lnTo>
                      <a:pt x="389" y="515"/>
                    </a:lnTo>
                    <a:lnTo>
                      <a:pt x="389" y="513"/>
                    </a:lnTo>
                    <a:lnTo>
                      <a:pt x="389" y="510"/>
                    </a:lnTo>
                    <a:lnTo>
                      <a:pt x="389" y="510"/>
                    </a:lnTo>
                    <a:lnTo>
                      <a:pt x="392" y="506"/>
                    </a:lnTo>
                    <a:lnTo>
                      <a:pt x="394" y="501"/>
                    </a:lnTo>
                    <a:lnTo>
                      <a:pt x="394" y="499"/>
                    </a:lnTo>
                    <a:lnTo>
                      <a:pt x="394" y="496"/>
                    </a:lnTo>
                    <a:lnTo>
                      <a:pt x="394" y="494"/>
                    </a:lnTo>
                    <a:lnTo>
                      <a:pt x="394" y="494"/>
                    </a:lnTo>
                    <a:lnTo>
                      <a:pt x="394" y="492"/>
                    </a:lnTo>
                    <a:lnTo>
                      <a:pt x="394" y="492"/>
                    </a:lnTo>
                    <a:lnTo>
                      <a:pt x="396" y="489"/>
                    </a:lnTo>
                    <a:lnTo>
                      <a:pt x="394" y="487"/>
                    </a:lnTo>
                    <a:lnTo>
                      <a:pt x="396" y="484"/>
                    </a:lnTo>
                    <a:lnTo>
                      <a:pt x="394" y="482"/>
                    </a:lnTo>
                    <a:lnTo>
                      <a:pt x="394" y="482"/>
                    </a:lnTo>
                    <a:lnTo>
                      <a:pt x="396" y="477"/>
                    </a:lnTo>
                    <a:lnTo>
                      <a:pt x="396" y="475"/>
                    </a:lnTo>
                    <a:lnTo>
                      <a:pt x="396" y="475"/>
                    </a:lnTo>
                    <a:lnTo>
                      <a:pt x="401" y="470"/>
                    </a:lnTo>
                    <a:lnTo>
                      <a:pt x="401" y="470"/>
                    </a:lnTo>
                    <a:lnTo>
                      <a:pt x="399" y="470"/>
                    </a:lnTo>
                    <a:lnTo>
                      <a:pt x="396" y="470"/>
                    </a:lnTo>
                    <a:lnTo>
                      <a:pt x="396" y="470"/>
                    </a:lnTo>
                    <a:lnTo>
                      <a:pt x="396" y="468"/>
                    </a:lnTo>
                    <a:lnTo>
                      <a:pt x="399" y="463"/>
                    </a:lnTo>
                    <a:lnTo>
                      <a:pt x="396" y="461"/>
                    </a:lnTo>
                    <a:lnTo>
                      <a:pt x="396" y="461"/>
                    </a:lnTo>
                    <a:lnTo>
                      <a:pt x="396" y="458"/>
                    </a:lnTo>
                    <a:lnTo>
                      <a:pt x="396" y="458"/>
                    </a:lnTo>
                    <a:lnTo>
                      <a:pt x="396" y="456"/>
                    </a:lnTo>
                    <a:lnTo>
                      <a:pt x="394" y="456"/>
                    </a:lnTo>
                    <a:lnTo>
                      <a:pt x="392" y="456"/>
                    </a:lnTo>
                    <a:lnTo>
                      <a:pt x="389" y="456"/>
                    </a:lnTo>
                    <a:lnTo>
                      <a:pt x="387" y="451"/>
                    </a:lnTo>
                    <a:lnTo>
                      <a:pt x="385" y="451"/>
                    </a:lnTo>
                    <a:lnTo>
                      <a:pt x="382" y="449"/>
                    </a:lnTo>
                    <a:lnTo>
                      <a:pt x="382" y="449"/>
                    </a:lnTo>
                    <a:lnTo>
                      <a:pt x="382" y="444"/>
                    </a:lnTo>
                    <a:lnTo>
                      <a:pt x="382" y="442"/>
                    </a:lnTo>
                    <a:lnTo>
                      <a:pt x="380" y="442"/>
                    </a:lnTo>
                    <a:lnTo>
                      <a:pt x="378" y="442"/>
                    </a:lnTo>
                    <a:lnTo>
                      <a:pt x="375" y="442"/>
                    </a:lnTo>
                    <a:lnTo>
                      <a:pt x="373" y="440"/>
                    </a:lnTo>
                    <a:lnTo>
                      <a:pt x="373" y="435"/>
                    </a:lnTo>
                    <a:lnTo>
                      <a:pt x="368" y="433"/>
                    </a:lnTo>
                    <a:lnTo>
                      <a:pt x="368" y="433"/>
                    </a:lnTo>
                    <a:lnTo>
                      <a:pt x="370" y="433"/>
                    </a:lnTo>
                    <a:lnTo>
                      <a:pt x="373" y="430"/>
                    </a:lnTo>
                    <a:lnTo>
                      <a:pt x="373" y="430"/>
                    </a:lnTo>
                    <a:lnTo>
                      <a:pt x="373" y="430"/>
                    </a:lnTo>
                    <a:lnTo>
                      <a:pt x="373" y="428"/>
                    </a:lnTo>
                    <a:lnTo>
                      <a:pt x="373" y="425"/>
                    </a:lnTo>
                    <a:lnTo>
                      <a:pt x="373" y="425"/>
                    </a:lnTo>
                    <a:lnTo>
                      <a:pt x="370" y="423"/>
                    </a:lnTo>
                    <a:lnTo>
                      <a:pt x="368" y="421"/>
                    </a:lnTo>
                    <a:lnTo>
                      <a:pt x="368" y="421"/>
                    </a:lnTo>
                    <a:lnTo>
                      <a:pt x="368" y="416"/>
                    </a:lnTo>
                    <a:lnTo>
                      <a:pt x="366" y="416"/>
                    </a:lnTo>
                    <a:lnTo>
                      <a:pt x="366" y="414"/>
                    </a:lnTo>
                    <a:lnTo>
                      <a:pt x="368" y="409"/>
                    </a:lnTo>
                    <a:lnTo>
                      <a:pt x="366" y="404"/>
                    </a:lnTo>
                    <a:lnTo>
                      <a:pt x="368" y="402"/>
                    </a:lnTo>
                    <a:lnTo>
                      <a:pt x="366" y="399"/>
                    </a:lnTo>
                    <a:lnTo>
                      <a:pt x="366" y="395"/>
                    </a:lnTo>
                    <a:lnTo>
                      <a:pt x="366" y="395"/>
                    </a:lnTo>
                    <a:lnTo>
                      <a:pt x="366" y="392"/>
                    </a:lnTo>
                    <a:lnTo>
                      <a:pt x="368" y="392"/>
                    </a:lnTo>
                    <a:lnTo>
                      <a:pt x="368" y="392"/>
                    </a:lnTo>
                    <a:lnTo>
                      <a:pt x="368" y="385"/>
                    </a:lnTo>
                    <a:lnTo>
                      <a:pt x="368" y="381"/>
                    </a:lnTo>
                    <a:lnTo>
                      <a:pt x="368" y="381"/>
                    </a:lnTo>
                    <a:lnTo>
                      <a:pt x="368" y="378"/>
                    </a:lnTo>
                    <a:lnTo>
                      <a:pt x="366" y="378"/>
                    </a:lnTo>
                    <a:lnTo>
                      <a:pt x="366" y="376"/>
                    </a:lnTo>
                    <a:lnTo>
                      <a:pt x="368" y="376"/>
                    </a:lnTo>
                    <a:lnTo>
                      <a:pt x="368" y="373"/>
                    </a:lnTo>
                    <a:lnTo>
                      <a:pt x="373" y="373"/>
                    </a:lnTo>
                    <a:lnTo>
                      <a:pt x="375" y="373"/>
                    </a:lnTo>
                    <a:lnTo>
                      <a:pt x="375" y="371"/>
                    </a:lnTo>
                    <a:lnTo>
                      <a:pt x="375" y="369"/>
                    </a:lnTo>
                    <a:lnTo>
                      <a:pt x="378" y="366"/>
                    </a:lnTo>
                    <a:lnTo>
                      <a:pt x="380" y="362"/>
                    </a:lnTo>
                    <a:lnTo>
                      <a:pt x="382" y="359"/>
                    </a:lnTo>
                    <a:lnTo>
                      <a:pt x="382" y="359"/>
                    </a:lnTo>
                    <a:lnTo>
                      <a:pt x="382" y="355"/>
                    </a:lnTo>
                    <a:lnTo>
                      <a:pt x="385" y="355"/>
                    </a:lnTo>
                    <a:lnTo>
                      <a:pt x="387" y="355"/>
                    </a:lnTo>
                    <a:lnTo>
                      <a:pt x="389" y="352"/>
                    </a:lnTo>
                    <a:lnTo>
                      <a:pt x="389" y="347"/>
                    </a:lnTo>
                    <a:lnTo>
                      <a:pt x="392" y="347"/>
                    </a:lnTo>
                    <a:lnTo>
                      <a:pt x="394" y="347"/>
                    </a:lnTo>
                    <a:lnTo>
                      <a:pt x="396" y="345"/>
                    </a:lnTo>
                    <a:lnTo>
                      <a:pt x="396" y="343"/>
                    </a:lnTo>
                    <a:lnTo>
                      <a:pt x="399" y="343"/>
                    </a:lnTo>
                    <a:lnTo>
                      <a:pt x="401" y="340"/>
                    </a:lnTo>
                    <a:lnTo>
                      <a:pt x="401" y="340"/>
                    </a:lnTo>
                    <a:lnTo>
                      <a:pt x="404" y="336"/>
                    </a:lnTo>
                    <a:lnTo>
                      <a:pt x="404" y="333"/>
                    </a:lnTo>
                    <a:lnTo>
                      <a:pt x="404" y="333"/>
                    </a:lnTo>
                    <a:lnTo>
                      <a:pt x="401" y="329"/>
                    </a:lnTo>
                    <a:lnTo>
                      <a:pt x="401" y="326"/>
                    </a:lnTo>
                    <a:lnTo>
                      <a:pt x="404" y="321"/>
                    </a:lnTo>
                    <a:lnTo>
                      <a:pt x="404" y="319"/>
                    </a:lnTo>
                    <a:lnTo>
                      <a:pt x="404" y="314"/>
                    </a:lnTo>
                    <a:lnTo>
                      <a:pt x="404" y="312"/>
                    </a:lnTo>
                    <a:lnTo>
                      <a:pt x="401" y="307"/>
                    </a:lnTo>
                    <a:lnTo>
                      <a:pt x="401" y="305"/>
                    </a:lnTo>
                    <a:lnTo>
                      <a:pt x="399" y="305"/>
                    </a:lnTo>
                    <a:lnTo>
                      <a:pt x="399" y="303"/>
                    </a:lnTo>
                    <a:lnTo>
                      <a:pt x="399" y="300"/>
                    </a:lnTo>
                    <a:lnTo>
                      <a:pt x="396" y="293"/>
                    </a:lnTo>
                    <a:lnTo>
                      <a:pt x="396" y="293"/>
                    </a:lnTo>
                    <a:lnTo>
                      <a:pt x="396" y="288"/>
                    </a:lnTo>
                    <a:lnTo>
                      <a:pt x="396" y="286"/>
                    </a:lnTo>
                    <a:lnTo>
                      <a:pt x="396" y="286"/>
                    </a:lnTo>
                    <a:lnTo>
                      <a:pt x="392" y="281"/>
                    </a:lnTo>
                    <a:lnTo>
                      <a:pt x="392" y="281"/>
                    </a:lnTo>
                    <a:lnTo>
                      <a:pt x="392" y="277"/>
                    </a:lnTo>
                    <a:lnTo>
                      <a:pt x="392" y="274"/>
                    </a:lnTo>
                    <a:lnTo>
                      <a:pt x="387" y="272"/>
                    </a:lnTo>
                    <a:lnTo>
                      <a:pt x="387" y="272"/>
                    </a:lnTo>
                    <a:lnTo>
                      <a:pt x="385" y="267"/>
                    </a:lnTo>
                    <a:lnTo>
                      <a:pt x="385" y="265"/>
                    </a:lnTo>
                    <a:lnTo>
                      <a:pt x="387" y="262"/>
                    </a:lnTo>
                    <a:lnTo>
                      <a:pt x="389" y="260"/>
                    </a:lnTo>
                    <a:lnTo>
                      <a:pt x="389" y="260"/>
                    </a:lnTo>
                    <a:lnTo>
                      <a:pt x="387" y="258"/>
                    </a:lnTo>
                    <a:lnTo>
                      <a:pt x="385" y="258"/>
                    </a:lnTo>
                    <a:lnTo>
                      <a:pt x="385" y="255"/>
                    </a:lnTo>
                    <a:lnTo>
                      <a:pt x="385" y="253"/>
                    </a:lnTo>
                    <a:lnTo>
                      <a:pt x="387" y="251"/>
                    </a:lnTo>
                    <a:lnTo>
                      <a:pt x="389" y="251"/>
                    </a:lnTo>
                    <a:lnTo>
                      <a:pt x="389" y="251"/>
                    </a:lnTo>
                    <a:lnTo>
                      <a:pt x="389" y="248"/>
                    </a:lnTo>
                    <a:lnTo>
                      <a:pt x="394" y="244"/>
                    </a:lnTo>
                    <a:lnTo>
                      <a:pt x="394" y="241"/>
                    </a:lnTo>
                    <a:lnTo>
                      <a:pt x="396" y="239"/>
                    </a:lnTo>
                    <a:lnTo>
                      <a:pt x="396" y="239"/>
                    </a:lnTo>
                    <a:lnTo>
                      <a:pt x="394" y="236"/>
                    </a:lnTo>
                    <a:lnTo>
                      <a:pt x="396" y="232"/>
                    </a:lnTo>
                    <a:lnTo>
                      <a:pt x="396" y="229"/>
                    </a:lnTo>
                    <a:lnTo>
                      <a:pt x="396" y="229"/>
                    </a:lnTo>
                    <a:lnTo>
                      <a:pt x="396" y="229"/>
                    </a:lnTo>
                    <a:lnTo>
                      <a:pt x="396" y="229"/>
                    </a:lnTo>
                    <a:lnTo>
                      <a:pt x="396" y="227"/>
                    </a:lnTo>
                    <a:lnTo>
                      <a:pt x="394" y="227"/>
                    </a:lnTo>
                    <a:lnTo>
                      <a:pt x="394" y="225"/>
                    </a:lnTo>
                    <a:lnTo>
                      <a:pt x="394" y="220"/>
                    </a:lnTo>
                    <a:lnTo>
                      <a:pt x="394" y="220"/>
                    </a:lnTo>
                    <a:lnTo>
                      <a:pt x="387" y="215"/>
                    </a:lnTo>
                    <a:lnTo>
                      <a:pt x="387" y="215"/>
                    </a:lnTo>
                    <a:lnTo>
                      <a:pt x="387" y="215"/>
                    </a:lnTo>
                    <a:lnTo>
                      <a:pt x="385" y="215"/>
                    </a:lnTo>
                    <a:lnTo>
                      <a:pt x="385" y="215"/>
                    </a:lnTo>
                    <a:lnTo>
                      <a:pt x="385" y="215"/>
                    </a:lnTo>
                    <a:lnTo>
                      <a:pt x="385" y="210"/>
                    </a:lnTo>
                    <a:lnTo>
                      <a:pt x="385" y="208"/>
                    </a:lnTo>
                    <a:lnTo>
                      <a:pt x="382" y="203"/>
                    </a:lnTo>
                    <a:lnTo>
                      <a:pt x="382" y="203"/>
                    </a:lnTo>
                    <a:lnTo>
                      <a:pt x="380" y="199"/>
                    </a:lnTo>
                    <a:lnTo>
                      <a:pt x="380" y="196"/>
                    </a:lnTo>
                    <a:lnTo>
                      <a:pt x="382" y="194"/>
                    </a:lnTo>
                    <a:lnTo>
                      <a:pt x="387" y="187"/>
                    </a:lnTo>
                    <a:lnTo>
                      <a:pt x="387" y="187"/>
                    </a:lnTo>
                    <a:lnTo>
                      <a:pt x="387" y="184"/>
                    </a:lnTo>
                    <a:lnTo>
                      <a:pt x="394" y="184"/>
                    </a:lnTo>
                    <a:lnTo>
                      <a:pt x="394" y="184"/>
                    </a:lnTo>
                    <a:lnTo>
                      <a:pt x="392" y="182"/>
                    </a:lnTo>
                    <a:lnTo>
                      <a:pt x="392" y="182"/>
                    </a:lnTo>
                    <a:lnTo>
                      <a:pt x="392" y="180"/>
                    </a:lnTo>
                    <a:lnTo>
                      <a:pt x="394" y="180"/>
                    </a:lnTo>
                    <a:lnTo>
                      <a:pt x="396" y="177"/>
                    </a:lnTo>
                    <a:lnTo>
                      <a:pt x="396" y="175"/>
                    </a:lnTo>
                    <a:lnTo>
                      <a:pt x="399" y="170"/>
                    </a:lnTo>
                    <a:lnTo>
                      <a:pt x="399" y="168"/>
                    </a:lnTo>
                    <a:lnTo>
                      <a:pt x="401" y="163"/>
                    </a:lnTo>
                    <a:lnTo>
                      <a:pt x="404" y="163"/>
                    </a:lnTo>
                    <a:lnTo>
                      <a:pt x="404" y="166"/>
                    </a:lnTo>
                    <a:lnTo>
                      <a:pt x="404" y="166"/>
                    </a:lnTo>
                    <a:lnTo>
                      <a:pt x="406" y="163"/>
                    </a:lnTo>
                    <a:lnTo>
                      <a:pt x="406" y="158"/>
                    </a:lnTo>
                    <a:lnTo>
                      <a:pt x="413" y="156"/>
                    </a:lnTo>
                    <a:lnTo>
                      <a:pt x="413" y="154"/>
                    </a:lnTo>
                    <a:lnTo>
                      <a:pt x="413" y="151"/>
                    </a:lnTo>
                    <a:lnTo>
                      <a:pt x="413" y="149"/>
                    </a:lnTo>
                    <a:lnTo>
                      <a:pt x="413" y="149"/>
                    </a:lnTo>
                    <a:lnTo>
                      <a:pt x="420" y="140"/>
                    </a:lnTo>
                    <a:lnTo>
                      <a:pt x="420" y="140"/>
                    </a:lnTo>
                    <a:lnTo>
                      <a:pt x="420" y="137"/>
                    </a:lnTo>
                    <a:lnTo>
                      <a:pt x="420" y="137"/>
                    </a:lnTo>
                    <a:lnTo>
                      <a:pt x="420" y="135"/>
                    </a:lnTo>
                    <a:lnTo>
                      <a:pt x="420" y="133"/>
                    </a:lnTo>
                    <a:lnTo>
                      <a:pt x="420" y="130"/>
                    </a:lnTo>
                    <a:lnTo>
                      <a:pt x="420" y="130"/>
                    </a:lnTo>
                    <a:lnTo>
                      <a:pt x="420" y="125"/>
                    </a:lnTo>
                    <a:lnTo>
                      <a:pt x="420" y="125"/>
                    </a:lnTo>
                    <a:lnTo>
                      <a:pt x="420" y="125"/>
                    </a:lnTo>
                    <a:lnTo>
                      <a:pt x="420" y="123"/>
                    </a:lnTo>
                    <a:lnTo>
                      <a:pt x="422" y="121"/>
                    </a:lnTo>
                    <a:lnTo>
                      <a:pt x="425" y="116"/>
                    </a:lnTo>
                    <a:lnTo>
                      <a:pt x="427" y="116"/>
                    </a:lnTo>
                    <a:lnTo>
                      <a:pt x="427" y="116"/>
                    </a:lnTo>
                    <a:lnTo>
                      <a:pt x="427" y="114"/>
                    </a:lnTo>
                    <a:lnTo>
                      <a:pt x="430" y="111"/>
                    </a:lnTo>
                    <a:lnTo>
                      <a:pt x="432" y="109"/>
                    </a:lnTo>
                    <a:lnTo>
                      <a:pt x="432" y="109"/>
                    </a:lnTo>
                    <a:lnTo>
                      <a:pt x="434" y="107"/>
                    </a:lnTo>
                    <a:lnTo>
                      <a:pt x="439" y="102"/>
                    </a:lnTo>
                    <a:lnTo>
                      <a:pt x="439" y="102"/>
                    </a:lnTo>
                    <a:lnTo>
                      <a:pt x="439" y="102"/>
                    </a:lnTo>
                    <a:lnTo>
                      <a:pt x="439" y="99"/>
                    </a:lnTo>
                    <a:lnTo>
                      <a:pt x="439" y="99"/>
                    </a:lnTo>
                    <a:lnTo>
                      <a:pt x="441" y="97"/>
                    </a:lnTo>
                    <a:lnTo>
                      <a:pt x="441" y="95"/>
                    </a:lnTo>
                    <a:lnTo>
                      <a:pt x="441" y="92"/>
                    </a:lnTo>
                    <a:lnTo>
                      <a:pt x="444" y="92"/>
                    </a:lnTo>
                    <a:lnTo>
                      <a:pt x="444" y="92"/>
                    </a:lnTo>
                    <a:lnTo>
                      <a:pt x="444" y="95"/>
                    </a:lnTo>
                    <a:lnTo>
                      <a:pt x="446" y="97"/>
                    </a:lnTo>
                    <a:lnTo>
                      <a:pt x="446" y="97"/>
                    </a:lnTo>
                    <a:lnTo>
                      <a:pt x="448" y="97"/>
                    </a:lnTo>
                    <a:lnTo>
                      <a:pt x="448" y="97"/>
                    </a:lnTo>
                    <a:lnTo>
                      <a:pt x="451" y="95"/>
                    </a:lnTo>
                    <a:lnTo>
                      <a:pt x="451" y="95"/>
                    </a:lnTo>
                    <a:lnTo>
                      <a:pt x="453" y="95"/>
                    </a:lnTo>
                    <a:lnTo>
                      <a:pt x="453" y="95"/>
                    </a:lnTo>
                    <a:lnTo>
                      <a:pt x="453" y="97"/>
                    </a:lnTo>
                    <a:lnTo>
                      <a:pt x="456" y="95"/>
                    </a:lnTo>
                    <a:lnTo>
                      <a:pt x="456" y="95"/>
                    </a:lnTo>
                    <a:lnTo>
                      <a:pt x="456" y="92"/>
                    </a:lnTo>
                    <a:lnTo>
                      <a:pt x="458" y="92"/>
                    </a:lnTo>
                    <a:lnTo>
                      <a:pt x="460" y="92"/>
                    </a:lnTo>
                    <a:lnTo>
                      <a:pt x="465" y="90"/>
                    </a:lnTo>
                    <a:lnTo>
                      <a:pt x="465" y="92"/>
                    </a:lnTo>
                    <a:lnTo>
                      <a:pt x="467" y="92"/>
                    </a:lnTo>
                    <a:lnTo>
                      <a:pt x="470" y="92"/>
                    </a:lnTo>
                    <a:lnTo>
                      <a:pt x="470" y="92"/>
                    </a:lnTo>
                    <a:lnTo>
                      <a:pt x="474" y="90"/>
                    </a:lnTo>
                    <a:lnTo>
                      <a:pt x="479" y="92"/>
                    </a:lnTo>
                    <a:lnTo>
                      <a:pt x="479" y="90"/>
                    </a:lnTo>
                    <a:lnTo>
                      <a:pt x="479" y="92"/>
                    </a:lnTo>
                    <a:lnTo>
                      <a:pt x="482" y="90"/>
                    </a:lnTo>
                    <a:lnTo>
                      <a:pt x="479" y="88"/>
                    </a:lnTo>
                    <a:lnTo>
                      <a:pt x="482" y="85"/>
                    </a:lnTo>
                    <a:lnTo>
                      <a:pt x="482" y="85"/>
                    </a:lnTo>
                    <a:lnTo>
                      <a:pt x="486" y="85"/>
                    </a:lnTo>
                    <a:lnTo>
                      <a:pt x="489" y="81"/>
                    </a:lnTo>
                    <a:lnTo>
                      <a:pt x="489" y="81"/>
                    </a:lnTo>
                    <a:lnTo>
                      <a:pt x="489" y="81"/>
                    </a:lnTo>
                    <a:lnTo>
                      <a:pt x="489" y="78"/>
                    </a:lnTo>
                    <a:lnTo>
                      <a:pt x="491" y="76"/>
                    </a:lnTo>
                    <a:lnTo>
                      <a:pt x="491" y="76"/>
                    </a:lnTo>
                    <a:lnTo>
                      <a:pt x="493" y="76"/>
                    </a:lnTo>
                    <a:lnTo>
                      <a:pt x="493" y="73"/>
                    </a:lnTo>
                    <a:lnTo>
                      <a:pt x="493" y="73"/>
                    </a:lnTo>
                    <a:lnTo>
                      <a:pt x="493" y="73"/>
                    </a:lnTo>
                    <a:lnTo>
                      <a:pt x="493" y="73"/>
                    </a:lnTo>
                    <a:lnTo>
                      <a:pt x="489" y="73"/>
                    </a:lnTo>
                    <a:lnTo>
                      <a:pt x="489" y="71"/>
                    </a:lnTo>
                    <a:lnTo>
                      <a:pt x="489" y="71"/>
                    </a:lnTo>
                    <a:lnTo>
                      <a:pt x="491" y="69"/>
                    </a:lnTo>
                    <a:lnTo>
                      <a:pt x="496" y="69"/>
                    </a:lnTo>
                    <a:lnTo>
                      <a:pt x="498" y="66"/>
                    </a:lnTo>
                    <a:lnTo>
                      <a:pt x="503" y="66"/>
                    </a:lnTo>
                    <a:lnTo>
                      <a:pt x="505" y="66"/>
                    </a:lnTo>
                    <a:lnTo>
                      <a:pt x="505" y="66"/>
                    </a:lnTo>
                    <a:lnTo>
                      <a:pt x="507" y="64"/>
                    </a:lnTo>
                    <a:lnTo>
                      <a:pt x="507" y="64"/>
                    </a:lnTo>
                    <a:lnTo>
                      <a:pt x="507" y="62"/>
                    </a:lnTo>
                    <a:lnTo>
                      <a:pt x="510" y="59"/>
                    </a:lnTo>
                    <a:lnTo>
                      <a:pt x="510" y="57"/>
                    </a:lnTo>
                    <a:lnTo>
                      <a:pt x="512" y="57"/>
                    </a:lnTo>
                    <a:lnTo>
                      <a:pt x="512" y="59"/>
                    </a:lnTo>
                    <a:lnTo>
                      <a:pt x="515" y="59"/>
                    </a:lnTo>
                    <a:lnTo>
                      <a:pt x="515" y="55"/>
                    </a:lnTo>
                    <a:lnTo>
                      <a:pt x="515" y="55"/>
                    </a:lnTo>
                    <a:lnTo>
                      <a:pt x="515" y="52"/>
                    </a:lnTo>
                    <a:lnTo>
                      <a:pt x="515" y="50"/>
                    </a:lnTo>
                    <a:lnTo>
                      <a:pt x="515" y="47"/>
                    </a:lnTo>
                    <a:lnTo>
                      <a:pt x="517" y="47"/>
                    </a:lnTo>
                    <a:lnTo>
                      <a:pt x="519" y="47"/>
                    </a:lnTo>
                    <a:lnTo>
                      <a:pt x="519" y="45"/>
                    </a:lnTo>
                    <a:lnTo>
                      <a:pt x="522" y="43"/>
                    </a:lnTo>
                    <a:lnTo>
                      <a:pt x="524" y="40"/>
                    </a:lnTo>
                    <a:lnTo>
                      <a:pt x="526" y="38"/>
                    </a:lnTo>
                    <a:lnTo>
                      <a:pt x="529" y="38"/>
                    </a:lnTo>
                    <a:lnTo>
                      <a:pt x="529" y="33"/>
                    </a:lnTo>
                    <a:lnTo>
                      <a:pt x="529" y="33"/>
                    </a:lnTo>
                    <a:lnTo>
                      <a:pt x="531" y="29"/>
                    </a:lnTo>
                    <a:lnTo>
                      <a:pt x="531" y="26"/>
                    </a:lnTo>
                    <a:lnTo>
                      <a:pt x="531" y="26"/>
                    </a:lnTo>
                    <a:lnTo>
                      <a:pt x="526" y="24"/>
                    </a:lnTo>
                    <a:lnTo>
                      <a:pt x="526" y="24"/>
                    </a:lnTo>
                    <a:lnTo>
                      <a:pt x="524" y="19"/>
                    </a:lnTo>
                    <a:lnTo>
                      <a:pt x="522" y="19"/>
                    </a:lnTo>
                    <a:lnTo>
                      <a:pt x="524" y="14"/>
                    </a:lnTo>
                    <a:lnTo>
                      <a:pt x="524" y="12"/>
                    </a:lnTo>
                    <a:lnTo>
                      <a:pt x="526" y="12"/>
                    </a:lnTo>
                    <a:lnTo>
                      <a:pt x="526" y="10"/>
                    </a:lnTo>
                    <a:lnTo>
                      <a:pt x="524" y="10"/>
                    </a:lnTo>
                    <a:lnTo>
                      <a:pt x="524" y="5"/>
                    </a:lnTo>
                    <a:lnTo>
                      <a:pt x="529" y="3"/>
                    </a:lnTo>
                    <a:lnTo>
                      <a:pt x="529" y="0"/>
                    </a:lnTo>
                    <a:lnTo>
                      <a:pt x="531" y="0"/>
                    </a:lnTo>
                    <a:lnTo>
                      <a:pt x="533" y="5"/>
                    </a:lnTo>
                    <a:lnTo>
                      <a:pt x="538" y="7"/>
                    </a:lnTo>
                    <a:lnTo>
                      <a:pt x="541" y="10"/>
                    </a:lnTo>
                    <a:lnTo>
                      <a:pt x="541" y="10"/>
                    </a:lnTo>
                    <a:lnTo>
                      <a:pt x="545" y="14"/>
                    </a:lnTo>
                    <a:lnTo>
                      <a:pt x="550" y="17"/>
                    </a:lnTo>
                    <a:lnTo>
                      <a:pt x="550" y="17"/>
                    </a:lnTo>
                    <a:lnTo>
                      <a:pt x="552" y="19"/>
                    </a:lnTo>
                    <a:lnTo>
                      <a:pt x="557" y="21"/>
                    </a:lnTo>
                    <a:lnTo>
                      <a:pt x="559" y="21"/>
                    </a:lnTo>
                    <a:lnTo>
                      <a:pt x="562" y="21"/>
                    </a:lnTo>
                    <a:lnTo>
                      <a:pt x="562" y="21"/>
                    </a:lnTo>
                    <a:lnTo>
                      <a:pt x="564" y="24"/>
                    </a:lnTo>
                    <a:lnTo>
                      <a:pt x="569" y="24"/>
                    </a:lnTo>
                    <a:lnTo>
                      <a:pt x="569" y="21"/>
                    </a:lnTo>
                    <a:lnTo>
                      <a:pt x="571" y="21"/>
                    </a:lnTo>
                    <a:lnTo>
                      <a:pt x="576" y="21"/>
                    </a:lnTo>
                    <a:lnTo>
                      <a:pt x="576" y="24"/>
                    </a:lnTo>
                    <a:lnTo>
                      <a:pt x="578" y="21"/>
                    </a:lnTo>
                    <a:lnTo>
                      <a:pt x="578" y="24"/>
                    </a:lnTo>
                    <a:lnTo>
                      <a:pt x="581" y="21"/>
                    </a:lnTo>
                    <a:lnTo>
                      <a:pt x="585" y="24"/>
                    </a:lnTo>
                    <a:lnTo>
                      <a:pt x="585" y="24"/>
                    </a:lnTo>
                    <a:lnTo>
                      <a:pt x="590" y="26"/>
                    </a:lnTo>
                    <a:lnTo>
                      <a:pt x="590" y="24"/>
                    </a:lnTo>
                    <a:lnTo>
                      <a:pt x="590" y="24"/>
                    </a:lnTo>
                    <a:lnTo>
                      <a:pt x="590" y="29"/>
                    </a:lnTo>
                    <a:lnTo>
                      <a:pt x="593" y="29"/>
                    </a:lnTo>
                    <a:lnTo>
                      <a:pt x="593" y="29"/>
                    </a:lnTo>
                    <a:lnTo>
                      <a:pt x="595" y="31"/>
                    </a:lnTo>
                    <a:lnTo>
                      <a:pt x="597" y="31"/>
                    </a:lnTo>
                    <a:lnTo>
                      <a:pt x="597" y="31"/>
                    </a:lnTo>
                    <a:lnTo>
                      <a:pt x="597" y="33"/>
                    </a:lnTo>
                    <a:lnTo>
                      <a:pt x="600" y="36"/>
                    </a:lnTo>
                    <a:lnTo>
                      <a:pt x="600" y="36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40"/>
                    </a:lnTo>
                    <a:lnTo>
                      <a:pt x="600" y="43"/>
                    </a:lnTo>
                    <a:lnTo>
                      <a:pt x="600" y="43"/>
                    </a:lnTo>
                    <a:lnTo>
                      <a:pt x="600" y="43"/>
                    </a:lnTo>
                    <a:lnTo>
                      <a:pt x="600" y="45"/>
                    </a:lnTo>
                    <a:lnTo>
                      <a:pt x="597" y="47"/>
                    </a:lnTo>
                    <a:lnTo>
                      <a:pt x="597" y="47"/>
                    </a:lnTo>
                    <a:lnTo>
                      <a:pt x="597" y="47"/>
                    </a:lnTo>
                    <a:lnTo>
                      <a:pt x="597" y="50"/>
                    </a:lnTo>
                    <a:lnTo>
                      <a:pt x="595" y="52"/>
                    </a:lnTo>
                    <a:lnTo>
                      <a:pt x="593" y="55"/>
                    </a:lnTo>
                    <a:lnTo>
                      <a:pt x="590" y="55"/>
                    </a:lnTo>
                    <a:lnTo>
                      <a:pt x="590" y="57"/>
                    </a:lnTo>
                    <a:lnTo>
                      <a:pt x="583" y="71"/>
                    </a:lnTo>
                    <a:lnTo>
                      <a:pt x="581" y="76"/>
                    </a:lnTo>
                    <a:lnTo>
                      <a:pt x="581" y="76"/>
                    </a:lnTo>
                    <a:lnTo>
                      <a:pt x="581" y="78"/>
                    </a:lnTo>
                    <a:lnTo>
                      <a:pt x="581" y="81"/>
                    </a:lnTo>
                    <a:lnTo>
                      <a:pt x="578" y="83"/>
                    </a:lnTo>
                    <a:lnTo>
                      <a:pt x="578" y="83"/>
                    </a:lnTo>
                    <a:lnTo>
                      <a:pt x="581" y="83"/>
                    </a:lnTo>
                    <a:lnTo>
                      <a:pt x="581" y="83"/>
                    </a:lnTo>
                    <a:lnTo>
                      <a:pt x="581" y="85"/>
                    </a:lnTo>
                    <a:lnTo>
                      <a:pt x="583" y="85"/>
                    </a:lnTo>
                    <a:lnTo>
                      <a:pt x="583" y="88"/>
                    </a:lnTo>
                    <a:lnTo>
                      <a:pt x="588" y="88"/>
                    </a:lnTo>
                    <a:lnTo>
                      <a:pt x="588" y="88"/>
                    </a:lnTo>
                    <a:lnTo>
                      <a:pt x="588" y="90"/>
                    </a:lnTo>
                    <a:lnTo>
                      <a:pt x="588" y="92"/>
                    </a:lnTo>
                    <a:lnTo>
                      <a:pt x="588" y="92"/>
                    </a:lnTo>
                    <a:lnTo>
                      <a:pt x="590" y="95"/>
                    </a:lnTo>
                    <a:lnTo>
                      <a:pt x="590" y="99"/>
                    </a:lnTo>
                    <a:lnTo>
                      <a:pt x="590" y="99"/>
                    </a:lnTo>
                    <a:lnTo>
                      <a:pt x="593" y="99"/>
                    </a:lnTo>
                    <a:lnTo>
                      <a:pt x="595" y="99"/>
                    </a:lnTo>
                    <a:lnTo>
                      <a:pt x="593" y="99"/>
                    </a:lnTo>
                    <a:lnTo>
                      <a:pt x="590" y="99"/>
                    </a:lnTo>
                    <a:lnTo>
                      <a:pt x="590" y="104"/>
                    </a:lnTo>
                    <a:lnTo>
                      <a:pt x="590" y="107"/>
                    </a:lnTo>
                    <a:lnTo>
                      <a:pt x="585" y="107"/>
                    </a:lnTo>
                    <a:lnTo>
                      <a:pt x="585" y="109"/>
                    </a:lnTo>
                    <a:lnTo>
                      <a:pt x="585" y="109"/>
                    </a:lnTo>
                    <a:lnTo>
                      <a:pt x="585" y="109"/>
                    </a:lnTo>
                    <a:lnTo>
                      <a:pt x="588" y="111"/>
                    </a:lnTo>
                    <a:lnTo>
                      <a:pt x="588" y="111"/>
                    </a:lnTo>
                    <a:lnTo>
                      <a:pt x="590" y="116"/>
                    </a:lnTo>
                    <a:lnTo>
                      <a:pt x="590" y="121"/>
                    </a:lnTo>
                    <a:lnTo>
                      <a:pt x="588" y="123"/>
                    </a:lnTo>
                    <a:lnTo>
                      <a:pt x="590" y="123"/>
                    </a:lnTo>
                    <a:lnTo>
                      <a:pt x="590" y="125"/>
                    </a:lnTo>
                    <a:lnTo>
                      <a:pt x="595" y="125"/>
                    </a:lnTo>
                    <a:lnTo>
                      <a:pt x="595" y="125"/>
                    </a:lnTo>
                    <a:lnTo>
                      <a:pt x="597" y="125"/>
                    </a:lnTo>
                    <a:lnTo>
                      <a:pt x="600" y="125"/>
                    </a:lnTo>
                    <a:lnTo>
                      <a:pt x="602" y="128"/>
                    </a:lnTo>
                    <a:lnTo>
                      <a:pt x="602" y="128"/>
                    </a:lnTo>
                    <a:lnTo>
                      <a:pt x="600" y="128"/>
                    </a:lnTo>
                    <a:lnTo>
                      <a:pt x="600" y="130"/>
                    </a:lnTo>
                    <a:lnTo>
                      <a:pt x="600" y="135"/>
                    </a:lnTo>
                    <a:lnTo>
                      <a:pt x="600" y="135"/>
                    </a:lnTo>
                    <a:lnTo>
                      <a:pt x="600" y="137"/>
                    </a:lnTo>
                    <a:lnTo>
                      <a:pt x="595" y="142"/>
                    </a:lnTo>
                    <a:lnTo>
                      <a:pt x="595" y="144"/>
                    </a:lnTo>
                    <a:lnTo>
                      <a:pt x="597" y="142"/>
                    </a:lnTo>
                    <a:lnTo>
                      <a:pt x="597" y="142"/>
                    </a:lnTo>
                    <a:lnTo>
                      <a:pt x="597" y="142"/>
                    </a:lnTo>
                    <a:lnTo>
                      <a:pt x="597" y="144"/>
                    </a:lnTo>
                    <a:lnTo>
                      <a:pt x="597" y="147"/>
                    </a:lnTo>
                    <a:lnTo>
                      <a:pt x="600" y="147"/>
                    </a:lnTo>
                    <a:lnTo>
                      <a:pt x="600" y="147"/>
                    </a:lnTo>
                    <a:lnTo>
                      <a:pt x="600" y="149"/>
                    </a:lnTo>
                    <a:lnTo>
                      <a:pt x="600" y="149"/>
                    </a:lnTo>
                    <a:lnTo>
                      <a:pt x="602" y="151"/>
                    </a:lnTo>
                    <a:lnTo>
                      <a:pt x="604" y="154"/>
                    </a:lnTo>
                    <a:lnTo>
                      <a:pt x="604" y="156"/>
                    </a:lnTo>
                    <a:lnTo>
                      <a:pt x="604" y="161"/>
                    </a:lnTo>
                    <a:lnTo>
                      <a:pt x="602" y="161"/>
                    </a:lnTo>
                    <a:lnTo>
                      <a:pt x="602" y="163"/>
                    </a:lnTo>
                    <a:lnTo>
                      <a:pt x="602" y="163"/>
                    </a:lnTo>
                    <a:lnTo>
                      <a:pt x="602" y="163"/>
                    </a:lnTo>
                    <a:lnTo>
                      <a:pt x="600" y="163"/>
                    </a:lnTo>
                    <a:lnTo>
                      <a:pt x="602" y="166"/>
                    </a:lnTo>
                    <a:lnTo>
                      <a:pt x="602" y="168"/>
                    </a:lnTo>
                    <a:lnTo>
                      <a:pt x="600" y="168"/>
                    </a:lnTo>
                    <a:lnTo>
                      <a:pt x="600" y="170"/>
                    </a:lnTo>
                    <a:lnTo>
                      <a:pt x="600" y="170"/>
                    </a:lnTo>
                    <a:lnTo>
                      <a:pt x="602" y="168"/>
                    </a:lnTo>
                    <a:lnTo>
                      <a:pt x="604" y="168"/>
                    </a:lnTo>
                    <a:lnTo>
                      <a:pt x="607" y="168"/>
                    </a:lnTo>
                    <a:lnTo>
                      <a:pt x="607" y="168"/>
                    </a:lnTo>
                    <a:lnTo>
                      <a:pt x="609" y="168"/>
                    </a:lnTo>
                    <a:lnTo>
                      <a:pt x="609" y="168"/>
                    </a:lnTo>
                    <a:lnTo>
                      <a:pt x="609" y="168"/>
                    </a:lnTo>
                    <a:lnTo>
                      <a:pt x="611" y="168"/>
                    </a:lnTo>
                    <a:lnTo>
                      <a:pt x="611" y="168"/>
                    </a:lnTo>
                    <a:lnTo>
                      <a:pt x="614" y="170"/>
                    </a:lnTo>
                    <a:lnTo>
                      <a:pt x="616" y="170"/>
                    </a:lnTo>
                    <a:lnTo>
                      <a:pt x="619" y="170"/>
                    </a:lnTo>
                    <a:lnTo>
                      <a:pt x="619" y="173"/>
                    </a:lnTo>
                    <a:lnTo>
                      <a:pt x="616" y="173"/>
                    </a:lnTo>
                    <a:lnTo>
                      <a:pt x="616" y="175"/>
                    </a:lnTo>
                    <a:lnTo>
                      <a:pt x="616" y="180"/>
                    </a:lnTo>
                    <a:lnTo>
                      <a:pt x="614" y="182"/>
                    </a:lnTo>
                    <a:lnTo>
                      <a:pt x="616" y="184"/>
                    </a:lnTo>
                    <a:lnTo>
                      <a:pt x="616" y="184"/>
                    </a:lnTo>
                    <a:lnTo>
                      <a:pt x="619" y="187"/>
                    </a:lnTo>
                    <a:lnTo>
                      <a:pt x="621" y="187"/>
                    </a:lnTo>
                    <a:lnTo>
                      <a:pt x="621" y="189"/>
                    </a:lnTo>
                    <a:lnTo>
                      <a:pt x="616" y="196"/>
                    </a:lnTo>
                    <a:lnTo>
                      <a:pt x="616" y="206"/>
                    </a:lnTo>
                    <a:lnTo>
                      <a:pt x="616" y="208"/>
                    </a:lnTo>
                    <a:lnTo>
                      <a:pt x="616" y="208"/>
                    </a:lnTo>
                    <a:lnTo>
                      <a:pt x="616" y="210"/>
                    </a:lnTo>
                    <a:lnTo>
                      <a:pt x="614" y="213"/>
                    </a:lnTo>
                    <a:lnTo>
                      <a:pt x="611" y="215"/>
                    </a:lnTo>
                    <a:lnTo>
                      <a:pt x="611" y="215"/>
                    </a:lnTo>
                    <a:lnTo>
                      <a:pt x="611" y="220"/>
                    </a:lnTo>
                    <a:lnTo>
                      <a:pt x="611" y="222"/>
                    </a:lnTo>
                    <a:lnTo>
                      <a:pt x="611" y="222"/>
                    </a:lnTo>
                    <a:lnTo>
                      <a:pt x="611" y="227"/>
                    </a:lnTo>
                    <a:lnTo>
                      <a:pt x="609" y="229"/>
                    </a:lnTo>
                    <a:lnTo>
                      <a:pt x="609" y="232"/>
                    </a:lnTo>
                    <a:lnTo>
                      <a:pt x="607" y="234"/>
                    </a:lnTo>
                    <a:lnTo>
                      <a:pt x="607" y="236"/>
                    </a:lnTo>
                    <a:lnTo>
                      <a:pt x="604" y="236"/>
                    </a:lnTo>
                    <a:lnTo>
                      <a:pt x="604" y="239"/>
                    </a:lnTo>
                    <a:lnTo>
                      <a:pt x="602" y="239"/>
                    </a:lnTo>
                    <a:lnTo>
                      <a:pt x="602" y="239"/>
                    </a:lnTo>
                    <a:lnTo>
                      <a:pt x="602" y="241"/>
                    </a:lnTo>
                    <a:lnTo>
                      <a:pt x="604" y="241"/>
                    </a:lnTo>
                    <a:lnTo>
                      <a:pt x="604" y="241"/>
                    </a:lnTo>
                    <a:lnTo>
                      <a:pt x="604" y="241"/>
                    </a:lnTo>
                    <a:lnTo>
                      <a:pt x="604" y="246"/>
                    </a:lnTo>
                    <a:lnTo>
                      <a:pt x="604" y="246"/>
                    </a:lnTo>
                    <a:lnTo>
                      <a:pt x="607" y="248"/>
                    </a:lnTo>
                    <a:lnTo>
                      <a:pt x="609" y="251"/>
                    </a:lnTo>
                    <a:lnTo>
                      <a:pt x="611" y="253"/>
                    </a:lnTo>
                    <a:lnTo>
                      <a:pt x="607" y="258"/>
                    </a:lnTo>
                    <a:lnTo>
                      <a:pt x="604" y="260"/>
                    </a:lnTo>
                    <a:lnTo>
                      <a:pt x="602" y="262"/>
                    </a:lnTo>
                    <a:lnTo>
                      <a:pt x="602" y="262"/>
                    </a:lnTo>
                    <a:lnTo>
                      <a:pt x="600" y="265"/>
                    </a:lnTo>
                    <a:lnTo>
                      <a:pt x="600" y="265"/>
                    </a:lnTo>
                    <a:lnTo>
                      <a:pt x="602" y="265"/>
                    </a:lnTo>
                    <a:lnTo>
                      <a:pt x="607" y="267"/>
                    </a:lnTo>
                    <a:lnTo>
                      <a:pt x="607" y="267"/>
                    </a:lnTo>
                    <a:lnTo>
                      <a:pt x="604" y="267"/>
                    </a:lnTo>
                    <a:lnTo>
                      <a:pt x="604" y="272"/>
                    </a:lnTo>
                    <a:lnTo>
                      <a:pt x="604" y="272"/>
                    </a:lnTo>
                    <a:lnTo>
                      <a:pt x="602" y="272"/>
                    </a:lnTo>
                    <a:lnTo>
                      <a:pt x="602" y="277"/>
                    </a:lnTo>
                    <a:lnTo>
                      <a:pt x="600" y="279"/>
                    </a:lnTo>
                    <a:lnTo>
                      <a:pt x="604" y="281"/>
                    </a:lnTo>
                    <a:lnTo>
                      <a:pt x="602" y="284"/>
                    </a:lnTo>
                    <a:lnTo>
                      <a:pt x="604" y="286"/>
                    </a:lnTo>
                    <a:lnTo>
                      <a:pt x="604" y="288"/>
                    </a:lnTo>
                    <a:lnTo>
                      <a:pt x="604" y="288"/>
                    </a:lnTo>
                    <a:lnTo>
                      <a:pt x="607" y="288"/>
                    </a:lnTo>
                    <a:lnTo>
                      <a:pt x="607" y="288"/>
                    </a:lnTo>
                    <a:lnTo>
                      <a:pt x="607" y="291"/>
                    </a:lnTo>
                    <a:lnTo>
                      <a:pt x="607" y="288"/>
                    </a:lnTo>
                    <a:lnTo>
                      <a:pt x="609" y="288"/>
                    </a:lnTo>
                    <a:lnTo>
                      <a:pt x="614" y="296"/>
                    </a:lnTo>
                    <a:lnTo>
                      <a:pt x="614" y="293"/>
                    </a:lnTo>
                    <a:lnTo>
                      <a:pt x="616" y="293"/>
                    </a:lnTo>
                    <a:lnTo>
                      <a:pt x="616" y="296"/>
                    </a:lnTo>
                    <a:lnTo>
                      <a:pt x="616" y="296"/>
                    </a:lnTo>
                    <a:lnTo>
                      <a:pt x="616" y="300"/>
                    </a:lnTo>
                    <a:lnTo>
                      <a:pt x="616" y="303"/>
                    </a:lnTo>
                    <a:lnTo>
                      <a:pt x="621" y="303"/>
                    </a:lnTo>
                    <a:lnTo>
                      <a:pt x="621" y="305"/>
                    </a:lnTo>
                    <a:lnTo>
                      <a:pt x="621" y="305"/>
                    </a:lnTo>
                    <a:lnTo>
                      <a:pt x="621" y="305"/>
                    </a:lnTo>
                    <a:lnTo>
                      <a:pt x="623" y="305"/>
                    </a:lnTo>
                    <a:lnTo>
                      <a:pt x="623" y="307"/>
                    </a:lnTo>
                    <a:lnTo>
                      <a:pt x="626" y="310"/>
                    </a:lnTo>
                    <a:lnTo>
                      <a:pt x="628" y="307"/>
                    </a:lnTo>
                    <a:lnTo>
                      <a:pt x="628" y="307"/>
                    </a:lnTo>
                    <a:lnTo>
                      <a:pt x="630" y="310"/>
                    </a:lnTo>
                    <a:lnTo>
                      <a:pt x="630" y="310"/>
                    </a:lnTo>
                    <a:lnTo>
                      <a:pt x="630" y="312"/>
                    </a:lnTo>
                    <a:lnTo>
                      <a:pt x="635" y="314"/>
                    </a:lnTo>
                    <a:lnTo>
                      <a:pt x="635" y="317"/>
                    </a:lnTo>
                    <a:lnTo>
                      <a:pt x="635" y="314"/>
                    </a:lnTo>
                    <a:lnTo>
                      <a:pt x="637" y="314"/>
                    </a:lnTo>
                    <a:lnTo>
                      <a:pt x="640" y="319"/>
                    </a:lnTo>
                    <a:lnTo>
                      <a:pt x="640" y="319"/>
                    </a:lnTo>
                    <a:lnTo>
                      <a:pt x="642" y="319"/>
                    </a:lnTo>
                    <a:lnTo>
                      <a:pt x="642" y="319"/>
                    </a:lnTo>
                    <a:lnTo>
                      <a:pt x="642" y="321"/>
                    </a:lnTo>
                    <a:lnTo>
                      <a:pt x="642" y="326"/>
                    </a:lnTo>
                    <a:lnTo>
                      <a:pt x="640" y="329"/>
                    </a:lnTo>
                    <a:lnTo>
                      <a:pt x="642" y="329"/>
                    </a:lnTo>
                    <a:lnTo>
                      <a:pt x="642" y="329"/>
                    </a:lnTo>
                    <a:lnTo>
                      <a:pt x="645" y="331"/>
                    </a:lnTo>
                    <a:lnTo>
                      <a:pt x="642" y="331"/>
                    </a:lnTo>
                    <a:lnTo>
                      <a:pt x="642" y="333"/>
                    </a:lnTo>
                    <a:lnTo>
                      <a:pt x="642" y="333"/>
                    </a:lnTo>
                    <a:lnTo>
                      <a:pt x="642" y="336"/>
                    </a:lnTo>
                    <a:lnTo>
                      <a:pt x="645" y="336"/>
                    </a:lnTo>
                    <a:lnTo>
                      <a:pt x="645" y="338"/>
                    </a:lnTo>
                    <a:lnTo>
                      <a:pt x="642" y="340"/>
                    </a:lnTo>
                    <a:lnTo>
                      <a:pt x="642" y="340"/>
                    </a:lnTo>
                    <a:lnTo>
                      <a:pt x="640" y="343"/>
                    </a:lnTo>
                    <a:lnTo>
                      <a:pt x="642" y="345"/>
                    </a:lnTo>
                    <a:lnTo>
                      <a:pt x="642" y="347"/>
                    </a:lnTo>
                    <a:lnTo>
                      <a:pt x="645" y="350"/>
                    </a:lnTo>
                    <a:lnTo>
                      <a:pt x="642" y="350"/>
                    </a:lnTo>
                    <a:lnTo>
                      <a:pt x="640" y="350"/>
                    </a:lnTo>
                    <a:lnTo>
                      <a:pt x="640" y="350"/>
                    </a:lnTo>
                    <a:lnTo>
                      <a:pt x="640" y="352"/>
                    </a:lnTo>
                    <a:lnTo>
                      <a:pt x="640" y="355"/>
                    </a:lnTo>
                    <a:lnTo>
                      <a:pt x="642" y="355"/>
                    </a:lnTo>
                    <a:lnTo>
                      <a:pt x="642" y="355"/>
                    </a:lnTo>
                    <a:lnTo>
                      <a:pt x="642" y="357"/>
                    </a:lnTo>
                    <a:lnTo>
                      <a:pt x="642" y="357"/>
                    </a:lnTo>
                    <a:lnTo>
                      <a:pt x="642" y="359"/>
                    </a:lnTo>
                    <a:lnTo>
                      <a:pt x="642" y="359"/>
                    </a:lnTo>
                    <a:lnTo>
                      <a:pt x="642" y="362"/>
                    </a:lnTo>
                    <a:lnTo>
                      <a:pt x="642" y="362"/>
                    </a:lnTo>
                    <a:lnTo>
                      <a:pt x="642" y="364"/>
                    </a:lnTo>
                    <a:lnTo>
                      <a:pt x="640" y="364"/>
                    </a:lnTo>
                    <a:lnTo>
                      <a:pt x="642" y="366"/>
                    </a:lnTo>
                    <a:lnTo>
                      <a:pt x="642" y="369"/>
                    </a:lnTo>
                    <a:lnTo>
                      <a:pt x="645" y="369"/>
                    </a:lnTo>
                    <a:lnTo>
                      <a:pt x="645" y="373"/>
                    </a:lnTo>
                    <a:lnTo>
                      <a:pt x="645" y="376"/>
                    </a:lnTo>
                    <a:lnTo>
                      <a:pt x="645" y="376"/>
                    </a:lnTo>
                    <a:lnTo>
                      <a:pt x="645" y="381"/>
                    </a:lnTo>
                    <a:lnTo>
                      <a:pt x="645" y="383"/>
                    </a:lnTo>
                    <a:lnTo>
                      <a:pt x="642" y="383"/>
                    </a:lnTo>
                    <a:lnTo>
                      <a:pt x="640" y="383"/>
                    </a:lnTo>
                    <a:lnTo>
                      <a:pt x="642" y="385"/>
                    </a:lnTo>
                    <a:lnTo>
                      <a:pt x="642" y="388"/>
                    </a:lnTo>
                    <a:lnTo>
                      <a:pt x="645" y="392"/>
                    </a:lnTo>
                    <a:lnTo>
                      <a:pt x="642" y="392"/>
                    </a:lnTo>
                    <a:lnTo>
                      <a:pt x="645" y="397"/>
                    </a:lnTo>
                    <a:lnTo>
                      <a:pt x="645" y="399"/>
                    </a:lnTo>
                    <a:lnTo>
                      <a:pt x="645" y="404"/>
                    </a:lnTo>
                    <a:lnTo>
                      <a:pt x="645" y="407"/>
                    </a:lnTo>
                    <a:lnTo>
                      <a:pt x="647" y="411"/>
                    </a:lnTo>
                    <a:lnTo>
                      <a:pt x="645" y="414"/>
                    </a:lnTo>
                    <a:lnTo>
                      <a:pt x="649" y="416"/>
                    </a:lnTo>
                    <a:lnTo>
                      <a:pt x="649" y="423"/>
                    </a:lnTo>
                    <a:lnTo>
                      <a:pt x="647" y="425"/>
                    </a:lnTo>
                    <a:lnTo>
                      <a:pt x="647" y="425"/>
                    </a:lnTo>
                    <a:lnTo>
                      <a:pt x="647" y="428"/>
                    </a:lnTo>
                    <a:lnTo>
                      <a:pt x="645" y="430"/>
                    </a:lnTo>
                    <a:lnTo>
                      <a:pt x="645" y="433"/>
                    </a:lnTo>
                    <a:lnTo>
                      <a:pt x="645" y="433"/>
                    </a:lnTo>
                    <a:lnTo>
                      <a:pt x="645" y="433"/>
                    </a:lnTo>
                    <a:lnTo>
                      <a:pt x="647" y="433"/>
                    </a:lnTo>
                    <a:lnTo>
                      <a:pt x="649" y="435"/>
                    </a:lnTo>
                    <a:lnTo>
                      <a:pt x="652" y="440"/>
                    </a:lnTo>
                    <a:lnTo>
                      <a:pt x="652" y="444"/>
                    </a:lnTo>
                    <a:lnTo>
                      <a:pt x="652" y="447"/>
                    </a:lnTo>
                    <a:lnTo>
                      <a:pt x="652" y="449"/>
                    </a:lnTo>
                    <a:lnTo>
                      <a:pt x="652" y="449"/>
                    </a:lnTo>
                    <a:lnTo>
                      <a:pt x="652" y="449"/>
                    </a:lnTo>
                    <a:lnTo>
                      <a:pt x="652" y="454"/>
                    </a:lnTo>
                    <a:lnTo>
                      <a:pt x="652" y="456"/>
                    </a:lnTo>
                    <a:lnTo>
                      <a:pt x="654" y="461"/>
                    </a:lnTo>
                    <a:lnTo>
                      <a:pt x="656" y="466"/>
                    </a:lnTo>
                    <a:lnTo>
                      <a:pt x="659" y="466"/>
                    </a:lnTo>
                    <a:lnTo>
                      <a:pt x="659" y="466"/>
                    </a:lnTo>
                    <a:lnTo>
                      <a:pt x="661" y="468"/>
                    </a:lnTo>
                    <a:lnTo>
                      <a:pt x="661" y="468"/>
                    </a:lnTo>
                    <a:lnTo>
                      <a:pt x="661" y="470"/>
                    </a:lnTo>
                    <a:lnTo>
                      <a:pt x="661" y="470"/>
                    </a:lnTo>
                    <a:lnTo>
                      <a:pt x="659" y="475"/>
                    </a:lnTo>
                    <a:lnTo>
                      <a:pt x="659" y="477"/>
                    </a:lnTo>
                    <a:lnTo>
                      <a:pt x="659" y="477"/>
                    </a:lnTo>
                    <a:lnTo>
                      <a:pt x="659" y="482"/>
                    </a:lnTo>
                    <a:lnTo>
                      <a:pt x="659" y="487"/>
                    </a:lnTo>
                    <a:lnTo>
                      <a:pt x="659" y="489"/>
                    </a:lnTo>
                    <a:lnTo>
                      <a:pt x="659" y="492"/>
                    </a:lnTo>
                    <a:lnTo>
                      <a:pt x="659" y="494"/>
                    </a:lnTo>
                    <a:lnTo>
                      <a:pt x="659" y="496"/>
                    </a:lnTo>
                    <a:lnTo>
                      <a:pt x="663" y="501"/>
                    </a:lnTo>
                    <a:lnTo>
                      <a:pt x="666" y="506"/>
                    </a:lnTo>
                    <a:lnTo>
                      <a:pt x="666" y="506"/>
                    </a:lnTo>
                    <a:lnTo>
                      <a:pt x="668" y="508"/>
                    </a:lnTo>
                    <a:lnTo>
                      <a:pt x="668" y="508"/>
                    </a:lnTo>
                    <a:lnTo>
                      <a:pt x="666" y="513"/>
                    </a:lnTo>
                    <a:lnTo>
                      <a:pt x="668" y="513"/>
                    </a:lnTo>
                    <a:lnTo>
                      <a:pt x="670" y="515"/>
                    </a:lnTo>
                    <a:lnTo>
                      <a:pt x="678" y="515"/>
                    </a:lnTo>
                    <a:lnTo>
                      <a:pt x="680" y="518"/>
                    </a:lnTo>
                    <a:lnTo>
                      <a:pt x="682" y="520"/>
                    </a:lnTo>
                    <a:lnTo>
                      <a:pt x="682" y="520"/>
                    </a:lnTo>
                    <a:lnTo>
                      <a:pt x="687" y="522"/>
                    </a:lnTo>
                    <a:lnTo>
                      <a:pt x="694" y="522"/>
                    </a:lnTo>
                    <a:lnTo>
                      <a:pt x="696" y="522"/>
                    </a:lnTo>
                    <a:lnTo>
                      <a:pt x="699" y="522"/>
                    </a:lnTo>
                    <a:lnTo>
                      <a:pt x="699" y="525"/>
                    </a:lnTo>
                    <a:lnTo>
                      <a:pt x="701" y="525"/>
                    </a:lnTo>
                    <a:lnTo>
                      <a:pt x="701" y="527"/>
                    </a:lnTo>
                    <a:lnTo>
                      <a:pt x="704" y="529"/>
                    </a:lnTo>
                    <a:lnTo>
                      <a:pt x="704" y="529"/>
                    </a:lnTo>
                    <a:lnTo>
                      <a:pt x="704" y="532"/>
                    </a:lnTo>
                    <a:lnTo>
                      <a:pt x="706" y="534"/>
                    </a:lnTo>
                    <a:lnTo>
                      <a:pt x="706" y="534"/>
                    </a:lnTo>
                    <a:lnTo>
                      <a:pt x="708" y="532"/>
                    </a:lnTo>
                    <a:lnTo>
                      <a:pt x="711" y="532"/>
                    </a:lnTo>
                    <a:lnTo>
                      <a:pt x="713" y="532"/>
                    </a:lnTo>
                    <a:lnTo>
                      <a:pt x="713" y="532"/>
                    </a:lnTo>
                    <a:lnTo>
                      <a:pt x="711" y="534"/>
                    </a:lnTo>
                    <a:lnTo>
                      <a:pt x="711" y="534"/>
                    </a:lnTo>
                    <a:lnTo>
                      <a:pt x="708" y="536"/>
                    </a:lnTo>
                    <a:lnTo>
                      <a:pt x="708" y="539"/>
                    </a:lnTo>
                    <a:lnTo>
                      <a:pt x="706" y="539"/>
                    </a:lnTo>
                    <a:lnTo>
                      <a:pt x="706" y="539"/>
                    </a:lnTo>
                    <a:lnTo>
                      <a:pt x="706" y="544"/>
                    </a:lnTo>
                    <a:lnTo>
                      <a:pt x="704" y="544"/>
                    </a:lnTo>
                    <a:lnTo>
                      <a:pt x="706" y="548"/>
                    </a:lnTo>
                    <a:lnTo>
                      <a:pt x="706" y="551"/>
                    </a:lnTo>
                    <a:lnTo>
                      <a:pt x="706" y="558"/>
                    </a:lnTo>
                    <a:lnTo>
                      <a:pt x="708" y="558"/>
                    </a:lnTo>
                    <a:lnTo>
                      <a:pt x="708" y="558"/>
                    </a:lnTo>
                    <a:lnTo>
                      <a:pt x="706" y="560"/>
                    </a:lnTo>
                    <a:lnTo>
                      <a:pt x="706" y="560"/>
                    </a:lnTo>
                    <a:lnTo>
                      <a:pt x="704" y="560"/>
                    </a:lnTo>
                    <a:lnTo>
                      <a:pt x="704" y="560"/>
                    </a:lnTo>
                    <a:lnTo>
                      <a:pt x="706" y="560"/>
                    </a:lnTo>
                    <a:lnTo>
                      <a:pt x="706" y="562"/>
                    </a:lnTo>
                    <a:lnTo>
                      <a:pt x="704" y="562"/>
                    </a:lnTo>
                    <a:lnTo>
                      <a:pt x="704" y="565"/>
                    </a:lnTo>
                    <a:lnTo>
                      <a:pt x="701" y="567"/>
                    </a:lnTo>
                    <a:lnTo>
                      <a:pt x="699" y="570"/>
                    </a:lnTo>
                    <a:lnTo>
                      <a:pt x="699" y="570"/>
                    </a:lnTo>
                    <a:lnTo>
                      <a:pt x="696" y="572"/>
                    </a:lnTo>
                    <a:lnTo>
                      <a:pt x="699" y="574"/>
                    </a:lnTo>
                    <a:lnTo>
                      <a:pt x="696" y="579"/>
                    </a:lnTo>
                    <a:lnTo>
                      <a:pt x="696" y="581"/>
                    </a:lnTo>
                    <a:lnTo>
                      <a:pt x="696" y="581"/>
                    </a:lnTo>
                    <a:lnTo>
                      <a:pt x="694" y="586"/>
                    </a:lnTo>
                    <a:lnTo>
                      <a:pt x="694" y="593"/>
                    </a:lnTo>
                    <a:lnTo>
                      <a:pt x="694" y="598"/>
                    </a:lnTo>
                    <a:lnTo>
                      <a:pt x="694" y="598"/>
                    </a:lnTo>
                    <a:lnTo>
                      <a:pt x="689" y="600"/>
                    </a:lnTo>
                    <a:lnTo>
                      <a:pt x="692" y="603"/>
                    </a:lnTo>
                    <a:lnTo>
                      <a:pt x="689" y="610"/>
                    </a:lnTo>
                    <a:lnTo>
                      <a:pt x="678" y="614"/>
                    </a:lnTo>
                    <a:lnTo>
                      <a:pt x="675" y="617"/>
                    </a:lnTo>
                    <a:lnTo>
                      <a:pt x="673" y="617"/>
                    </a:lnTo>
                    <a:lnTo>
                      <a:pt x="670" y="617"/>
                    </a:lnTo>
                    <a:lnTo>
                      <a:pt x="668" y="619"/>
                    </a:lnTo>
                    <a:lnTo>
                      <a:pt x="668" y="621"/>
                    </a:lnTo>
                    <a:lnTo>
                      <a:pt x="670" y="629"/>
                    </a:lnTo>
                    <a:lnTo>
                      <a:pt x="673" y="629"/>
                    </a:lnTo>
                    <a:lnTo>
                      <a:pt x="678" y="633"/>
                    </a:lnTo>
                    <a:lnTo>
                      <a:pt x="678" y="636"/>
                    </a:lnTo>
                    <a:lnTo>
                      <a:pt x="678" y="636"/>
                    </a:lnTo>
                    <a:lnTo>
                      <a:pt x="678" y="636"/>
                    </a:lnTo>
                    <a:lnTo>
                      <a:pt x="678" y="638"/>
                    </a:lnTo>
                    <a:lnTo>
                      <a:pt x="678" y="640"/>
                    </a:lnTo>
                    <a:lnTo>
                      <a:pt x="678" y="643"/>
                    </a:lnTo>
                    <a:lnTo>
                      <a:pt x="675" y="647"/>
                    </a:lnTo>
                    <a:lnTo>
                      <a:pt x="673" y="652"/>
                    </a:lnTo>
                    <a:lnTo>
                      <a:pt x="673" y="657"/>
                    </a:lnTo>
                    <a:lnTo>
                      <a:pt x="678" y="659"/>
                    </a:lnTo>
                    <a:lnTo>
                      <a:pt x="680" y="662"/>
                    </a:lnTo>
                    <a:lnTo>
                      <a:pt x="687" y="664"/>
                    </a:lnTo>
                    <a:lnTo>
                      <a:pt x="687" y="664"/>
                    </a:lnTo>
                    <a:lnTo>
                      <a:pt x="689" y="664"/>
                    </a:lnTo>
                    <a:lnTo>
                      <a:pt x="689" y="666"/>
                    </a:lnTo>
                    <a:lnTo>
                      <a:pt x="689" y="666"/>
                    </a:lnTo>
                    <a:lnTo>
                      <a:pt x="692" y="669"/>
                    </a:lnTo>
                    <a:lnTo>
                      <a:pt x="692" y="671"/>
                    </a:lnTo>
                    <a:lnTo>
                      <a:pt x="689" y="681"/>
                    </a:lnTo>
                    <a:lnTo>
                      <a:pt x="689" y="683"/>
                    </a:lnTo>
                    <a:lnTo>
                      <a:pt x="689" y="683"/>
                    </a:lnTo>
                    <a:lnTo>
                      <a:pt x="687" y="692"/>
                    </a:lnTo>
                    <a:lnTo>
                      <a:pt x="685" y="695"/>
                    </a:lnTo>
                    <a:lnTo>
                      <a:pt x="682" y="699"/>
                    </a:lnTo>
                    <a:lnTo>
                      <a:pt x="682" y="702"/>
                    </a:lnTo>
                    <a:lnTo>
                      <a:pt x="682" y="704"/>
                    </a:lnTo>
                    <a:lnTo>
                      <a:pt x="685" y="704"/>
                    </a:lnTo>
                    <a:lnTo>
                      <a:pt x="685" y="707"/>
                    </a:lnTo>
                    <a:lnTo>
                      <a:pt x="682" y="707"/>
                    </a:lnTo>
                    <a:lnTo>
                      <a:pt x="682" y="709"/>
                    </a:lnTo>
                    <a:lnTo>
                      <a:pt x="680" y="707"/>
                    </a:lnTo>
                    <a:lnTo>
                      <a:pt x="678" y="707"/>
                    </a:lnTo>
                    <a:lnTo>
                      <a:pt x="678" y="709"/>
                    </a:lnTo>
                    <a:lnTo>
                      <a:pt x="678" y="709"/>
                    </a:lnTo>
                    <a:lnTo>
                      <a:pt x="675" y="709"/>
                    </a:lnTo>
                    <a:lnTo>
                      <a:pt x="675" y="709"/>
                    </a:lnTo>
                    <a:lnTo>
                      <a:pt x="675" y="711"/>
                    </a:lnTo>
                    <a:lnTo>
                      <a:pt x="673" y="714"/>
                    </a:lnTo>
                    <a:lnTo>
                      <a:pt x="673" y="714"/>
                    </a:lnTo>
                    <a:lnTo>
                      <a:pt x="670" y="714"/>
                    </a:lnTo>
                    <a:lnTo>
                      <a:pt x="670" y="716"/>
                    </a:lnTo>
                    <a:lnTo>
                      <a:pt x="670" y="716"/>
                    </a:lnTo>
                    <a:lnTo>
                      <a:pt x="670" y="718"/>
                    </a:lnTo>
                    <a:lnTo>
                      <a:pt x="668" y="718"/>
                    </a:lnTo>
                    <a:lnTo>
                      <a:pt x="666" y="718"/>
                    </a:lnTo>
                    <a:lnTo>
                      <a:pt x="666" y="718"/>
                    </a:lnTo>
                    <a:lnTo>
                      <a:pt x="663" y="721"/>
                    </a:lnTo>
                    <a:lnTo>
                      <a:pt x="661" y="721"/>
                    </a:lnTo>
                    <a:lnTo>
                      <a:pt x="661" y="723"/>
                    </a:lnTo>
                    <a:lnTo>
                      <a:pt x="661" y="725"/>
                    </a:lnTo>
                    <a:lnTo>
                      <a:pt x="661" y="725"/>
                    </a:lnTo>
                    <a:lnTo>
                      <a:pt x="661" y="728"/>
                    </a:lnTo>
                    <a:lnTo>
                      <a:pt x="661" y="728"/>
                    </a:lnTo>
                    <a:lnTo>
                      <a:pt x="659" y="728"/>
                    </a:lnTo>
                    <a:lnTo>
                      <a:pt x="659" y="730"/>
                    </a:lnTo>
                    <a:lnTo>
                      <a:pt x="656" y="730"/>
                    </a:lnTo>
                    <a:lnTo>
                      <a:pt x="656" y="733"/>
                    </a:lnTo>
                    <a:lnTo>
                      <a:pt x="654" y="733"/>
                    </a:lnTo>
                    <a:lnTo>
                      <a:pt x="656" y="735"/>
                    </a:lnTo>
                    <a:lnTo>
                      <a:pt x="654" y="737"/>
                    </a:lnTo>
                    <a:lnTo>
                      <a:pt x="652" y="737"/>
                    </a:lnTo>
                    <a:lnTo>
                      <a:pt x="652" y="737"/>
                    </a:lnTo>
                    <a:lnTo>
                      <a:pt x="649" y="735"/>
                    </a:lnTo>
                    <a:lnTo>
                      <a:pt x="649" y="735"/>
                    </a:lnTo>
                    <a:lnTo>
                      <a:pt x="647" y="735"/>
                    </a:lnTo>
                    <a:lnTo>
                      <a:pt x="645" y="737"/>
                    </a:lnTo>
                    <a:lnTo>
                      <a:pt x="647" y="737"/>
                    </a:lnTo>
                    <a:lnTo>
                      <a:pt x="647" y="740"/>
                    </a:lnTo>
                    <a:lnTo>
                      <a:pt x="645" y="740"/>
                    </a:lnTo>
                    <a:lnTo>
                      <a:pt x="645" y="740"/>
                    </a:lnTo>
                    <a:lnTo>
                      <a:pt x="645" y="742"/>
                    </a:lnTo>
                    <a:lnTo>
                      <a:pt x="645" y="744"/>
                    </a:lnTo>
                    <a:lnTo>
                      <a:pt x="645" y="744"/>
                    </a:lnTo>
                    <a:lnTo>
                      <a:pt x="642" y="747"/>
                    </a:lnTo>
                    <a:lnTo>
                      <a:pt x="640" y="744"/>
                    </a:lnTo>
                    <a:lnTo>
                      <a:pt x="637" y="744"/>
                    </a:lnTo>
                    <a:lnTo>
                      <a:pt x="637" y="742"/>
                    </a:lnTo>
                    <a:lnTo>
                      <a:pt x="637" y="742"/>
                    </a:lnTo>
                    <a:lnTo>
                      <a:pt x="635" y="740"/>
                    </a:lnTo>
                    <a:lnTo>
                      <a:pt x="633" y="742"/>
                    </a:lnTo>
                    <a:lnTo>
                      <a:pt x="633" y="742"/>
                    </a:lnTo>
                    <a:lnTo>
                      <a:pt x="633" y="744"/>
                    </a:lnTo>
                    <a:lnTo>
                      <a:pt x="628" y="744"/>
                    </a:lnTo>
                    <a:lnTo>
                      <a:pt x="626" y="747"/>
                    </a:lnTo>
                    <a:lnTo>
                      <a:pt x="626" y="751"/>
                    </a:lnTo>
                    <a:lnTo>
                      <a:pt x="623" y="751"/>
                    </a:lnTo>
                    <a:lnTo>
                      <a:pt x="623" y="754"/>
                    </a:lnTo>
                    <a:lnTo>
                      <a:pt x="621" y="756"/>
                    </a:lnTo>
                    <a:lnTo>
                      <a:pt x="621" y="756"/>
                    </a:lnTo>
                    <a:lnTo>
                      <a:pt x="621" y="756"/>
                    </a:lnTo>
                    <a:lnTo>
                      <a:pt x="619" y="758"/>
                    </a:lnTo>
                    <a:lnTo>
                      <a:pt x="616" y="758"/>
                    </a:lnTo>
                    <a:lnTo>
                      <a:pt x="616" y="758"/>
                    </a:lnTo>
                    <a:lnTo>
                      <a:pt x="616" y="758"/>
                    </a:lnTo>
                    <a:lnTo>
                      <a:pt x="614" y="758"/>
                    </a:lnTo>
                    <a:lnTo>
                      <a:pt x="614" y="761"/>
                    </a:lnTo>
                    <a:lnTo>
                      <a:pt x="611" y="763"/>
                    </a:lnTo>
                    <a:lnTo>
                      <a:pt x="611" y="763"/>
                    </a:lnTo>
                    <a:lnTo>
                      <a:pt x="611" y="766"/>
                    </a:lnTo>
                    <a:lnTo>
                      <a:pt x="609" y="766"/>
                    </a:lnTo>
                    <a:lnTo>
                      <a:pt x="607" y="766"/>
                    </a:lnTo>
                    <a:lnTo>
                      <a:pt x="607" y="766"/>
                    </a:lnTo>
                    <a:lnTo>
                      <a:pt x="607" y="766"/>
                    </a:lnTo>
                    <a:lnTo>
                      <a:pt x="607" y="768"/>
                    </a:lnTo>
                    <a:lnTo>
                      <a:pt x="607" y="770"/>
                    </a:lnTo>
                    <a:lnTo>
                      <a:pt x="604" y="773"/>
                    </a:lnTo>
                    <a:lnTo>
                      <a:pt x="604" y="773"/>
                    </a:lnTo>
                    <a:lnTo>
                      <a:pt x="602" y="773"/>
                    </a:lnTo>
                    <a:lnTo>
                      <a:pt x="600" y="775"/>
                    </a:lnTo>
                    <a:lnTo>
                      <a:pt x="597" y="775"/>
                    </a:lnTo>
                    <a:lnTo>
                      <a:pt x="595" y="777"/>
                    </a:lnTo>
                    <a:lnTo>
                      <a:pt x="593" y="780"/>
                    </a:lnTo>
                    <a:lnTo>
                      <a:pt x="590" y="780"/>
                    </a:lnTo>
                    <a:lnTo>
                      <a:pt x="588" y="780"/>
                    </a:lnTo>
                    <a:lnTo>
                      <a:pt x="585" y="780"/>
                    </a:lnTo>
                    <a:lnTo>
                      <a:pt x="585" y="780"/>
                    </a:lnTo>
                    <a:lnTo>
                      <a:pt x="585" y="782"/>
                    </a:lnTo>
                    <a:lnTo>
                      <a:pt x="583" y="782"/>
                    </a:lnTo>
                    <a:lnTo>
                      <a:pt x="581" y="787"/>
                    </a:lnTo>
                    <a:lnTo>
                      <a:pt x="581" y="789"/>
                    </a:lnTo>
                    <a:lnTo>
                      <a:pt x="578" y="794"/>
                    </a:lnTo>
                    <a:lnTo>
                      <a:pt x="578" y="792"/>
                    </a:lnTo>
                    <a:lnTo>
                      <a:pt x="574" y="796"/>
                    </a:lnTo>
                    <a:lnTo>
                      <a:pt x="571" y="799"/>
                    </a:lnTo>
                    <a:lnTo>
                      <a:pt x="571" y="799"/>
                    </a:lnTo>
                    <a:lnTo>
                      <a:pt x="569" y="801"/>
                    </a:lnTo>
                    <a:lnTo>
                      <a:pt x="569" y="801"/>
                    </a:lnTo>
                    <a:lnTo>
                      <a:pt x="569" y="801"/>
                    </a:lnTo>
                    <a:lnTo>
                      <a:pt x="569" y="803"/>
                    </a:lnTo>
                    <a:lnTo>
                      <a:pt x="569" y="806"/>
                    </a:lnTo>
                    <a:lnTo>
                      <a:pt x="567" y="806"/>
                    </a:lnTo>
                    <a:lnTo>
                      <a:pt x="567" y="806"/>
                    </a:lnTo>
                    <a:lnTo>
                      <a:pt x="567" y="810"/>
                    </a:lnTo>
                    <a:lnTo>
                      <a:pt x="564" y="810"/>
                    </a:lnTo>
                    <a:lnTo>
                      <a:pt x="564" y="815"/>
                    </a:lnTo>
                    <a:lnTo>
                      <a:pt x="562" y="815"/>
                    </a:lnTo>
                    <a:lnTo>
                      <a:pt x="559" y="813"/>
                    </a:lnTo>
                    <a:lnTo>
                      <a:pt x="559" y="813"/>
                    </a:lnTo>
                    <a:lnTo>
                      <a:pt x="557" y="813"/>
                    </a:lnTo>
                    <a:lnTo>
                      <a:pt x="557" y="813"/>
                    </a:lnTo>
                    <a:lnTo>
                      <a:pt x="557" y="813"/>
                    </a:lnTo>
                    <a:lnTo>
                      <a:pt x="555" y="815"/>
                    </a:lnTo>
                    <a:lnTo>
                      <a:pt x="552" y="815"/>
                    </a:lnTo>
                    <a:lnTo>
                      <a:pt x="552" y="818"/>
                    </a:lnTo>
                    <a:lnTo>
                      <a:pt x="552" y="818"/>
                    </a:lnTo>
                    <a:lnTo>
                      <a:pt x="548" y="818"/>
                    </a:lnTo>
                    <a:lnTo>
                      <a:pt x="548" y="820"/>
                    </a:lnTo>
                    <a:lnTo>
                      <a:pt x="548" y="820"/>
                    </a:lnTo>
                    <a:lnTo>
                      <a:pt x="541" y="820"/>
                    </a:lnTo>
                    <a:lnTo>
                      <a:pt x="541" y="822"/>
                    </a:lnTo>
                    <a:lnTo>
                      <a:pt x="541" y="825"/>
                    </a:lnTo>
                    <a:lnTo>
                      <a:pt x="541" y="827"/>
                    </a:lnTo>
                    <a:lnTo>
                      <a:pt x="541" y="832"/>
                    </a:lnTo>
                    <a:lnTo>
                      <a:pt x="536" y="834"/>
                    </a:lnTo>
                    <a:lnTo>
                      <a:pt x="533" y="836"/>
                    </a:lnTo>
                    <a:lnTo>
                      <a:pt x="533" y="836"/>
                    </a:lnTo>
                    <a:lnTo>
                      <a:pt x="531" y="839"/>
                    </a:lnTo>
                    <a:lnTo>
                      <a:pt x="531" y="841"/>
                    </a:lnTo>
                    <a:lnTo>
                      <a:pt x="529" y="844"/>
                    </a:lnTo>
                    <a:lnTo>
                      <a:pt x="526" y="851"/>
                    </a:lnTo>
                    <a:lnTo>
                      <a:pt x="524" y="851"/>
                    </a:lnTo>
                    <a:lnTo>
                      <a:pt x="524" y="851"/>
                    </a:lnTo>
                    <a:lnTo>
                      <a:pt x="522" y="851"/>
                    </a:lnTo>
                    <a:lnTo>
                      <a:pt x="522" y="853"/>
                    </a:lnTo>
                    <a:lnTo>
                      <a:pt x="519" y="853"/>
                    </a:lnTo>
                    <a:lnTo>
                      <a:pt x="517" y="855"/>
                    </a:lnTo>
                    <a:lnTo>
                      <a:pt x="517" y="855"/>
                    </a:lnTo>
                    <a:lnTo>
                      <a:pt x="515" y="855"/>
                    </a:lnTo>
                    <a:lnTo>
                      <a:pt x="515" y="853"/>
                    </a:lnTo>
                    <a:lnTo>
                      <a:pt x="512" y="853"/>
                    </a:lnTo>
                    <a:lnTo>
                      <a:pt x="512" y="853"/>
                    </a:lnTo>
                    <a:lnTo>
                      <a:pt x="510" y="851"/>
                    </a:lnTo>
                    <a:lnTo>
                      <a:pt x="505" y="853"/>
                    </a:lnTo>
                    <a:lnTo>
                      <a:pt x="503" y="853"/>
                    </a:lnTo>
                    <a:lnTo>
                      <a:pt x="500" y="853"/>
                    </a:lnTo>
                    <a:lnTo>
                      <a:pt x="498" y="853"/>
                    </a:lnTo>
                    <a:lnTo>
                      <a:pt x="498" y="853"/>
                    </a:lnTo>
                    <a:lnTo>
                      <a:pt x="493" y="855"/>
                    </a:lnTo>
                    <a:lnTo>
                      <a:pt x="491" y="855"/>
                    </a:lnTo>
                    <a:lnTo>
                      <a:pt x="489" y="855"/>
                    </a:lnTo>
                    <a:lnTo>
                      <a:pt x="484" y="855"/>
                    </a:lnTo>
                    <a:lnTo>
                      <a:pt x="482" y="858"/>
                    </a:lnTo>
                    <a:lnTo>
                      <a:pt x="479" y="858"/>
                    </a:lnTo>
                    <a:lnTo>
                      <a:pt x="477" y="855"/>
                    </a:lnTo>
                    <a:lnTo>
                      <a:pt x="477" y="855"/>
                    </a:lnTo>
                    <a:lnTo>
                      <a:pt x="474" y="858"/>
                    </a:lnTo>
                    <a:lnTo>
                      <a:pt x="472" y="858"/>
                    </a:lnTo>
                    <a:lnTo>
                      <a:pt x="472" y="860"/>
                    </a:lnTo>
                    <a:lnTo>
                      <a:pt x="470" y="860"/>
                    </a:lnTo>
                    <a:lnTo>
                      <a:pt x="467" y="860"/>
                    </a:lnTo>
                    <a:lnTo>
                      <a:pt x="465" y="860"/>
                    </a:lnTo>
                    <a:lnTo>
                      <a:pt x="465" y="862"/>
                    </a:lnTo>
                    <a:lnTo>
                      <a:pt x="460" y="865"/>
                    </a:lnTo>
                    <a:lnTo>
                      <a:pt x="460" y="867"/>
                    </a:lnTo>
                    <a:lnTo>
                      <a:pt x="460" y="867"/>
                    </a:lnTo>
                    <a:lnTo>
                      <a:pt x="458" y="870"/>
                    </a:lnTo>
                    <a:lnTo>
                      <a:pt x="456" y="872"/>
                    </a:lnTo>
                    <a:lnTo>
                      <a:pt x="453" y="872"/>
                    </a:lnTo>
                    <a:lnTo>
                      <a:pt x="451" y="874"/>
                    </a:lnTo>
                    <a:lnTo>
                      <a:pt x="451" y="877"/>
                    </a:lnTo>
                    <a:lnTo>
                      <a:pt x="451" y="879"/>
                    </a:lnTo>
                    <a:lnTo>
                      <a:pt x="448" y="879"/>
                    </a:lnTo>
                    <a:lnTo>
                      <a:pt x="448" y="879"/>
                    </a:lnTo>
                    <a:lnTo>
                      <a:pt x="446" y="879"/>
                    </a:lnTo>
                    <a:lnTo>
                      <a:pt x="444" y="879"/>
                    </a:lnTo>
                    <a:lnTo>
                      <a:pt x="444" y="881"/>
                    </a:lnTo>
                    <a:lnTo>
                      <a:pt x="444" y="881"/>
                    </a:lnTo>
                    <a:lnTo>
                      <a:pt x="444" y="884"/>
                    </a:lnTo>
                    <a:lnTo>
                      <a:pt x="439" y="884"/>
                    </a:lnTo>
                    <a:lnTo>
                      <a:pt x="437" y="884"/>
                    </a:lnTo>
                    <a:lnTo>
                      <a:pt x="434" y="884"/>
                    </a:lnTo>
                    <a:lnTo>
                      <a:pt x="432" y="884"/>
                    </a:lnTo>
                    <a:lnTo>
                      <a:pt x="430" y="884"/>
                    </a:lnTo>
                    <a:lnTo>
                      <a:pt x="430" y="886"/>
                    </a:lnTo>
                    <a:lnTo>
                      <a:pt x="427" y="891"/>
                    </a:lnTo>
                    <a:lnTo>
                      <a:pt x="425" y="888"/>
                    </a:lnTo>
                    <a:lnTo>
                      <a:pt x="425" y="891"/>
                    </a:lnTo>
                    <a:lnTo>
                      <a:pt x="422" y="891"/>
                    </a:lnTo>
                    <a:lnTo>
                      <a:pt x="420" y="891"/>
                    </a:lnTo>
                    <a:lnTo>
                      <a:pt x="418" y="891"/>
                    </a:lnTo>
                    <a:lnTo>
                      <a:pt x="418" y="891"/>
                    </a:lnTo>
                    <a:lnTo>
                      <a:pt x="415" y="888"/>
                    </a:lnTo>
                    <a:lnTo>
                      <a:pt x="415" y="888"/>
                    </a:lnTo>
                    <a:lnTo>
                      <a:pt x="415" y="888"/>
                    </a:lnTo>
                    <a:lnTo>
                      <a:pt x="415" y="891"/>
                    </a:lnTo>
                    <a:lnTo>
                      <a:pt x="413" y="893"/>
                    </a:lnTo>
                    <a:lnTo>
                      <a:pt x="411" y="895"/>
                    </a:lnTo>
                    <a:lnTo>
                      <a:pt x="411" y="895"/>
                    </a:lnTo>
                    <a:lnTo>
                      <a:pt x="411" y="898"/>
                    </a:lnTo>
                    <a:lnTo>
                      <a:pt x="408" y="900"/>
                    </a:lnTo>
                    <a:lnTo>
                      <a:pt x="404" y="900"/>
                    </a:lnTo>
                    <a:lnTo>
                      <a:pt x="401" y="900"/>
                    </a:lnTo>
                    <a:lnTo>
                      <a:pt x="401" y="898"/>
                    </a:lnTo>
                    <a:lnTo>
                      <a:pt x="401" y="895"/>
                    </a:lnTo>
                    <a:lnTo>
                      <a:pt x="401" y="893"/>
                    </a:lnTo>
                    <a:lnTo>
                      <a:pt x="399" y="891"/>
                    </a:lnTo>
                    <a:lnTo>
                      <a:pt x="399" y="891"/>
                    </a:lnTo>
                    <a:lnTo>
                      <a:pt x="396" y="893"/>
                    </a:lnTo>
                    <a:lnTo>
                      <a:pt x="396" y="893"/>
                    </a:lnTo>
                    <a:lnTo>
                      <a:pt x="394" y="893"/>
                    </a:lnTo>
                    <a:lnTo>
                      <a:pt x="392" y="888"/>
                    </a:lnTo>
                    <a:lnTo>
                      <a:pt x="392" y="888"/>
                    </a:lnTo>
                    <a:lnTo>
                      <a:pt x="387" y="888"/>
                    </a:lnTo>
                    <a:lnTo>
                      <a:pt x="385" y="886"/>
                    </a:lnTo>
                    <a:lnTo>
                      <a:pt x="385" y="886"/>
                    </a:lnTo>
                    <a:lnTo>
                      <a:pt x="385" y="884"/>
                    </a:lnTo>
                    <a:lnTo>
                      <a:pt x="385" y="881"/>
                    </a:lnTo>
                    <a:lnTo>
                      <a:pt x="385" y="879"/>
                    </a:lnTo>
                    <a:lnTo>
                      <a:pt x="385" y="877"/>
                    </a:lnTo>
                    <a:lnTo>
                      <a:pt x="385" y="874"/>
                    </a:lnTo>
                    <a:lnTo>
                      <a:pt x="385" y="874"/>
                    </a:lnTo>
                    <a:lnTo>
                      <a:pt x="382" y="872"/>
                    </a:lnTo>
                    <a:lnTo>
                      <a:pt x="380" y="872"/>
                    </a:lnTo>
                    <a:lnTo>
                      <a:pt x="378" y="872"/>
                    </a:lnTo>
                    <a:lnTo>
                      <a:pt x="378" y="872"/>
                    </a:lnTo>
                    <a:lnTo>
                      <a:pt x="373" y="874"/>
                    </a:lnTo>
                    <a:lnTo>
                      <a:pt x="373" y="872"/>
                    </a:lnTo>
                    <a:lnTo>
                      <a:pt x="370" y="872"/>
                    </a:lnTo>
                    <a:lnTo>
                      <a:pt x="368" y="872"/>
                    </a:lnTo>
                    <a:lnTo>
                      <a:pt x="368" y="872"/>
                    </a:lnTo>
                    <a:lnTo>
                      <a:pt x="368" y="870"/>
                    </a:lnTo>
                    <a:lnTo>
                      <a:pt x="366" y="870"/>
                    </a:lnTo>
                    <a:lnTo>
                      <a:pt x="366" y="870"/>
                    </a:lnTo>
                    <a:lnTo>
                      <a:pt x="366" y="867"/>
                    </a:lnTo>
                    <a:lnTo>
                      <a:pt x="366" y="867"/>
                    </a:lnTo>
                    <a:lnTo>
                      <a:pt x="363" y="867"/>
                    </a:lnTo>
                    <a:lnTo>
                      <a:pt x="363" y="867"/>
                    </a:lnTo>
                    <a:lnTo>
                      <a:pt x="363" y="867"/>
                    </a:lnTo>
                    <a:lnTo>
                      <a:pt x="363" y="870"/>
                    </a:lnTo>
                    <a:lnTo>
                      <a:pt x="361" y="867"/>
                    </a:lnTo>
                    <a:lnTo>
                      <a:pt x="359" y="867"/>
                    </a:lnTo>
                    <a:lnTo>
                      <a:pt x="356" y="872"/>
                    </a:lnTo>
                    <a:lnTo>
                      <a:pt x="354" y="874"/>
                    </a:lnTo>
                    <a:lnTo>
                      <a:pt x="354" y="874"/>
                    </a:lnTo>
                    <a:lnTo>
                      <a:pt x="354" y="872"/>
                    </a:lnTo>
                    <a:lnTo>
                      <a:pt x="352" y="872"/>
                    </a:lnTo>
                    <a:lnTo>
                      <a:pt x="349" y="872"/>
                    </a:lnTo>
                    <a:lnTo>
                      <a:pt x="349" y="872"/>
                    </a:lnTo>
                    <a:lnTo>
                      <a:pt x="345" y="872"/>
                    </a:lnTo>
                    <a:lnTo>
                      <a:pt x="345" y="874"/>
                    </a:lnTo>
                    <a:lnTo>
                      <a:pt x="342" y="874"/>
                    </a:lnTo>
                    <a:lnTo>
                      <a:pt x="342" y="874"/>
                    </a:lnTo>
                    <a:lnTo>
                      <a:pt x="342" y="872"/>
                    </a:lnTo>
                    <a:lnTo>
                      <a:pt x="340" y="872"/>
                    </a:lnTo>
                    <a:lnTo>
                      <a:pt x="340" y="870"/>
                    </a:lnTo>
                    <a:lnTo>
                      <a:pt x="337" y="867"/>
                    </a:lnTo>
                    <a:lnTo>
                      <a:pt x="337" y="867"/>
                    </a:lnTo>
                    <a:lnTo>
                      <a:pt x="333" y="867"/>
                    </a:lnTo>
                    <a:lnTo>
                      <a:pt x="330" y="865"/>
                    </a:lnTo>
                    <a:lnTo>
                      <a:pt x="328" y="860"/>
                    </a:lnTo>
                    <a:lnTo>
                      <a:pt x="328" y="858"/>
                    </a:lnTo>
                    <a:lnTo>
                      <a:pt x="323" y="855"/>
                    </a:lnTo>
                    <a:lnTo>
                      <a:pt x="323" y="853"/>
                    </a:lnTo>
                    <a:lnTo>
                      <a:pt x="321" y="853"/>
                    </a:lnTo>
                    <a:lnTo>
                      <a:pt x="321" y="853"/>
                    </a:lnTo>
                    <a:lnTo>
                      <a:pt x="319" y="853"/>
                    </a:lnTo>
                    <a:lnTo>
                      <a:pt x="316" y="855"/>
                    </a:lnTo>
                    <a:lnTo>
                      <a:pt x="311" y="858"/>
                    </a:lnTo>
                    <a:lnTo>
                      <a:pt x="311" y="860"/>
                    </a:lnTo>
                    <a:lnTo>
                      <a:pt x="309" y="860"/>
                    </a:lnTo>
                    <a:lnTo>
                      <a:pt x="307" y="860"/>
                    </a:lnTo>
                    <a:lnTo>
                      <a:pt x="307" y="860"/>
                    </a:lnTo>
                    <a:lnTo>
                      <a:pt x="304" y="862"/>
                    </a:lnTo>
                    <a:lnTo>
                      <a:pt x="302" y="867"/>
                    </a:lnTo>
                    <a:lnTo>
                      <a:pt x="300" y="867"/>
                    </a:lnTo>
                    <a:lnTo>
                      <a:pt x="295" y="872"/>
                    </a:lnTo>
                    <a:lnTo>
                      <a:pt x="293" y="874"/>
                    </a:lnTo>
                    <a:lnTo>
                      <a:pt x="283" y="877"/>
                    </a:lnTo>
                    <a:lnTo>
                      <a:pt x="281" y="877"/>
                    </a:lnTo>
                    <a:lnTo>
                      <a:pt x="281" y="879"/>
                    </a:lnTo>
                    <a:lnTo>
                      <a:pt x="278" y="881"/>
                    </a:lnTo>
                    <a:lnTo>
                      <a:pt x="276" y="884"/>
                    </a:lnTo>
                    <a:lnTo>
                      <a:pt x="271" y="891"/>
                    </a:lnTo>
                    <a:lnTo>
                      <a:pt x="271" y="893"/>
                    </a:lnTo>
                    <a:lnTo>
                      <a:pt x="271" y="895"/>
                    </a:lnTo>
                    <a:lnTo>
                      <a:pt x="271" y="900"/>
                    </a:lnTo>
                    <a:lnTo>
                      <a:pt x="274" y="900"/>
                    </a:lnTo>
                    <a:lnTo>
                      <a:pt x="274" y="900"/>
                    </a:lnTo>
                    <a:lnTo>
                      <a:pt x="274" y="900"/>
                    </a:lnTo>
                    <a:lnTo>
                      <a:pt x="271" y="903"/>
                    </a:lnTo>
                    <a:lnTo>
                      <a:pt x="274" y="903"/>
                    </a:lnTo>
                    <a:lnTo>
                      <a:pt x="278" y="910"/>
                    </a:lnTo>
                    <a:lnTo>
                      <a:pt x="278" y="912"/>
                    </a:lnTo>
                    <a:lnTo>
                      <a:pt x="278" y="912"/>
                    </a:lnTo>
                    <a:lnTo>
                      <a:pt x="278" y="914"/>
                    </a:lnTo>
                    <a:lnTo>
                      <a:pt x="281" y="919"/>
                    </a:lnTo>
                    <a:lnTo>
                      <a:pt x="281" y="919"/>
                    </a:lnTo>
                    <a:lnTo>
                      <a:pt x="283" y="921"/>
                    </a:lnTo>
                    <a:lnTo>
                      <a:pt x="288" y="921"/>
                    </a:lnTo>
                    <a:lnTo>
                      <a:pt x="288" y="924"/>
                    </a:lnTo>
                    <a:lnTo>
                      <a:pt x="290" y="924"/>
                    </a:lnTo>
                    <a:lnTo>
                      <a:pt x="290" y="924"/>
                    </a:lnTo>
                    <a:lnTo>
                      <a:pt x="293" y="926"/>
                    </a:lnTo>
                    <a:lnTo>
                      <a:pt x="295" y="926"/>
                    </a:lnTo>
                    <a:lnTo>
                      <a:pt x="295" y="929"/>
                    </a:lnTo>
                    <a:lnTo>
                      <a:pt x="295" y="929"/>
                    </a:lnTo>
                    <a:lnTo>
                      <a:pt x="295" y="931"/>
                    </a:lnTo>
                    <a:lnTo>
                      <a:pt x="295" y="933"/>
                    </a:lnTo>
                    <a:lnTo>
                      <a:pt x="293" y="936"/>
                    </a:lnTo>
                    <a:lnTo>
                      <a:pt x="290" y="936"/>
                    </a:lnTo>
                    <a:lnTo>
                      <a:pt x="290" y="938"/>
                    </a:lnTo>
                    <a:lnTo>
                      <a:pt x="290" y="938"/>
                    </a:lnTo>
                    <a:lnTo>
                      <a:pt x="290" y="938"/>
                    </a:lnTo>
                    <a:lnTo>
                      <a:pt x="290" y="940"/>
                    </a:lnTo>
                    <a:lnTo>
                      <a:pt x="290" y="940"/>
                    </a:lnTo>
                    <a:lnTo>
                      <a:pt x="293" y="940"/>
                    </a:lnTo>
                    <a:lnTo>
                      <a:pt x="293" y="940"/>
                    </a:lnTo>
                    <a:lnTo>
                      <a:pt x="290" y="945"/>
                    </a:lnTo>
                    <a:lnTo>
                      <a:pt x="293" y="947"/>
                    </a:lnTo>
                    <a:lnTo>
                      <a:pt x="295" y="947"/>
                    </a:lnTo>
                    <a:lnTo>
                      <a:pt x="295" y="950"/>
                    </a:lnTo>
                    <a:lnTo>
                      <a:pt x="295" y="955"/>
                    </a:lnTo>
                    <a:lnTo>
                      <a:pt x="293" y="955"/>
                    </a:lnTo>
                    <a:lnTo>
                      <a:pt x="290" y="957"/>
                    </a:lnTo>
                    <a:lnTo>
                      <a:pt x="290" y="959"/>
                    </a:lnTo>
                    <a:lnTo>
                      <a:pt x="285" y="959"/>
                    </a:lnTo>
                    <a:lnTo>
                      <a:pt x="283" y="959"/>
                    </a:lnTo>
                    <a:lnTo>
                      <a:pt x="283" y="962"/>
                    </a:lnTo>
                    <a:lnTo>
                      <a:pt x="281" y="964"/>
                    </a:lnTo>
                    <a:lnTo>
                      <a:pt x="281" y="964"/>
                    </a:lnTo>
                    <a:lnTo>
                      <a:pt x="281" y="966"/>
                    </a:lnTo>
                    <a:lnTo>
                      <a:pt x="281" y="973"/>
                    </a:lnTo>
                    <a:lnTo>
                      <a:pt x="278" y="976"/>
                    </a:lnTo>
                    <a:lnTo>
                      <a:pt x="274" y="983"/>
                    </a:lnTo>
                    <a:lnTo>
                      <a:pt x="274" y="983"/>
                    </a:lnTo>
                    <a:lnTo>
                      <a:pt x="274" y="983"/>
                    </a:lnTo>
                    <a:lnTo>
                      <a:pt x="274" y="985"/>
                    </a:lnTo>
                    <a:lnTo>
                      <a:pt x="274" y="985"/>
                    </a:lnTo>
                    <a:lnTo>
                      <a:pt x="274" y="990"/>
                    </a:lnTo>
                    <a:lnTo>
                      <a:pt x="271" y="992"/>
                    </a:lnTo>
                    <a:lnTo>
                      <a:pt x="269" y="992"/>
                    </a:lnTo>
                    <a:lnTo>
                      <a:pt x="267" y="995"/>
                    </a:lnTo>
                    <a:lnTo>
                      <a:pt x="267" y="995"/>
                    </a:lnTo>
                    <a:lnTo>
                      <a:pt x="264" y="999"/>
                    </a:lnTo>
                    <a:lnTo>
                      <a:pt x="264" y="999"/>
                    </a:lnTo>
                    <a:lnTo>
                      <a:pt x="262" y="1004"/>
                    </a:lnTo>
                    <a:lnTo>
                      <a:pt x="262" y="1004"/>
                    </a:lnTo>
                    <a:lnTo>
                      <a:pt x="259" y="1004"/>
                    </a:lnTo>
                    <a:lnTo>
                      <a:pt x="257" y="1004"/>
                    </a:lnTo>
                    <a:lnTo>
                      <a:pt x="252" y="1004"/>
                    </a:lnTo>
                    <a:lnTo>
                      <a:pt x="250" y="1002"/>
                    </a:lnTo>
                    <a:lnTo>
                      <a:pt x="250" y="1002"/>
                    </a:lnTo>
                    <a:lnTo>
                      <a:pt x="248" y="1004"/>
                    </a:lnTo>
                    <a:lnTo>
                      <a:pt x="248" y="1009"/>
                    </a:lnTo>
                    <a:lnTo>
                      <a:pt x="248" y="1011"/>
                    </a:lnTo>
                    <a:lnTo>
                      <a:pt x="248" y="1014"/>
                    </a:lnTo>
                    <a:lnTo>
                      <a:pt x="248" y="1014"/>
                    </a:lnTo>
                    <a:lnTo>
                      <a:pt x="245" y="1016"/>
                    </a:lnTo>
                    <a:lnTo>
                      <a:pt x="243" y="1023"/>
                    </a:lnTo>
                    <a:lnTo>
                      <a:pt x="243" y="1025"/>
                    </a:lnTo>
                    <a:lnTo>
                      <a:pt x="241" y="1028"/>
                    </a:lnTo>
                    <a:lnTo>
                      <a:pt x="238" y="1028"/>
                    </a:lnTo>
                    <a:lnTo>
                      <a:pt x="238" y="1028"/>
                    </a:lnTo>
                    <a:lnTo>
                      <a:pt x="236" y="1030"/>
                    </a:lnTo>
                    <a:lnTo>
                      <a:pt x="236" y="1032"/>
                    </a:lnTo>
                    <a:lnTo>
                      <a:pt x="236" y="1032"/>
                    </a:lnTo>
                    <a:lnTo>
                      <a:pt x="233" y="1032"/>
                    </a:lnTo>
                    <a:lnTo>
                      <a:pt x="231" y="1032"/>
                    </a:lnTo>
                    <a:lnTo>
                      <a:pt x="231" y="1032"/>
                    </a:lnTo>
                    <a:lnTo>
                      <a:pt x="229" y="1032"/>
                    </a:lnTo>
                    <a:lnTo>
                      <a:pt x="229" y="1032"/>
                    </a:lnTo>
                    <a:lnTo>
                      <a:pt x="226" y="1030"/>
                    </a:lnTo>
                    <a:lnTo>
                      <a:pt x="224" y="1030"/>
                    </a:lnTo>
                    <a:lnTo>
                      <a:pt x="222" y="1032"/>
                    </a:lnTo>
                    <a:lnTo>
                      <a:pt x="222" y="1032"/>
                    </a:lnTo>
                    <a:lnTo>
                      <a:pt x="219" y="1030"/>
                    </a:lnTo>
                    <a:lnTo>
                      <a:pt x="217" y="1030"/>
                    </a:lnTo>
                    <a:lnTo>
                      <a:pt x="212" y="1023"/>
                    </a:lnTo>
                    <a:lnTo>
                      <a:pt x="212" y="1023"/>
                    </a:lnTo>
                    <a:lnTo>
                      <a:pt x="212" y="1023"/>
                    </a:lnTo>
                    <a:lnTo>
                      <a:pt x="210" y="1021"/>
                    </a:lnTo>
                    <a:lnTo>
                      <a:pt x="207" y="1021"/>
                    </a:lnTo>
                    <a:lnTo>
                      <a:pt x="207" y="1023"/>
                    </a:lnTo>
                    <a:lnTo>
                      <a:pt x="203" y="1028"/>
                    </a:lnTo>
                    <a:lnTo>
                      <a:pt x="200" y="1030"/>
                    </a:lnTo>
                    <a:lnTo>
                      <a:pt x="198" y="1030"/>
                    </a:lnTo>
                    <a:lnTo>
                      <a:pt x="196" y="1030"/>
                    </a:lnTo>
                    <a:lnTo>
                      <a:pt x="193" y="1030"/>
                    </a:lnTo>
                    <a:lnTo>
                      <a:pt x="193" y="1030"/>
                    </a:lnTo>
                    <a:lnTo>
                      <a:pt x="193" y="1032"/>
                    </a:lnTo>
                    <a:lnTo>
                      <a:pt x="191" y="1032"/>
                    </a:lnTo>
                    <a:lnTo>
                      <a:pt x="189" y="1035"/>
                    </a:lnTo>
                    <a:lnTo>
                      <a:pt x="189" y="1035"/>
                    </a:lnTo>
                    <a:lnTo>
                      <a:pt x="186" y="1035"/>
                    </a:lnTo>
                    <a:lnTo>
                      <a:pt x="186" y="1035"/>
                    </a:lnTo>
                    <a:lnTo>
                      <a:pt x="182" y="1032"/>
                    </a:lnTo>
                    <a:lnTo>
                      <a:pt x="179" y="1032"/>
                    </a:lnTo>
                    <a:lnTo>
                      <a:pt x="177" y="1032"/>
                    </a:lnTo>
                    <a:lnTo>
                      <a:pt x="174" y="1037"/>
                    </a:lnTo>
                    <a:lnTo>
                      <a:pt x="174" y="1037"/>
                    </a:lnTo>
                    <a:lnTo>
                      <a:pt x="172" y="1037"/>
                    </a:lnTo>
                    <a:lnTo>
                      <a:pt x="172" y="1037"/>
                    </a:lnTo>
                    <a:lnTo>
                      <a:pt x="170" y="1037"/>
                    </a:lnTo>
                    <a:lnTo>
                      <a:pt x="167" y="1040"/>
                    </a:lnTo>
                    <a:lnTo>
                      <a:pt x="167" y="1040"/>
                    </a:lnTo>
                    <a:lnTo>
                      <a:pt x="167" y="1040"/>
                    </a:lnTo>
                    <a:lnTo>
                      <a:pt x="167" y="1040"/>
                    </a:lnTo>
                    <a:lnTo>
                      <a:pt x="167" y="1047"/>
                    </a:lnTo>
                    <a:lnTo>
                      <a:pt x="167" y="1049"/>
                    </a:lnTo>
                    <a:lnTo>
                      <a:pt x="167" y="1049"/>
                    </a:lnTo>
                    <a:lnTo>
                      <a:pt x="165" y="1049"/>
                    </a:lnTo>
                    <a:lnTo>
                      <a:pt x="163" y="1049"/>
                    </a:lnTo>
                    <a:lnTo>
                      <a:pt x="160" y="1049"/>
                    </a:lnTo>
                    <a:lnTo>
                      <a:pt x="158" y="1051"/>
                    </a:lnTo>
                    <a:lnTo>
                      <a:pt x="156" y="1051"/>
                    </a:lnTo>
                    <a:lnTo>
                      <a:pt x="156" y="1054"/>
                    </a:lnTo>
                    <a:lnTo>
                      <a:pt x="156" y="1056"/>
                    </a:lnTo>
                    <a:lnTo>
                      <a:pt x="153" y="1056"/>
                    </a:lnTo>
                    <a:lnTo>
                      <a:pt x="153" y="1056"/>
                    </a:lnTo>
                    <a:lnTo>
                      <a:pt x="148" y="1061"/>
                    </a:lnTo>
                    <a:lnTo>
                      <a:pt x="148" y="1063"/>
                    </a:lnTo>
                    <a:lnTo>
                      <a:pt x="148" y="1063"/>
                    </a:lnTo>
                    <a:lnTo>
                      <a:pt x="148" y="1066"/>
                    </a:lnTo>
                    <a:lnTo>
                      <a:pt x="144" y="1068"/>
                    </a:lnTo>
                    <a:lnTo>
                      <a:pt x="144" y="1066"/>
                    </a:lnTo>
                    <a:lnTo>
                      <a:pt x="144" y="1066"/>
                    </a:lnTo>
                    <a:lnTo>
                      <a:pt x="139" y="1068"/>
                    </a:lnTo>
                    <a:lnTo>
                      <a:pt x="139" y="1068"/>
                    </a:lnTo>
                    <a:lnTo>
                      <a:pt x="137" y="1068"/>
                    </a:lnTo>
                    <a:lnTo>
                      <a:pt x="137" y="1068"/>
                    </a:lnTo>
                    <a:lnTo>
                      <a:pt x="134" y="1073"/>
                    </a:lnTo>
                    <a:lnTo>
                      <a:pt x="130" y="1068"/>
                    </a:lnTo>
                    <a:lnTo>
                      <a:pt x="130" y="1066"/>
                    </a:lnTo>
                    <a:lnTo>
                      <a:pt x="127" y="1066"/>
                    </a:lnTo>
                    <a:lnTo>
                      <a:pt x="125" y="1066"/>
                    </a:lnTo>
                    <a:lnTo>
                      <a:pt x="125" y="1066"/>
                    </a:lnTo>
                    <a:lnTo>
                      <a:pt x="122" y="1066"/>
                    </a:lnTo>
                    <a:lnTo>
                      <a:pt x="120" y="1063"/>
                    </a:lnTo>
                    <a:lnTo>
                      <a:pt x="120" y="1063"/>
                    </a:lnTo>
                    <a:lnTo>
                      <a:pt x="118" y="1061"/>
                    </a:lnTo>
                    <a:lnTo>
                      <a:pt x="118" y="1061"/>
                    </a:lnTo>
                    <a:lnTo>
                      <a:pt x="115" y="1058"/>
                    </a:lnTo>
                    <a:lnTo>
                      <a:pt x="115" y="1058"/>
                    </a:lnTo>
                    <a:lnTo>
                      <a:pt x="111" y="1061"/>
                    </a:lnTo>
                    <a:lnTo>
                      <a:pt x="111" y="1058"/>
                    </a:lnTo>
                    <a:lnTo>
                      <a:pt x="108" y="1058"/>
                    </a:lnTo>
                    <a:lnTo>
                      <a:pt x="106" y="1058"/>
                    </a:lnTo>
                    <a:lnTo>
                      <a:pt x="99" y="1058"/>
                    </a:lnTo>
                    <a:lnTo>
                      <a:pt x="99" y="1058"/>
                    </a:lnTo>
                    <a:lnTo>
                      <a:pt x="99" y="1058"/>
                    </a:lnTo>
                    <a:lnTo>
                      <a:pt x="96" y="1056"/>
                    </a:lnTo>
                    <a:lnTo>
                      <a:pt x="94" y="1056"/>
                    </a:lnTo>
                    <a:lnTo>
                      <a:pt x="92" y="1056"/>
                    </a:lnTo>
                    <a:lnTo>
                      <a:pt x="92" y="1051"/>
                    </a:lnTo>
                    <a:lnTo>
                      <a:pt x="92" y="1051"/>
                    </a:lnTo>
                    <a:lnTo>
                      <a:pt x="89" y="1049"/>
                    </a:lnTo>
                    <a:lnTo>
                      <a:pt x="85" y="1049"/>
                    </a:lnTo>
                    <a:lnTo>
                      <a:pt x="80" y="1047"/>
                    </a:lnTo>
                    <a:lnTo>
                      <a:pt x="78" y="1037"/>
                    </a:lnTo>
                    <a:lnTo>
                      <a:pt x="78" y="1037"/>
                    </a:lnTo>
                    <a:lnTo>
                      <a:pt x="78" y="1037"/>
                    </a:lnTo>
                    <a:lnTo>
                      <a:pt x="75" y="1035"/>
                    </a:lnTo>
                    <a:lnTo>
                      <a:pt x="75" y="1035"/>
                    </a:lnTo>
                    <a:lnTo>
                      <a:pt x="73" y="1032"/>
                    </a:lnTo>
                    <a:lnTo>
                      <a:pt x="73" y="1032"/>
                    </a:lnTo>
                    <a:lnTo>
                      <a:pt x="70" y="1032"/>
                    </a:lnTo>
                    <a:lnTo>
                      <a:pt x="70" y="1032"/>
                    </a:lnTo>
                    <a:lnTo>
                      <a:pt x="70" y="1030"/>
                    </a:lnTo>
                    <a:lnTo>
                      <a:pt x="70" y="1025"/>
                    </a:lnTo>
                    <a:lnTo>
                      <a:pt x="68" y="1023"/>
                    </a:lnTo>
                    <a:lnTo>
                      <a:pt x="70" y="1021"/>
                    </a:lnTo>
                    <a:lnTo>
                      <a:pt x="70" y="1018"/>
                    </a:lnTo>
                    <a:lnTo>
                      <a:pt x="68" y="1016"/>
                    </a:lnTo>
                    <a:lnTo>
                      <a:pt x="70" y="1014"/>
                    </a:lnTo>
                    <a:lnTo>
                      <a:pt x="73" y="1011"/>
                    </a:lnTo>
                    <a:lnTo>
                      <a:pt x="75" y="1009"/>
                    </a:lnTo>
                    <a:lnTo>
                      <a:pt x="75" y="1009"/>
                    </a:lnTo>
                    <a:lnTo>
                      <a:pt x="70" y="1004"/>
                    </a:lnTo>
                    <a:lnTo>
                      <a:pt x="70" y="1002"/>
                    </a:lnTo>
                    <a:lnTo>
                      <a:pt x="70" y="999"/>
                    </a:lnTo>
                    <a:lnTo>
                      <a:pt x="70" y="997"/>
                    </a:lnTo>
                    <a:lnTo>
                      <a:pt x="66" y="995"/>
                    </a:lnTo>
                    <a:lnTo>
                      <a:pt x="66" y="990"/>
                    </a:lnTo>
                    <a:lnTo>
                      <a:pt x="63" y="990"/>
                    </a:lnTo>
                    <a:lnTo>
                      <a:pt x="63" y="990"/>
                    </a:lnTo>
                    <a:lnTo>
                      <a:pt x="61" y="988"/>
                    </a:lnTo>
                    <a:lnTo>
                      <a:pt x="59" y="985"/>
                    </a:lnTo>
                    <a:lnTo>
                      <a:pt x="59" y="983"/>
                    </a:lnTo>
                    <a:lnTo>
                      <a:pt x="59" y="981"/>
                    </a:lnTo>
                    <a:lnTo>
                      <a:pt x="54" y="978"/>
                    </a:lnTo>
                    <a:lnTo>
                      <a:pt x="54" y="976"/>
                    </a:lnTo>
                    <a:lnTo>
                      <a:pt x="54" y="973"/>
                    </a:lnTo>
                    <a:lnTo>
                      <a:pt x="54" y="971"/>
                    </a:lnTo>
                    <a:lnTo>
                      <a:pt x="54" y="969"/>
                    </a:lnTo>
                    <a:lnTo>
                      <a:pt x="52" y="966"/>
                    </a:lnTo>
                    <a:lnTo>
                      <a:pt x="49" y="964"/>
                    </a:lnTo>
                    <a:lnTo>
                      <a:pt x="49" y="964"/>
                    </a:lnTo>
                    <a:lnTo>
                      <a:pt x="44" y="966"/>
                    </a:lnTo>
                    <a:lnTo>
                      <a:pt x="42" y="966"/>
                    </a:lnTo>
                    <a:lnTo>
                      <a:pt x="40" y="969"/>
                    </a:lnTo>
                    <a:lnTo>
                      <a:pt x="37" y="971"/>
                    </a:lnTo>
                    <a:lnTo>
                      <a:pt x="35" y="971"/>
                    </a:lnTo>
                    <a:lnTo>
                      <a:pt x="35" y="971"/>
                    </a:lnTo>
                    <a:lnTo>
                      <a:pt x="33" y="971"/>
                    </a:lnTo>
                    <a:lnTo>
                      <a:pt x="33" y="973"/>
                    </a:lnTo>
                    <a:lnTo>
                      <a:pt x="33" y="973"/>
                    </a:lnTo>
                    <a:lnTo>
                      <a:pt x="33" y="976"/>
                    </a:lnTo>
                    <a:lnTo>
                      <a:pt x="33" y="981"/>
                    </a:lnTo>
                    <a:lnTo>
                      <a:pt x="30" y="981"/>
                    </a:lnTo>
                    <a:lnTo>
                      <a:pt x="26" y="985"/>
                    </a:lnTo>
                    <a:lnTo>
                      <a:pt x="19" y="983"/>
                    </a:lnTo>
                    <a:lnTo>
                      <a:pt x="14" y="981"/>
                    </a:lnTo>
                    <a:lnTo>
                      <a:pt x="7" y="983"/>
                    </a:lnTo>
                    <a:lnTo>
                      <a:pt x="4" y="983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8" name="Freeform 30"/>
              <p:cNvSpPr>
                <a:spLocks/>
              </p:cNvSpPr>
              <p:nvPr/>
            </p:nvSpPr>
            <p:spPr bwMode="auto">
              <a:xfrm>
                <a:off x="6497713" y="2506465"/>
                <a:ext cx="486663" cy="298586"/>
              </a:xfrm>
              <a:custGeom>
                <a:avLst/>
                <a:gdLst/>
                <a:ahLst/>
                <a:cxnLst>
                  <a:cxn ang="0">
                    <a:pos x="9" y="177"/>
                  </a:cxn>
                  <a:cxn ang="0">
                    <a:pos x="23" y="159"/>
                  </a:cxn>
                  <a:cxn ang="0">
                    <a:pos x="35" y="163"/>
                  </a:cxn>
                  <a:cxn ang="0">
                    <a:pos x="52" y="147"/>
                  </a:cxn>
                  <a:cxn ang="0">
                    <a:pos x="66" y="121"/>
                  </a:cxn>
                  <a:cxn ang="0">
                    <a:pos x="71" y="99"/>
                  </a:cxn>
                  <a:cxn ang="0">
                    <a:pos x="87" y="81"/>
                  </a:cxn>
                  <a:cxn ang="0">
                    <a:pos x="99" y="59"/>
                  </a:cxn>
                  <a:cxn ang="0">
                    <a:pos x="108" y="31"/>
                  </a:cxn>
                  <a:cxn ang="0">
                    <a:pos x="170" y="3"/>
                  </a:cxn>
                  <a:cxn ang="0">
                    <a:pos x="196" y="17"/>
                  </a:cxn>
                  <a:cxn ang="0">
                    <a:pos x="227" y="26"/>
                  </a:cxn>
                  <a:cxn ang="0">
                    <a:pos x="248" y="33"/>
                  </a:cxn>
                  <a:cxn ang="0">
                    <a:pos x="276" y="31"/>
                  </a:cxn>
                  <a:cxn ang="0">
                    <a:pos x="314" y="31"/>
                  </a:cxn>
                  <a:cxn ang="0">
                    <a:pos x="352" y="31"/>
                  </a:cxn>
                  <a:cxn ang="0">
                    <a:pos x="375" y="36"/>
                  </a:cxn>
                  <a:cxn ang="0">
                    <a:pos x="406" y="59"/>
                  </a:cxn>
                  <a:cxn ang="0">
                    <a:pos x="420" y="85"/>
                  </a:cxn>
                  <a:cxn ang="0">
                    <a:pos x="425" y="104"/>
                  </a:cxn>
                  <a:cxn ang="0">
                    <a:pos x="430" y="125"/>
                  </a:cxn>
                  <a:cxn ang="0">
                    <a:pos x="437" y="149"/>
                  </a:cxn>
                  <a:cxn ang="0">
                    <a:pos x="442" y="177"/>
                  </a:cxn>
                  <a:cxn ang="0">
                    <a:pos x="449" y="194"/>
                  </a:cxn>
                  <a:cxn ang="0">
                    <a:pos x="458" y="215"/>
                  </a:cxn>
                  <a:cxn ang="0">
                    <a:pos x="439" y="220"/>
                  </a:cxn>
                  <a:cxn ang="0">
                    <a:pos x="420" y="222"/>
                  </a:cxn>
                  <a:cxn ang="0">
                    <a:pos x="394" y="215"/>
                  </a:cxn>
                  <a:cxn ang="0">
                    <a:pos x="385" y="215"/>
                  </a:cxn>
                  <a:cxn ang="0">
                    <a:pos x="373" y="213"/>
                  </a:cxn>
                  <a:cxn ang="0">
                    <a:pos x="345" y="215"/>
                  </a:cxn>
                  <a:cxn ang="0">
                    <a:pos x="319" y="206"/>
                  </a:cxn>
                  <a:cxn ang="0">
                    <a:pos x="300" y="210"/>
                  </a:cxn>
                  <a:cxn ang="0">
                    <a:pos x="290" y="192"/>
                  </a:cxn>
                  <a:cxn ang="0">
                    <a:pos x="260" y="213"/>
                  </a:cxn>
                  <a:cxn ang="0">
                    <a:pos x="271" y="234"/>
                  </a:cxn>
                  <a:cxn ang="0">
                    <a:pos x="257" y="248"/>
                  </a:cxn>
                  <a:cxn ang="0">
                    <a:pos x="255" y="262"/>
                  </a:cxn>
                  <a:cxn ang="0">
                    <a:pos x="234" y="279"/>
                  </a:cxn>
                  <a:cxn ang="0">
                    <a:pos x="208" y="253"/>
                  </a:cxn>
                  <a:cxn ang="0">
                    <a:pos x="196" y="251"/>
                  </a:cxn>
                  <a:cxn ang="0">
                    <a:pos x="165" y="253"/>
                  </a:cxn>
                  <a:cxn ang="0">
                    <a:pos x="139" y="241"/>
                  </a:cxn>
                  <a:cxn ang="0">
                    <a:pos x="144" y="222"/>
                  </a:cxn>
                  <a:cxn ang="0">
                    <a:pos x="153" y="201"/>
                  </a:cxn>
                  <a:cxn ang="0">
                    <a:pos x="170" y="182"/>
                  </a:cxn>
                  <a:cxn ang="0">
                    <a:pos x="179" y="166"/>
                  </a:cxn>
                  <a:cxn ang="0">
                    <a:pos x="165" y="161"/>
                  </a:cxn>
                  <a:cxn ang="0">
                    <a:pos x="142" y="168"/>
                  </a:cxn>
                  <a:cxn ang="0">
                    <a:pos x="125" y="175"/>
                  </a:cxn>
                  <a:cxn ang="0">
                    <a:pos x="101" y="182"/>
                  </a:cxn>
                  <a:cxn ang="0">
                    <a:pos x="97" y="194"/>
                  </a:cxn>
                  <a:cxn ang="0">
                    <a:pos x="87" y="206"/>
                  </a:cxn>
                  <a:cxn ang="0">
                    <a:pos x="71" y="210"/>
                  </a:cxn>
                  <a:cxn ang="0">
                    <a:pos x="66" y="213"/>
                  </a:cxn>
                  <a:cxn ang="0">
                    <a:pos x="47" y="215"/>
                  </a:cxn>
                  <a:cxn ang="0">
                    <a:pos x="28" y="213"/>
                  </a:cxn>
                  <a:cxn ang="0">
                    <a:pos x="16" y="203"/>
                  </a:cxn>
                  <a:cxn ang="0">
                    <a:pos x="7" y="199"/>
                  </a:cxn>
                  <a:cxn ang="0">
                    <a:pos x="0" y="189"/>
                  </a:cxn>
                </a:cxnLst>
                <a:rect l="0" t="0" r="r" b="b"/>
                <a:pathLst>
                  <a:path w="458" h="281">
                    <a:moveTo>
                      <a:pt x="0" y="189"/>
                    </a:moveTo>
                    <a:lnTo>
                      <a:pt x="0" y="189"/>
                    </a:lnTo>
                    <a:lnTo>
                      <a:pt x="2" y="187"/>
                    </a:lnTo>
                    <a:lnTo>
                      <a:pt x="2" y="187"/>
                    </a:lnTo>
                    <a:lnTo>
                      <a:pt x="5" y="184"/>
                    </a:lnTo>
                    <a:lnTo>
                      <a:pt x="5" y="184"/>
                    </a:lnTo>
                    <a:lnTo>
                      <a:pt x="7" y="184"/>
                    </a:lnTo>
                    <a:lnTo>
                      <a:pt x="7" y="182"/>
                    </a:lnTo>
                    <a:lnTo>
                      <a:pt x="7" y="182"/>
                    </a:lnTo>
                    <a:lnTo>
                      <a:pt x="7" y="182"/>
                    </a:lnTo>
                    <a:lnTo>
                      <a:pt x="7" y="177"/>
                    </a:lnTo>
                    <a:lnTo>
                      <a:pt x="9" y="177"/>
                    </a:lnTo>
                    <a:lnTo>
                      <a:pt x="9" y="175"/>
                    </a:lnTo>
                    <a:lnTo>
                      <a:pt x="14" y="173"/>
                    </a:lnTo>
                    <a:lnTo>
                      <a:pt x="14" y="173"/>
                    </a:lnTo>
                    <a:lnTo>
                      <a:pt x="14" y="170"/>
                    </a:lnTo>
                    <a:lnTo>
                      <a:pt x="14" y="168"/>
                    </a:lnTo>
                    <a:lnTo>
                      <a:pt x="16" y="168"/>
                    </a:lnTo>
                    <a:lnTo>
                      <a:pt x="16" y="166"/>
                    </a:lnTo>
                    <a:lnTo>
                      <a:pt x="16" y="163"/>
                    </a:lnTo>
                    <a:lnTo>
                      <a:pt x="19" y="163"/>
                    </a:lnTo>
                    <a:lnTo>
                      <a:pt x="21" y="161"/>
                    </a:lnTo>
                    <a:lnTo>
                      <a:pt x="21" y="161"/>
                    </a:lnTo>
                    <a:lnTo>
                      <a:pt x="23" y="159"/>
                    </a:lnTo>
                    <a:lnTo>
                      <a:pt x="23" y="161"/>
                    </a:lnTo>
                    <a:lnTo>
                      <a:pt x="23" y="159"/>
                    </a:lnTo>
                    <a:lnTo>
                      <a:pt x="23" y="161"/>
                    </a:lnTo>
                    <a:lnTo>
                      <a:pt x="26" y="161"/>
                    </a:lnTo>
                    <a:lnTo>
                      <a:pt x="26" y="161"/>
                    </a:lnTo>
                    <a:lnTo>
                      <a:pt x="26" y="163"/>
                    </a:lnTo>
                    <a:lnTo>
                      <a:pt x="26" y="166"/>
                    </a:lnTo>
                    <a:lnTo>
                      <a:pt x="31" y="163"/>
                    </a:lnTo>
                    <a:lnTo>
                      <a:pt x="31" y="161"/>
                    </a:lnTo>
                    <a:lnTo>
                      <a:pt x="31" y="163"/>
                    </a:lnTo>
                    <a:lnTo>
                      <a:pt x="33" y="163"/>
                    </a:lnTo>
                    <a:lnTo>
                      <a:pt x="35" y="163"/>
                    </a:lnTo>
                    <a:lnTo>
                      <a:pt x="35" y="161"/>
                    </a:lnTo>
                    <a:lnTo>
                      <a:pt x="38" y="161"/>
                    </a:lnTo>
                    <a:lnTo>
                      <a:pt x="38" y="161"/>
                    </a:lnTo>
                    <a:lnTo>
                      <a:pt x="40" y="159"/>
                    </a:lnTo>
                    <a:lnTo>
                      <a:pt x="40" y="159"/>
                    </a:lnTo>
                    <a:lnTo>
                      <a:pt x="42" y="159"/>
                    </a:lnTo>
                    <a:lnTo>
                      <a:pt x="42" y="154"/>
                    </a:lnTo>
                    <a:lnTo>
                      <a:pt x="42" y="151"/>
                    </a:lnTo>
                    <a:lnTo>
                      <a:pt x="47" y="149"/>
                    </a:lnTo>
                    <a:lnTo>
                      <a:pt x="49" y="147"/>
                    </a:lnTo>
                    <a:lnTo>
                      <a:pt x="49" y="147"/>
                    </a:lnTo>
                    <a:lnTo>
                      <a:pt x="52" y="147"/>
                    </a:lnTo>
                    <a:lnTo>
                      <a:pt x="52" y="147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4" y="142"/>
                    </a:lnTo>
                    <a:lnTo>
                      <a:pt x="54" y="140"/>
                    </a:lnTo>
                    <a:lnTo>
                      <a:pt x="56" y="137"/>
                    </a:lnTo>
                    <a:lnTo>
                      <a:pt x="59" y="133"/>
                    </a:lnTo>
                    <a:lnTo>
                      <a:pt x="59" y="130"/>
                    </a:lnTo>
                    <a:lnTo>
                      <a:pt x="59" y="130"/>
                    </a:lnTo>
                    <a:lnTo>
                      <a:pt x="59" y="128"/>
                    </a:lnTo>
                    <a:lnTo>
                      <a:pt x="64" y="123"/>
                    </a:lnTo>
                    <a:lnTo>
                      <a:pt x="66" y="121"/>
                    </a:lnTo>
                    <a:lnTo>
                      <a:pt x="68" y="118"/>
                    </a:lnTo>
                    <a:lnTo>
                      <a:pt x="66" y="118"/>
                    </a:lnTo>
                    <a:lnTo>
                      <a:pt x="66" y="116"/>
                    </a:lnTo>
                    <a:lnTo>
                      <a:pt x="64" y="116"/>
                    </a:lnTo>
                    <a:lnTo>
                      <a:pt x="61" y="118"/>
                    </a:lnTo>
                    <a:lnTo>
                      <a:pt x="61" y="116"/>
                    </a:lnTo>
                    <a:lnTo>
                      <a:pt x="64" y="114"/>
                    </a:lnTo>
                    <a:lnTo>
                      <a:pt x="64" y="109"/>
                    </a:lnTo>
                    <a:lnTo>
                      <a:pt x="64" y="109"/>
                    </a:lnTo>
                    <a:lnTo>
                      <a:pt x="66" y="107"/>
                    </a:lnTo>
                    <a:lnTo>
                      <a:pt x="68" y="104"/>
                    </a:lnTo>
                    <a:lnTo>
                      <a:pt x="71" y="99"/>
                    </a:lnTo>
                    <a:lnTo>
                      <a:pt x="73" y="99"/>
                    </a:lnTo>
                    <a:lnTo>
                      <a:pt x="73" y="97"/>
                    </a:lnTo>
                    <a:lnTo>
                      <a:pt x="73" y="95"/>
                    </a:lnTo>
                    <a:lnTo>
                      <a:pt x="73" y="95"/>
                    </a:lnTo>
                    <a:lnTo>
                      <a:pt x="78" y="92"/>
                    </a:lnTo>
                    <a:lnTo>
                      <a:pt x="80" y="92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5" y="88"/>
                    </a:lnTo>
                    <a:lnTo>
                      <a:pt x="87" y="85"/>
                    </a:lnTo>
                    <a:lnTo>
                      <a:pt x="87" y="85"/>
                    </a:lnTo>
                    <a:lnTo>
                      <a:pt x="87" y="81"/>
                    </a:lnTo>
                    <a:lnTo>
                      <a:pt x="87" y="81"/>
                    </a:lnTo>
                    <a:lnTo>
                      <a:pt x="87" y="78"/>
                    </a:lnTo>
                    <a:lnTo>
                      <a:pt x="90" y="76"/>
                    </a:lnTo>
                    <a:lnTo>
                      <a:pt x="92" y="73"/>
                    </a:lnTo>
                    <a:lnTo>
                      <a:pt x="90" y="71"/>
                    </a:lnTo>
                    <a:lnTo>
                      <a:pt x="92" y="69"/>
                    </a:lnTo>
                    <a:lnTo>
                      <a:pt x="92" y="69"/>
                    </a:lnTo>
                    <a:lnTo>
                      <a:pt x="92" y="66"/>
                    </a:lnTo>
                    <a:lnTo>
                      <a:pt x="94" y="66"/>
                    </a:lnTo>
                    <a:lnTo>
                      <a:pt x="97" y="64"/>
                    </a:lnTo>
                    <a:lnTo>
                      <a:pt x="99" y="62"/>
                    </a:lnTo>
                    <a:lnTo>
                      <a:pt x="99" y="59"/>
                    </a:lnTo>
                    <a:lnTo>
                      <a:pt x="101" y="59"/>
                    </a:lnTo>
                    <a:lnTo>
                      <a:pt x="101" y="59"/>
                    </a:lnTo>
                    <a:lnTo>
                      <a:pt x="99" y="57"/>
                    </a:lnTo>
                    <a:lnTo>
                      <a:pt x="99" y="57"/>
                    </a:lnTo>
                    <a:lnTo>
                      <a:pt x="101" y="55"/>
                    </a:lnTo>
                    <a:lnTo>
                      <a:pt x="101" y="52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101" y="47"/>
                    </a:lnTo>
                    <a:lnTo>
                      <a:pt x="104" y="40"/>
                    </a:lnTo>
                    <a:lnTo>
                      <a:pt x="106" y="36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13" y="29"/>
                    </a:lnTo>
                    <a:lnTo>
                      <a:pt x="116" y="22"/>
                    </a:lnTo>
                    <a:lnTo>
                      <a:pt x="118" y="17"/>
                    </a:lnTo>
                    <a:lnTo>
                      <a:pt x="118" y="12"/>
                    </a:lnTo>
                    <a:lnTo>
                      <a:pt x="142" y="7"/>
                    </a:lnTo>
                    <a:lnTo>
                      <a:pt x="144" y="7"/>
                    </a:lnTo>
                    <a:lnTo>
                      <a:pt x="156" y="3"/>
                    </a:lnTo>
                    <a:lnTo>
                      <a:pt x="168" y="0"/>
                    </a:lnTo>
                    <a:lnTo>
                      <a:pt x="168" y="0"/>
                    </a:lnTo>
                    <a:lnTo>
                      <a:pt x="170" y="3"/>
                    </a:lnTo>
                    <a:lnTo>
                      <a:pt x="172" y="7"/>
                    </a:lnTo>
                    <a:lnTo>
                      <a:pt x="172" y="7"/>
                    </a:lnTo>
                    <a:lnTo>
                      <a:pt x="177" y="12"/>
                    </a:lnTo>
                    <a:lnTo>
                      <a:pt x="179" y="12"/>
                    </a:lnTo>
                    <a:lnTo>
                      <a:pt x="179" y="12"/>
                    </a:lnTo>
                    <a:lnTo>
                      <a:pt x="182" y="14"/>
                    </a:lnTo>
                    <a:lnTo>
                      <a:pt x="184" y="12"/>
                    </a:lnTo>
                    <a:lnTo>
                      <a:pt x="186" y="12"/>
                    </a:lnTo>
                    <a:lnTo>
                      <a:pt x="189" y="12"/>
                    </a:lnTo>
                    <a:lnTo>
                      <a:pt x="189" y="12"/>
                    </a:lnTo>
                    <a:lnTo>
                      <a:pt x="194" y="14"/>
                    </a:lnTo>
                    <a:lnTo>
                      <a:pt x="196" y="17"/>
                    </a:lnTo>
                    <a:lnTo>
                      <a:pt x="196" y="14"/>
                    </a:lnTo>
                    <a:lnTo>
                      <a:pt x="201" y="12"/>
                    </a:lnTo>
                    <a:lnTo>
                      <a:pt x="203" y="12"/>
                    </a:lnTo>
                    <a:lnTo>
                      <a:pt x="203" y="12"/>
                    </a:lnTo>
                    <a:lnTo>
                      <a:pt x="205" y="12"/>
                    </a:lnTo>
                    <a:lnTo>
                      <a:pt x="205" y="12"/>
                    </a:lnTo>
                    <a:lnTo>
                      <a:pt x="210" y="14"/>
                    </a:lnTo>
                    <a:lnTo>
                      <a:pt x="212" y="17"/>
                    </a:lnTo>
                    <a:lnTo>
                      <a:pt x="215" y="17"/>
                    </a:lnTo>
                    <a:lnTo>
                      <a:pt x="217" y="19"/>
                    </a:lnTo>
                    <a:lnTo>
                      <a:pt x="219" y="22"/>
                    </a:lnTo>
                    <a:lnTo>
                      <a:pt x="227" y="26"/>
                    </a:lnTo>
                    <a:lnTo>
                      <a:pt x="229" y="29"/>
                    </a:lnTo>
                    <a:lnTo>
                      <a:pt x="234" y="31"/>
                    </a:lnTo>
                    <a:lnTo>
                      <a:pt x="234" y="29"/>
                    </a:lnTo>
                    <a:lnTo>
                      <a:pt x="234" y="31"/>
                    </a:lnTo>
                    <a:lnTo>
                      <a:pt x="236" y="31"/>
                    </a:lnTo>
                    <a:lnTo>
                      <a:pt x="236" y="31"/>
                    </a:lnTo>
                    <a:lnTo>
                      <a:pt x="236" y="31"/>
                    </a:lnTo>
                    <a:lnTo>
                      <a:pt x="238" y="31"/>
                    </a:lnTo>
                    <a:lnTo>
                      <a:pt x="238" y="33"/>
                    </a:lnTo>
                    <a:lnTo>
                      <a:pt x="238" y="33"/>
                    </a:lnTo>
                    <a:lnTo>
                      <a:pt x="243" y="33"/>
                    </a:lnTo>
                    <a:lnTo>
                      <a:pt x="248" y="33"/>
                    </a:lnTo>
                    <a:lnTo>
                      <a:pt x="248" y="31"/>
                    </a:lnTo>
                    <a:lnTo>
                      <a:pt x="250" y="33"/>
                    </a:lnTo>
                    <a:lnTo>
                      <a:pt x="250" y="31"/>
                    </a:lnTo>
                    <a:lnTo>
                      <a:pt x="253" y="31"/>
                    </a:lnTo>
                    <a:lnTo>
                      <a:pt x="253" y="31"/>
                    </a:lnTo>
                    <a:lnTo>
                      <a:pt x="255" y="33"/>
                    </a:lnTo>
                    <a:lnTo>
                      <a:pt x="257" y="31"/>
                    </a:lnTo>
                    <a:lnTo>
                      <a:pt x="260" y="31"/>
                    </a:lnTo>
                    <a:lnTo>
                      <a:pt x="262" y="31"/>
                    </a:lnTo>
                    <a:lnTo>
                      <a:pt x="264" y="31"/>
                    </a:lnTo>
                    <a:lnTo>
                      <a:pt x="271" y="31"/>
                    </a:lnTo>
                    <a:lnTo>
                      <a:pt x="276" y="31"/>
                    </a:lnTo>
                    <a:lnTo>
                      <a:pt x="281" y="33"/>
                    </a:lnTo>
                    <a:lnTo>
                      <a:pt x="283" y="33"/>
                    </a:lnTo>
                    <a:lnTo>
                      <a:pt x="283" y="33"/>
                    </a:lnTo>
                    <a:lnTo>
                      <a:pt x="286" y="33"/>
                    </a:lnTo>
                    <a:lnTo>
                      <a:pt x="288" y="36"/>
                    </a:lnTo>
                    <a:lnTo>
                      <a:pt x="288" y="36"/>
                    </a:lnTo>
                    <a:lnTo>
                      <a:pt x="290" y="33"/>
                    </a:lnTo>
                    <a:lnTo>
                      <a:pt x="293" y="33"/>
                    </a:lnTo>
                    <a:lnTo>
                      <a:pt x="297" y="36"/>
                    </a:lnTo>
                    <a:lnTo>
                      <a:pt x="307" y="36"/>
                    </a:lnTo>
                    <a:lnTo>
                      <a:pt x="312" y="33"/>
                    </a:lnTo>
                    <a:lnTo>
                      <a:pt x="314" y="31"/>
                    </a:lnTo>
                    <a:lnTo>
                      <a:pt x="316" y="31"/>
                    </a:lnTo>
                    <a:lnTo>
                      <a:pt x="319" y="31"/>
                    </a:lnTo>
                    <a:lnTo>
                      <a:pt x="321" y="29"/>
                    </a:lnTo>
                    <a:lnTo>
                      <a:pt x="326" y="29"/>
                    </a:lnTo>
                    <a:lnTo>
                      <a:pt x="326" y="29"/>
                    </a:lnTo>
                    <a:lnTo>
                      <a:pt x="328" y="29"/>
                    </a:lnTo>
                    <a:lnTo>
                      <a:pt x="333" y="29"/>
                    </a:lnTo>
                    <a:lnTo>
                      <a:pt x="338" y="29"/>
                    </a:lnTo>
                    <a:lnTo>
                      <a:pt x="342" y="31"/>
                    </a:lnTo>
                    <a:lnTo>
                      <a:pt x="345" y="31"/>
                    </a:lnTo>
                    <a:lnTo>
                      <a:pt x="349" y="31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4" y="31"/>
                    </a:lnTo>
                    <a:lnTo>
                      <a:pt x="357" y="33"/>
                    </a:lnTo>
                    <a:lnTo>
                      <a:pt x="357" y="33"/>
                    </a:lnTo>
                    <a:lnTo>
                      <a:pt x="364" y="36"/>
                    </a:lnTo>
                    <a:lnTo>
                      <a:pt x="364" y="36"/>
                    </a:lnTo>
                    <a:lnTo>
                      <a:pt x="366" y="36"/>
                    </a:lnTo>
                    <a:lnTo>
                      <a:pt x="373" y="38"/>
                    </a:lnTo>
                    <a:lnTo>
                      <a:pt x="373" y="38"/>
                    </a:lnTo>
                    <a:lnTo>
                      <a:pt x="373" y="38"/>
                    </a:lnTo>
                    <a:lnTo>
                      <a:pt x="375" y="38"/>
                    </a:lnTo>
                    <a:lnTo>
                      <a:pt x="375" y="36"/>
                    </a:lnTo>
                    <a:lnTo>
                      <a:pt x="382" y="40"/>
                    </a:lnTo>
                    <a:lnTo>
                      <a:pt x="385" y="40"/>
                    </a:lnTo>
                    <a:lnTo>
                      <a:pt x="390" y="43"/>
                    </a:lnTo>
                    <a:lnTo>
                      <a:pt x="392" y="43"/>
                    </a:lnTo>
                    <a:lnTo>
                      <a:pt x="394" y="45"/>
                    </a:lnTo>
                    <a:lnTo>
                      <a:pt x="394" y="47"/>
                    </a:lnTo>
                    <a:lnTo>
                      <a:pt x="397" y="47"/>
                    </a:lnTo>
                    <a:lnTo>
                      <a:pt x="401" y="50"/>
                    </a:lnTo>
                    <a:lnTo>
                      <a:pt x="404" y="55"/>
                    </a:lnTo>
                    <a:lnTo>
                      <a:pt x="404" y="57"/>
                    </a:lnTo>
                    <a:lnTo>
                      <a:pt x="406" y="57"/>
                    </a:lnTo>
                    <a:lnTo>
                      <a:pt x="406" y="59"/>
                    </a:lnTo>
                    <a:lnTo>
                      <a:pt x="408" y="66"/>
                    </a:lnTo>
                    <a:lnTo>
                      <a:pt x="408" y="69"/>
                    </a:lnTo>
                    <a:lnTo>
                      <a:pt x="411" y="71"/>
                    </a:lnTo>
                    <a:lnTo>
                      <a:pt x="413" y="71"/>
                    </a:lnTo>
                    <a:lnTo>
                      <a:pt x="413" y="73"/>
                    </a:lnTo>
                    <a:lnTo>
                      <a:pt x="413" y="76"/>
                    </a:lnTo>
                    <a:lnTo>
                      <a:pt x="416" y="78"/>
                    </a:lnTo>
                    <a:lnTo>
                      <a:pt x="418" y="78"/>
                    </a:lnTo>
                    <a:lnTo>
                      <a:pt x="418" y="83"/>
                    </a:lnTo>
                    <a:lnTo>
                      <a:pt x="418" y="83"/>
                    </a:lnTo>
                    <a:lnTo>
                      <a:pt x="420" y="85"/>
                    </a:lnTo>
                    <a:lnTo>
                      <a:pt x="420" y="85"/>
                    </a:lnTo>
                    <a:lnTo>
                      <a:pt x="420" y="85"/>
                    </a:lnTo>
                    <a:lnTo>
                      <a:pt x="420" y="88"/>
                    </a:lnTo>
                    <a:lnTo>
                      <a:pt x="420" y="90"/>
                    </a:lnTo>
                    <a:lnTo>
                      <a:pt x="420" y="90"/>
                    </a:lnTo>
                    <a:lnTo>
                      <a:pt x="423" y="90"/>
                    </a:lnTo>
                    <a:lnTo>
                      <a:pt x="423" y="92"/>
                    </a:lnTo>
                    <a:lnTo>
                      <a:pt x="423" y="95"/>
                    </a:lnTo>
                    <a:lnTo>
                      <a:pt x="423" y="97"/>
                    </a:lnTo>
                    <a:lnTo>
                      <a:pt x="425" y="97"/>
                    </a:lnTo>
                    <a:lnTo>
                      <a:pt x="425" y="99"/>
                    </a:lnTo>
                    <a:lnTo>
                      <a:pt x="425" y="102"/>
                    </a:lnTo>
                    <a:lnTo>
                      <a:pt x="425" y="104"/>
                    </a:lnTo>
                    <a:lnTo>
                      <a:pt x="427" y="104"/>
                    </a:lnTo>
                    <a:lnTo>
                      <a:pt x="427" y="109"/>
                    </a:lnTo>
                    <a:lnTo>
                      <a:pt x="427" y="111"/>
                    </a:lnTo>
                    <a:lnTo>
                      <a:pt x="427" y="111"/>
                    </a:lnTo>
                    <a:lnTo>
                      <a:pt x="430" y="111"/>
                    </a:lnTo>
                    <a:lnTo>
                      <a:pt x="430" y="114"/>
                    </a:lnTo>
                    <a:lnTo>
                      <a:pt x="427" y="118"/>
                    </a:lnTo>
                    <a:lnTo>
                      <a:pt x="427" y="121"/>
                    </a:lnTo>
                    <a:lnTo>
                      <a:pt x="430" y="121"/>
                    </a:lnTo>
                    <a:lnTo>
                      <a:pt x="430" y="123"/>
                    </a:lnTo>
                    <a:lnTo>
                      <a:pt x="430" y="125"/>
                    </a:lnTo>
                    <a:lnTo>
                      <a:pt x="430" y="125"/>
                    </a:lnTo>
                    <a:lnTo>
                      <a:pt x="430" y="128"/>
                    </a:lnTo>
                    <a:lnTo>
                      <a:pt x="430" y="135"/>
                    </a:lnTo>
                    <a:lnTo>
                      <a:pt x="432" y="137"/>
                    </a:lnTo>
                    <a:lnTo>
                      <a:pt x="432" y="137"/>
                    </a:lnTo>
                    <a:lnTo>
                      <a:pt x="434" y="137"/>
                    </a:lnTo>
                    <a:lnTo>
                      <a:pt x="434" y="137"/>
                    </a:lnTo>
                    <a:lnTo>
                      <a:pt x="434" y="140"/>
                    </a:lnTo>
                    <a:lnTo>
                      <a:pt x="434" y="142"/>
                    </a:lnTo>
                    <a:lnTo>
                      <a:pt x="434" y="142"/>
                    </a:lnTo>
                    <a:lnTo>
                      <a:pt x="434" y="144"/>
                    </a:lnTo>
                    <a:lnTo>
                      <a:pt x="434" y="149"/>
                    </a:lnTo>
                    <a:lnTo>
                      <a:pt x="437" y="149"/>
                    </a:lnTo>
                    <a:lnTo>
                      <a:pt x="439" y="151"/>
                    </a:lnTo>
                    <a:lnTo>
                      <a:pt x="439" y="151"/>
                    </a:lnTo>
                    <a:lnTo>
                      <a:pt x="439" y="151"/>
                    </a:lnTo>
                    <a:lnTo>
                      <a:pt x="439" y="154"/>
                    </a:lnTo>
                    <a:lnTo>
                      <a:pt x="439" y="156"/>
                    </a:lnTo>
                    <a:lnTo>
                      <a:pt x="439" y="159"/>
                    </a:lnTo>
                    <a:lnTo>
                      <a:pt x="439" y="161"/>
                    </a:lnTo>
                    <a:lnTo>
                      <a:pt x="442" y="161"/>
                    </a:lnTo>
                    <a:lnTo>
                      <a:pt x="442" y="163"/>
                    </a:lnTo>
                    <a:lnTo>
                      <a:pt x="442" y="170"/>
                    </a:lnTo>
                    <a:lnTo>
                      <a:pt x="442" y="170"/>
                    </a:lnTo>
                    <a:lnTo>
                      <a:pt x="442" y="177"/>
                    </a:lnTo>
                    <a:lnTo>
                      <a:pt x="442" y="175"/>
                    </a:lnTo>
                    <a:lnTo>
                      <a:pt x="444" y="177"/>
                    </a:lnTo>
                    <a:lnTo>
                      <a:pt x="444" y="177"/>
                    </a:lnTo>
                    <a:lnTo>
                      <a:pt x="444" y="180"/>
                    </a:lnTo>
                    <a:lnTo>
                      <a:pt x="444" y="182"/>
                    </a:lnTo>
                    <a:lnTo>
                      <a:pt x="446" y="182"/>
                    </a:lnTo>
                    <a:lnTo>
                      <a:pt x="446" y="182"/>
                    </a:lnTo>
                    <a:lnTo>
                      <a:pt x="449" y="182"/>
                    </a:lnTo>
                    <a:lnTo>
                      <a:pt x="449" y="184"/>
                    </a:lnTo>
                    <a:lnTo>
                      <a:pt x="449" y="192"/>
                    </a:lnTo>
                    <a:lnTo>
                      <a:pt x="449" y="194"/>
                    </a:lnTo>
                    <a:lnTo>
                      <a:pt x="449" y="194"/>
                    </a:lnTo>
                    <a:lnTo>
                      <a:pt x="449" y="196"/>
                    </a:lnTo>
                    <a:lnTo>
                      <a:pt x="451" y="201"/>
                    </a:lnTo>
                    <a:lnTo>
                      <a:pt x="451" y="201"/>
                    </a:lnTo>
                    <a:lnTo>
                      <a:pt x="453" y="201"/>
                    </a:lnTo>
                    <a:lnTo>
                      <a:pt x="453" y="201"/>
                    </a:lnTo>
                    <a:lnTo>
                      <a:pt x="453" y="201"/>
                    </a:lnTo>
                    <a:lnTo>
                      <a:pt x="456" y="201"/>
                    </a:lnTo>
                    <a:lnTo>
                      <a:pt x="456" y="206"/>
                    </a:lnTo>
                    <a:lnTo>
                      <a:pt x="458" y="210"/>
                    </a:lnTo>
                    <a:lnTo>
                      <a:pt x="458" y="213"/>
                    </a:lnTo>
                    <a:lnTo>
                      <a:pt x="458" y="215"/>
                    </a:lnTo>
                    <a:lnTo>
                      <a:pt x="458" y="215"/>
                    </a:lnTo>
                    <a:lnTo>
                      <a:pt x="456" y="218"/>
                    </a:lnTo>
                    <a:lnTo>
                      <a:pt x="456" y="218"/>
                    </a:lnTo>
                    <a:lnTo>
                      <a:pt x="453" y="220"/>
                    </a:lnTo>
                    <a:lnTo>
                      <a:pt x="451" y="220"/>
                    </a:lnTo>
                    <a:lnTo>
                      <a:pt x="451" y="220"/>
                    </a:lnTo>
                    <a:lnTo>
                      <a:pt x="449" y="220"/>
                    </a:lnTo>
                    <a:lnTo>
                      <a:pt x="446" y="222"/>
                    </a:lnTo>
                    <a:lnTo>
                      <a:pt x="446" y="222"/>
                    </a:lnTo>
                    <a:lnTo>
                      <a:pt x="442" y="218"/>
                    </a:lnTo>
                    <a:lnTo>
                      <a:pt x="442" y="218"/>
                    </a:lnTo>
                    <a:lnTo>
                      <a:pt x="439" y="220"/>
                    </a:lnTo>
                    <a:lnTo>
                      <a:pt x="439" y="220"/>
                    </a:lnTo>
                    <a:lnTo>
                      <a:pt x="439" y="222"/>
                    </a:lnTo>
                    <a:lnTo>
                      <a:pt x="437" y="222"/>
                    </a:lnTo>
                    <a:lnTo>
                      <a:pt x="434" y="225"/>
                    </a:lnTo>
                    <a:lnTo>
                      <a:pt x="434" y="225"/>
                    </a:lnTo>
                    <a:lnTo>
                      <a:pt x="432" y="225"/>
                    </a:lnTo>
                    <a:lnTo>
                      <a:pt x="430" y="225"/>
                    </a:lnTo>
                    <a:lnTo>
                      <a:pt x="427" y="225"/>
                    </a:lnTo>
                    <a:lnTo>
                      <a:pt x="427" y="222"/>
                    </a:lnTo>
                    <a:lnTo>
                      <a:pt x="427" y="220"/>
                    </a:lnTo>
                    <a:lnTo>
                      <a:pt x="425" y="220"/>
                    </a:lnTo>
                    <a:lnTo>
                      <a:pt x="425" y="222"/>
                    </a:lnTo>
                    <a:lnTo>
                      <a:pt x="420" y="222"/>
                    </a:lnTo>
                    <a:lnTo>
                      <a:pt x="418" y="225"/>
                    </a:lnTo>
                    <a:lnTo>
                      <a:pt x="411" y="225"/>
                    </a:lnTo>
                    <a:lnTo>
                      <a:pt x="411" y="222"/>
                    </a:lnTo>
                    <a:lnTo>
                      <a:pt x="408" y="220"/>
                    </a:lnTo>
                    <a:lnTo>
                      <a:pt x="406" y="220"/>
                    </a:lnTo>
                    <a:lnTo>
                      <a:pt x="404" y="218"/>
                    </a:lnTo>
                    <a:lnTo>
                      <a:pt x="401" y="218"/>
                    </a:lnTo>
                    <a:lnTo>
                      <a:pt x="399" y="215"/>
                    </a:lnTo>
                    <a:lnTo>
                      <a:pt x="399" y="215"/>
                    </a:lnTo>
                    <a:lnTo>
                      <a:pt x="399" y="215"/>
                    </a:lnTo>
                    <a:lnTo>
                      <a:pt x="397" y="215"/>
                    </a:lnTo>
                    <a:lnTo>
                      <a:pt x="394" y="215"/>
                    </a:lnTo>
                    <a:lnTo>
                      <a:pt x="394" y="215"/>
                    </a:lnTo>
                    <a:lnTo>
                      <a:pt x="394" y="215"/>
                    </a:lnTo>
                    <a:lnTo>
                      <a:pt x="392" y="215"/>
                    </a:lnTo>
                    <a:lnTo>
                      <a:pt x="392" y="215"/>
                    </a:lnTo>
                    <a:lnTo>
                      <a:pt x="392" y="215"/>
                    </a:lnTo>
                    <a:lnTo>
                      <a:pt x="392" y="215"/>
                    </a:lnTo>
                    <a:lnTo>
                      <a:pt x="390" y="215"/>
                    </a:lnTo>
                    <a:lnTo>
                      <a:pt x="390" y="215"/>
                    </a:lnTo>
                    <a:lnTo>
                      <a:pt x="387" y="215"/>
                    </a:lnTo>
                    <a:lnTo>
                      <a:pt x="387" y="215"/>
                    </a:lnTo>
                    <a:lnTo>
                      <a:pt x="387" y="215"/>
                    </a:lnTo>
                    <a:lnTo>
                      <a:pt x="385" y="215"/>
                    </a:lnTo>
                    <a:lnTo>
                      <a:pt x="385" y="215"/>
                    </a:lnTo>
                    <a:lnTo>
                      <a:pt x="385" y="215"/>
                    </a:lnTo>
                    <a:lnTo>
                      <a:pt x="382" y="218"/>
                    </a:lnTo>
                    <a:lnTo>
                      <a:pt x="382" y="218"/>
                    </a:lnTo>
                    <a:lnTo>
                      <a:pt x="382" y="215"/>
                    </a:lnTo>
                    <a:lnTo>
                      <a:pt x="380" y="215"/>
                    </a:lnTo>
                    <a:lnTo>
                      <a:pt x="380" y="215"/>
                    </a:lnTo>
                    <a:lnTo>
                      <a:pt x="380" y="215"/>
                    </a:lnTo>
                    <a:lnTo>
                      <a:pt x="378" y="213"/>
                    </a:lnTo>
                    <a:lnTo>
                      <a:pt x="375" y="213"/>
                    </a:lnTo>
                    <a:lnTo>
                      <a:pt x="375" y="213"/>
                    </a:lnTo>
                    <a:lnTo>
                      <a:pt x="373" y="213"/>
                    </a:lnTo>
                    <a:lnTo>
                      <a:pt x="371" y="210"/>
                    </a:lnTo>
                    <a:lnTo>
                      <a:pt x="371" y="210"/>
                    </a:lnTo>
                    <a:lnTo>
                      <a:pt x="371" y="213"/>
                    </a:lnTo>
                    <a:lnTo>
                      <a:pt x="368" y="213"/>
                    </a:lnTo>
                    <a:lnTo>
                      <a:pt x="366" y="210"/>
                    </a:lnTo>
                    <a:lnTo>
                      <a:pt x="364" y="213"/>
                    </a:lnTo>
                    <a:lnTo>
                      <a:pt x="364" y="215"/>
                    </a:lnTo>
                    <a:lnTo>
                      <a:pt x="364" y="215"/>
                    </a:lnTo>
                    <a:lnTo>
                      <a:pt x="361" y="215"/>
                    </a:lnTo>
                    <a:lnTo>
                      <a:pt x="357" y="215"/>
                    </a:lnTo>
                    <a:lnTo>
                      <a:pt x="354" y="215"/>
                    </a:lnTo>
                    <a:lnTo>
                      <a:pt x="345" y="215"/>
                    </a:lnTo>
                    <a:lnTo>
                      <a:pt x="335" y="218"/>
                    </a:lnTo>
                    <a:lnTo>
                      <a:pt x="331" y="215"/>
                    </a:lnTo>
                    <a:lnTo>
                      <a:pt x="331" y="215"/>
                    </a:lnTo>
                    <a:lnTo>
                      <a:pt x="326" y="215"/>
                    </a:lnTo>
                    <a:lnTo>
                      <a:pt x="326" y="215"/>
                    </a:lnTo>
                    <a:lnTo>
                      <a:pt x="326" y="213"/>
                    </a:lnTo>
                    <a:lnTo>
                      <a:pt x="326" y="213"/>
                    </a:lnTo>
                    <a:lnTo>
                      <a:pt x="321" y="210"/>
                    </a:lnTo>
                    <a:lnTo>
                      <a:pt x="321" y="210"/>
                    </a:lnTo>
                    <a:lnTo>
                      <a:pt x="319" y="206"/>
                    </a:lnTo>
                    <a:lnTo>
                      <a:pt x="319" y="206"/>
                    </a:lnTo>
                    <a:lnTo>
                      <a:pt x="319" y="206"/>
                    </a:lnTo>
                    <a:lnTo>
                      <a:pt x="319" y="206"/>
                    </a:lnTo>
                    <a:lnTo>
                      <a:pt x="316" y="206"/>
                    </a:lnTo>
                    <a:lnTo>
                      <a:pt x="316" y="206"/>
                    </a:lnTo>
                    <a:lnTo>
                      <a:pt x="314" y="208"/>
                    </a:lnTo>
                    <a:lnTo>
                      <a:pt x="314" y="208"/>
                    </a:lnTo>
                    <a:lnTo>
                      <a:pt x="312" y="208"/>
                    </a:lnTo>
                    <a:lnTo>
                      <a:pt x="312" y="208"/>
                    </a:lnTo>
                    <a:lnTo>
                      <a:pt x="309" y="208"/>
                    </a:lnTo>
                    <a:lnTo>
                      <a:pt x="309" y="208"/>
                    </a:lnTo>
                    <a:lnTo>
                      <a:pt x="305" y="210"/>
                    </a:lnTo>
                    <a:lnTo>
                      <a:pt x="300" y="210"/>
                    </a:lnTo>
                    <a:lnTo>
                      <a:pt x="300" y="210"/>
                    </a:lnTo>
                    <a:lnTo>
                      <a:pt x="295" y="210"/>
                    </a:lnTo>
                    <a:lnTo>
                      <a:pt x="295" y="206"/>
                    </a:lnTo>
                    <a:lnTo>
                      <a:pt x="293" y="206"/>
                    </a:lnTo>
                    <a:lnTo>
                      <a:pt x="290" y="203"/>
                    </a:lnTo>
                    <a:lnTo>
                      <a:pt x="290" y="203"/>
                    </a:lnTo>
                    <a:lnTo>
                      <a:pt x="290" y="203"/>
                    </a:lnTo>
                    <a:lnTo>
                      <a:pt x="290" y="201"/>
                    </a:lnTo>
                    <a:lnTo>
                      <a:pt x="290" y="201"/>
                    </a:lnTo>
                    <a:lnTo>
                      <a:pt x="290" y="199"/>
                    </a:lnTo>
                    <a:lnTo>
                      <a:pt x="290" y="194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88" y="189"/>
                    </a:lnTo>
                    <a:lnTo>
                      <a:pt x="283" y="192"/>
                    </a:lnTo>
                    <a:lnTo>
                      <a:pt x="281" y="194"/>
                    </a:lnTo>
                    <a:lnTo>
                      <a:pt x="276" y="192"/>
                    </a:lnTo>
                    <a:lnTo>
                      <a:pt x="271" y="201"/>
                    </a:lnTo>
                    <a:lnTo>
                      <a:pt x="269" y="201"/>
                    </a:lnTo>
                    <a:lnTo>
                      <a:pt x="264" y="199"/>
                    </a:lnTo>
                    <a:lnTo>
                      <a:pt x="262" y="203"/>
                    </a:lnTo>
                    <a:lnTo>
                      <a:pt x="262" y="206"/>
                    </a:lnTo>
                    <a:lnTo>
                      <a:pt x="260" y="210"/>
                    </a:lnTo>
                    <a:lnTo>
                      <a:pt x="260" y="210"/>
                    </a:lnTo>
                    <a:lnTo>
                      <a:pt x="260" y="213"/>
                    </a:lnTo>
                    <a:lnTo>
                      <a:pt x="260" y="215"/>
                    </a:lnTo>
                    <a:lnTo>
                      <a:pt x="260" y="218"/>
                    </a:lnTo>
                    <a:lnTo>
                      <a:pt x="262" y="218"/>
                    </a:lnTo>
                    <a:lnTo>
                      <a:pt x="264" y="220"/>
                    </a:lnTo>
                    <a:lnTo>
                      <a:pt x="264" y="220"/>
                    </a:lnTo>
                    <a:lnTo>
                      <a:pt x="267" y="222"/>
                    </a:lnTo>
                    <a:lnTo>
                      <a:pt x="267" y="225"/>
                    </a:lnTo>
                    <a:lnTo>
                      <a:pt x="269" y="225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71" y="232"/>
                    </a:lnTo>
                    <a:lnTo>
                      <a:pt x="271" y="234"/>
                    </a:lnTo>
                    <a:lnTo>
                      <a:pt x="271" y="234"/>
                    </a:lnTo>
                    <a:lnTo>
                      <a:pt x="269" y="234"/>
                    </a:lnTo>
                    <a:lnTo>
                      <a:pt x="269" y="234"/>
                    </a:lnTo>
                    <a:lnTo>
                      <a:pt x="267" y="232"/>
                    </a:lnTo>
                    <a:lnTo>
                      <a:pt x="262" y="232"/>
                    </a:lnTo>
                    <a:lnTo>
                      <a:pt x="262" y="229"/>
                    </a:lnTo>
                    <a:lnTo>
                      <a:pt x="260" y="232"/>
                    </a:lnTo>
                    <a:lnTo>
                      <a:pt x="262" y="232"/>
                    </a:lnTo>
                    <a:lnTo>
                      <a:pt x="257" y="239"/>
                    </a:lnTo>
                    <a:lnTo>
                      <a:pt x="257" y="244"/>
                    </a:lnTo>
                    <a:lnTo>
                      <a:pt x="255" y="246"/>
                    </a:lnTo>
                    <a:lnTo>
                      <a:pt x="257" y="248"/>
                    </a:lnTo>
                    <a:lnTo>
                      <a:pt x="260" y="248"/>
                    </a:lnTo>
                    <a:lnTo>
                      <a:pt x="260" y="248"/>
                    </a:lnTo>
                    <a:lnTo>
                      <a:pt x="260" y="251"/>
                    </a:lnTo>
                    <a:lnTo>
                      <a:pt x="262" y="251"/>
                    </a:lnTo>
                    <a:lnTo>
                      <a:pt x="262" y="251"/>
                    </a:lnTo>
                    <a:lnTo>
                      <a:pt x="262" y="251"/>
                    </a:lnTo>
                    <a:lnTo>
                      <a:pt x="264" y="255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0" y="260"/>
                    </a:lnTo>
                    <a:lnTo>
                      <a:pt x="257" y="262"/>
                    </a:lnTo>
                    <a:lnTo>
                      <a:pt x="255" y="262"/>
                    </a:lnTo>
                    <a:lnTo>
                      <a:pt x="255" y="265"/>
                    </a:lnTo>
                    <a:lnTo>
                      <a:pt x="255" y="265"/>
                    </a:lnTo>
                    <a:lnTo>
                      <a:pt x="255" y="267"/>
                    </a:lnTo>
                    <a:lnTo>
                      <a:pt x="255" y="267"/>
                    </a:lnTo>
                    <a:lnTo>
                      <a:pt x="250" y="274"/>
                    </a:lnTo>
                    <a:lnTo>
                      <a:pt x="248" y="274"/>
                    </a:lnTo>
                    <a:lnTo>
                      <a:pt x="245" y="274"/>
                    </a:lnTo>
                    <a:lnTo>
                      <a:pt x="243" y="274"/>
                    </a:lnTo>
                    <a:lnTo>
                      <a:pt x="238" y="274"/>
                    </a:lnTo>
                    <a:lnTo>
                      <a:pt x="236" y="281"/>
                    </a:lnTo>
                    <a:lnTo>
                      <a:pt x="236" y="281"/>
                    </a:lnTo>
                    <a:lnTo>
                      <a:pt x="234" y="279"/>
                    </a:lnTo>
                    <a:lnTo>
                      <a:pt x="229" y="274"/>
                    </a:lnTo>
                    <a:lnTo>
                      <a:pt x="231" y="272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4" y="262"/>
                    </a:lnTo>
                    <a:lnTo>
                      <a:pt x="229" y="262"/>
                    </a:lnTo>
                    <a:lnTo>
                      <a:pt x="229" y="255"/>
                    </a:lnTo>
                    <a:lnTo>
                      <a:pt x="219" y="248"/>
                    </a:lnTo>
                    <a:lnTo>
                      <a:pt x="217" y="251"/>
                    </a:lnTo>
                    <a:lnTo>
                      <a:pt x="212" y="251"/>
                    </a:lnTo>
                    <a:lnTo>
                      <a:pt x="210" y="251"/>
                    </a:lnTo>
                    <a:lnTo>
                      <a:pt x="208" y="253"/>
                    </a:lnTo>
                    <a:lnTo>
                      <a:pt x="205" y="255"/>
                    </a:lnTo>
                    <a:lnTo>
                      <a:pt x="205" y="255"/>
                    </a:lnTo>
                    <a:lnTo>
                      <a:pt x="205" y="255"/>
                    </a:lnTo>
                    <a:lnTo>
                      <a:pt x="205" y="255"/>
                    </a:lnTo>
                    <a:lnTo>
                      <a:pt x="205" y="253"/>
                    </a:lnTo>
                    <a:lnTo>
                      <a:pt x="203" y="251"/>
                    </a:lnTo>
                    <a:lnTo>
                      <a:pt x="203" y="251"/>
                    </a:lnTo>
                    <a:lnTo>
                      <a:pt x="203" y="248"/>
                    </a:lnTo>
                    <a:lnTo>
                      <a:pt x="201" y="246"/>
                    </a:lnTo>
                    <a:lnTo>
                      <a:pt x="201" y="246"/>
                    </a:lnTo>
                    <a:lnTo>
                      <a:pt x="196" y="248"/>
                    </a:lnTo>
                    <a:lnTo>
                      <a:pt x="196" y="251"/>
                    </a:lnTo>
                    <a:lnTo>
                      <a:pt x="191" y="251"/>
                    </a:lnTo>
                    <a:lnTo>
                      <a:pt x="191" y="251"/>
                    </a:lnTo>
                    <a:lnTo>
                      <a:pt x="184" y="253"/>
                    </a:lnTo>
                    <a:lnTo>
                      <a:pt x="184" y="253"/>
                    </a:lnTo>
                    <a:lnTo>
                      <a:pt x="182" y="258"/>
                    </a:lnTo>
                    <a:lnTo>
                      <a:pt x="175" y="260"/>
                    </a:lnTo>
                    <a:lnTo>
                      <a:pt x="170" y="260"/>
                    </a:lnTo>
                    <a:lnTo>
                      <a:pt x="168" y="258"/>
                    </a:lnTo>
                    <a:lnTo>
                      <a:pt x="168" y="258"/>
                    </a:lnTo>
                    <a:lnTo>
                      <a:pt x="168" y="255"/>
                    </a:lnTo>
                    <a:lnTo>
                      <a:pt x="168" y="255"/>
                    </a:lnTo>
                    <a:lnTo>
                      <a:pt x="165" y="253"/>
                    </a:lnTo>
                    <a:lnTo>
                      <a:pt x="165" y="251"/>
                    </a:lnTo>
                    <a:lnTo>
                      <a:pt x="165" y="248"/>
                    </a:lnTo>
                    <a:lnTo>
                      <a:pt x="165" y="248"/>
                    </a:lnTo>
                    <a:lnTo>
                      <a:pt x="163" y="246"/>
                    </a:lnTo>
                    <a:lnTo>
                      <a:pt x="163" y="244"/>
                    </a:lnTo>
                    <a:lnTo>
                      <a:pt x="160" y="244"/>
                    </a:lnTo>
                    <a:lnTo>
                      <a:pt x="156" y="244"/>
                    </a:lnTo>
                    <a:lnTo>
                      <a:pt x="151" y="244"/>
                    </a:lnTo>
                    <a:lnTo>
                      <a:pt x="149" y="244"/>
                    </a:lnTo>
                    <a:lnTo>
                      <a:pt x="139" y="246"/>
                    </a:lnTo>
                    <a:lnTo>
                      <a:pt x="142" y="241"/>
                    </a:lnTo>
                    <a:lnTo>
                      <a:pt x="139" y="241"/>
                    </a:lnTo>
                    <a:lnTo>
                      <a:pt x="142" y="239"/>
                    </a:lnTo>
                    <a:lnTo>
                      <a:pt x="139" y="236"/>
                    </a:lnTo>
                    <a:lnTo>
                      <a:pt x="139" y="234"/>
                    </a:lnTo>
                    <a:lnTo>
                      <a:pt x="139" y="232"/>
                    </a:lnTo>
                    <a:lnTo>
                      <a:pt x="139" y="232"/>
                    </a:lnTo>
                    <a:lnTo>
                      <a:pt x="139" y="229"/>
                    </a:lnTo>
                    <a:lnTo>
                      <a:pt x="139" y="227"/>
                    </a:lnTo>
                    <a:lnTo>
                      <a:pt x="139" y="225"/>
                    </a:lnTo>
                    <a:lnTo>
                      <a:pt x="139" y="225"/>
                    </a:lnTo>
                    <a:lnTo>
                      <a:pt x="142" y="222"/>
                    </a:lnTo>
                    <a:lnTo>
                      <a:pt x="142" y="222"/>
                    </a:lnTo>
                    <a:lnTo>
                      <a:pt x="144" y="222"/>
                    </a:lnTo>
                    <a:lnTo>
                      <a:pt x="144" y="222"/>
                    </a:lnTo>
                    <a:lnTo>
                      <a:pt x="146" y="222"/>
                    </a:lnTo>
                    <a:lnTo>
                      <a:pt x="151" y="220"/>
                    </a:lnTo>
                    <a:lnTo>
                      <a:pt x="151" y="213"/>
                    </a:lnTo>
                    <a:lnTo>
                      <a:pt x="151" y="210"/>
                    </a:lnTo>
                    <a:lnTo>
                      <a:pt x="151" y="208"/>
                    </a:lnTo>
                    <a:lnTo>
                      <a:pt x="151" y="206"/>
                    </a:lnTo>
                    <a:lnTo>
                      <a:pt x="151" y="206"/>
                    </a:lnTo>
                    <a:lnTo>
                      <a:pt x="151" y="203"/>
                    </a:lnTo>
                    <a:lnTo>
                      <a:pt x="151" y="203"/>
                    </a:lnTo>
                    <a:lnTo>
                      <a:pt x="151" y="203"/>
                    </a:lnTo>
                    <a:lnTo>
                      <a:pt x="153" y="201"/>
                    </a:lnTo>
                    <a:lnTo>
                      <a:pt x="153" y="196"/>
                    </a:lnTo>
                    <a:lnTo>
                      <a:pt x="153" y="194"/>
                    </a:lnTo>
                    <a:lnTo>
                      <a:pt x="153" y="194"/>
                    </a:lnTo>
                    <a:lnTo>
                      <a:pt x="158" y="194"/>
                    </a:lnTo>
                    <a:lnTo>
                      <a:pt x="158" y="192"/>
                    </a:lnTo>
                    <a:lnTo>
                      <a:pt x="160" y="189"/>
                    </a:lnTo>
                    <a:lnTo>
                      <a:pt x="160" y="189"/>
                    </a:lnTo>
                    <a:lnTo>
                      <a:pt x="163" y="189"/>
                    </a:lnTo>
                    <a:lnTo>
                      <a:pt x="165" y="189"/>
                    </a:lnTo>
                    <a:lnTo>
                      <a:pt x="165" y="184"/>
                    </a:lnTo>
                    <a:lnTo>
                      <a:pt x="168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2" y="180"/>
                    </a:lnTo>
                    <a:lnTo>
                      <a:pt x="175" y="180"/>
                    </a:lnTo>
                    <a:lnTo>
                      <a:pt x="175" y="177"/>
                    </a:lnTo>
                    <a:lnTo>
                      <a:pt x="175" y="177"/>
                    </a:lnTo>
                    <a:lnTo>
                      <a:pt x="179" y="175"/>
                    </a:lnTo>
                    <a:lnTo>
                      <a:pt x="179" y="175"/>
                    </a:lnTo>
                    <a:lnTo>
                      <a:pt x="179" y="173"/>
                    </a:lnTo>
                    <a:lnTo>
                      <a:pt x="179" y="173"/>
                    </a:lnTo>
                    <a:lnTo>
                      <a:pt x="177" y="173"/>
                    </a:lnTo>
                    <a:lnTo>
                      <a:pt x="179" y="168"/>
                    </a:lnTo>
                    <a:lnTo>
                      <a:pt x="179" y="166"/>
                    </a:lnTo>
                    <a:lnTo>
                      <a:pt x="179" y="163"/>
                    </a:lnTo>
                    <a:lnTo>
                      <a:pt x="177" y="159"/>
                    </a:lnTo>
                    <a:lnTo>
                      <a:pt x="179" y="159"/>
                    </a:lnTo>
                    <a:lnTo>
                      <a:pt x="175" y="159"/>
                    </a:lnTo>
                    <a:lnTo>
                      <a:pt x="175" y="159"/>
                    </a:lnTo>
                    <a:lnTo>
                      <a:pt x="172" y="159"/>
                    </a:lnTo>
                    <a:lnTo>
                      <a:pt x="170" y="156"/>
                    </a:lnTo>
                    <a:lnTo>
                      <a:pt x="170" y="156"/>
                    </a:lnTo>
                    <a:lnTo>
                      <a:pt x="168" y="156"/>
                    </a:lnTo>
                    <a:lnTo>
                      <a:pt x="168" y="156"/>
                    </a:lnTo>
                    <a:lnTo>
                      <a:pt x="165" y="159"/>
                    </a:lnTo>
                    <a:lnTo>
                      <a:pt x="165" y="161"/>
                    </a:lnTo>
                    <a:lnTo>
                      <a:pt x="163" y="161"/>
                    </a:lnTo>
                    <a:lnTo>
                      <a:pt x="163" y="159"/>
                    </a:lnTo>
                    <a:lnTo>
                      <a:pt x="160" y="161"/>
                    </a:lnTo>
                    <a:lnTo>
                      <a:pt x="158" y="161"/>
                    </a:lnTo>
                    <a:lnTo>
                      <a:pt x="156" y="163"/>
                    </a:lnTo>
                    <a:lnTo>
                      <a:pt x="153" y="163"/>
                    </a:lnTo>
                    <a:lnTo>
                      <a:pt x="151" y="163"/>
                    </a:lnTo>
                    <a:lnTo>
                      <a:pt x="151" y="168"/>
                    </a:lnTo>
                    <a:lnTo>
                      <a:pt x="149" y="168"/>
                    </a:lnTo>
                    <a:lnTo>
                      <a:pt x="146" y="168"/>
                    </a:lnTo>
                    <a:lnTo>
                      <a:pt x="144" y="168"/>
                    </a:lnTo>
                    <a:lnTo>
                      <a:pt x="142" y="168"/>
                    </a:lnTo>
                    <a:lnTo>
                      <a:pt x="142" y="173"/>
                    </a:lnTo>
                    <a:lnTo>
                      <a:pt x="139" y="173"/>
                    </a:lnTo>
                    <a:lnTo>
                      <a:pt x="137" y="173"/>
                    </a:lnTo>
                    <a:lnTo>
                      <a:pt x="137" y="173"/>
                    </a:lnTo>
                    <a:lnTo>
                      <a:pt x="137" y="173"/>
                    </a:lnTo>
                    <a:lnTo>
                      <a:pt x="134" y="173"/>
                    </a:lnTo>
                    <a:lnTo>
                      <a:pt x="132" y="173"/>
                    </a:lnTo>
                    <a:lnTo>
                      <a:pt x="132" y="175"/>
                    </a:lnTo>
                    <a:lnTo>
                      <a:pt x="130" y="175"/>
                    </a:lnTo>
                    <a:lnTo>
                      <a:pt x="127" y="173"/>
                    </a:lnTo>
                    <a:lnTo>
                      <a:pt x="125" y="175"/>
                    </a:lnTo>
                    <a:lnTo>
                      <a:pt x="125" y="175"/>
                    </a:lnTo>
                    <a:lnTo>
                      <a:pt x="123" y="175"/>
                    </a:lnTo>
                    <a:lnTo>
                      <a:pt x="118" y="175"/>
                    </a:lnTo>
                    <a:lnTo>
                      <a:pt x="118" y="177"/>
                    </a:lnTo>
                    <a:lnTo>
                      <a:pt x="113" y="177"/>
                    </a:lnTo>
                    <a:lnTo>
                      <a:pt x="111" y="177"/>
                    </a:lnTo>
                    <a:lnTo>
                      <a:pt x="111" y="175"/>
                    </a:lnTo>
                    <a:lnTo>
                      <a:pt x="108" y="175"/>
                    </a:lnTo>
                    <a:lnTo>
                      <a:pt x="106" y="177"/>
                    </a:lnTo>
                    <a:lnTo>
                      <a:pt x="104" y="180"/>
                    </a:lnTo>
                    <a:lnTo>
                      <a:pt x="104" y="182"/>
                    </a:lnTo>
                    <a:lnTo>
                      <a:pt x="104" y="182"/>
                    </a:lnTo>
                    <a:lnTo>
                      <a:pt x="101" y="182"/>
                    </a:lnTo>
                    <a:lnTo>
                      <a:pt x="104" y="184"/>
                    </a:lnTo>
                    <a:lnTo>
                      <a:pt x="101" y="184"/>
                    </a:lnTo>
                    <a:lnTo>
                      <a:pt x="104" y="187"/>
                    </a:lnTo>
                    <a:lnTo>
                      <a:pt x="104" y="187"/>
                    </a:lnTo>
                    <a:lnTo>
                      <a:pt x="104" y="189"/>
                    </a:lnTo>
                    <a:lnTo>
                      <a:pt x="104" y="192"/>
                    </a:lnTo>
                    <a:lnTo>
                      <a:pt x="104" y="192"/>
                    </a:lnTo>
                    <a:lnTo>
                      <a:pt x="101" y="192"/>
                    </a:lnTo>
                    <a:lnTo>
                      <a:pt x="99" y="192"/>
                    </a:lnTo>
                    <a:lnTo>
                      <a:pt x="97" y="192"/>
                    </a:lnTo>
                    <a:lnTo>
                      <a:pt x="97" y="194"/>
                    </a:lnTo>
                    <a:lnTo>
                      <a:pt x="97" y="194"/>
                    </a:lnTo>
                    <a:lnTo>
                      <a:pt x="97" y="194"/>
                    </a:lnTo>
                    <a:lnTo>
                      <a:pt x="94" y="194"/>
                    </a:lnTo>
                    <a:lnTo>
                      <a:pt x="92" y="196"/>
                    </a:lnTo>
                    <a:lnTo>
                      <a:pt x="94" y="196"/>
                    </a:lnTo>
                    <a:lnTo>
                      <a:pt x="92" y="199"/>
                    </a:lnTo>
                    <a:lnTo>
                      <a:pt x="92" y="201"/>
                    </a:lnTo>
                    <a:lnTo>
                      <a:pt x="92" y="201"/>
                    </a:lnTo>
                    <a:lnTo>
                      <a:pt x="90" y="201"/>
                    </a:lnTo>
                    <a:lnTo>
                      <a:pt x="87" y="201"/>
                    </a:lnTo>
                    <a:lnTo>
                      <a:pt x="87" y="203"/>
                    </a:lnTo>
                    <a:lnTo>
                      <a:pt x="87" y="203"/>
                    </a:lnTo>
                    <a:lnTo>
                      <a:pt x="87" y="206"/>
                    </a:lnTo>
                    <a:lnTo>
                      <a:pt x="85" y="206"/>
                    </a:lnTo>
                    <a:lnTo>
                      <a:pt x="82" y="206"/>
                    </a:lnTo>
                    <a:lnTo>
                      <a:pt x="82" y="208"/>
                    </a:lnTo>
                    <a:lnTo>
                      <a:pt x="80" y="208"/>
                    </a:lnTo>
                    <a:lnTo>
                      <a:pt x="78" y="206"/>
                    </a:lnTo>
                    <a:lnTo>
                      <a:pt x="78" y="206"/>
                    </a:lnTo>
                    <a:lnTo>
                      <a:pt x="78" y="206"/>
                    </a:lnTo>
                    <a:lnTo>
                      <a:pt x="78" y="208"/>
                    </a:lnTo>
                    <a:lnTo>
                      <a:pt x="75" y="208"/>
                    </a:lnTo>
                    <a:lnTo>
                      <a:pt x="71" y="208"/>
                    </a:lnTo>
                    <a:lnTo>
                      <a:pt x="73" y="210"/>
                    </a:lnTo>
                    <a:lnTo>
                      <a:pt x="71" y="210"/>
                    </a:lnTo>
                    <a:lnTo>
                      <a:pt x="71" y="213"/>
                    </a:lnTo>
                    <a:lnTo>
                      <a:pt x="71" y="213"/>
                    </a:lnTo>
                    <a:lnTo>
                      <a:pt x="71" y="215"/>
                    </a:lnTo>
                    <a:lnTo>
                      <a:pt x="68" y="215"/>
                    </a:lnTo>
                    <a:lnTo>
                      <a:pt x="68" y="215"/>
                    </a:lnTo>
                    <a:lnTo>
                      <a:pt x="68" y="213"/>
                    </a:lnTo>
                    <a:lnTo>
                      <a:pt x="68" y="213"/>
                    </a:lnTo>
                    <a:lnTo>
                      <a:pt x="68" y="210"/>
                    </a:lnTo>
                    <a:lnTo>
                      <a:pt x="66" y="210"/>
                    </a:lnTo>
                    <a:lnTo>
                      <a:pt x="66" y="213"/>
                    </a:lnTo>
                    <a:lnTo>
                      <a:pt x="66" y="213"/>
                    </a:lnTo>
                    <a:lnTo>
                      <a:pt x="66" y="213"/>
                    </a:lnTo>
                    <a:lnTo>
                      <a:pt x="64" y="213"/>
                    </a:lnTo>
                    <a:lnTo>
                      <a:pt x="64" y="213"/>
                    </a:lnTo>
                    <a:lnTo>
                      <a:pt x="64" y="215"/>
                    </a:lnTo>
                    <a:lnTo>
                      <a:pt x="61" y="218"/>
                    </a:lnTo>
                    <a:lnTo>
                      <a:pt x="61" y="220"/>
                    </a:lnTo>
                    <a:lnTo>
                      <a:pt x="59" y="220"/>
                    </a:lnTo>
                    <a:lnTo>
                      <a:pt x="59" y="220"/>
                    </a:lnTo>
                    <a:lnTo>
                      <a:pt x="56" y="220"/>
                    </a:lnTo>
                    <a:lnTo>
                      <a:pt x="54" y="218"/>
                    </a:lnTo>
                    <a:lnTo>
                      <a:pt x="52" y="218"/>
                    </a:lnTo>
                    <a:lnTo>
                      <a:pt x="49" y="218"/>
                    </a:lnTo>
                    <a:lnTo>
                      <a:pt x="47" y="215"/>
                    </a:lnTo>
                    <a:lnTo>
                      <a:pt x="45" y="215"/>
                    </a:lnTo>
                    <a:lnTo>
                      <a:pt x="42" y="215"/>
                    </a:lnTo>
                    <a:lnTo>
                      <a:pt x="42" y="215"/>
                    </a:lnTo>
                    <a:lnTo>
                      <a:pt x="40" y="215"/>
                    </a:lnTo>
                    <a:lnTo>
                      <a:pt x="35" y="220"/>
                    </a:lnTo>
                    <a:lnTo>
                      <a:pt x="35" y="215"/>
                    </a:lnTo>
                    <a:lnTo>
                      <a:pt x="33" y="215"/>
                    </a:lnTo>
                    <a:lnTo>
                      <a:pt x="33" y="215"/>
                    </a:lnTo>
                    <a:lnTo>
                      <a:pt x="31" y="213"/>
                    </a:lnTo>
                    <a:lnTo>
                      <a:pt x="31" y="213"/>
                    </a:lnTo>
                    <a:lnTo>
                      <a:pt x="31" y="213"/>
                    </a:lnTo>
                    <a:lnTo>
                      <a:pt x="28" y="213"/>
                    </a:lnTo>
                    <a:lnTo>
                      <a:pt x="28" y="213"/>
                    </a:lnTo>
                    <a:lnTo>
                      <a:pt x="26" y="213"/>
                    </a:lnTo>
                    <a:lnTo>
                      <a:pt x="26" y="213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3" y="208"/>
                    </a:lnTo>
                    <a:lnTo>
                      <a:pt x="23" y="206"/>
                    </a:lnTo>
                    <a:lnTo>
                      <a:pt x="23" y="206"/>
                    </a:lnTo>
                    <a:lnTo>
                      <a:pt x="21" y="206"/>
                    </a:lnTo>
                    <a:lnTo>
                      <a:pt x="19" y="206"/>
                    </a:lnTo>
                    <a:lnTo>
                      <a:pt x="16" y="206"/>
                    </a:lnTo>
                    <a:lnTo>
                      <a:pt x="16" y="203"/>
                    </a:lnTo>
                    <a:lnTo>
                      <a:pt x="14" y="203"/>
                    </a:lnTo>
                    <a:lnTo>
                      <a:pt x="12" y="206"/>
                    </a:lnTo>
                    <a:lnTo>
                      <a:pt x="12" y="203"/>
                    </a:lnTo>
                    <a:lnTo>
                      <a:pt x="12" y="201"/>
                    </a:lnTo>
                    <a:lnTo>
                      <a:pt x="14" y="199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2" y="196"/>
                    </a:lnTo>
                    <a:lnTo>
                      <a:pt x="12" y="196"/>
                    </a:lnTo>
                    <a:lnTo>
                      <a:pt x="9" y="199"/>
                    </a:lnTo>
                    <a:lnTo>
                      <a:pt x="7" y="199"/>
                    </a:lnTo>
                    <a:lnTo>
                      <a:pt x="7" y="199"/>
                    </a:lnTo>
                    <a:lnTo>
                      <a:pt x="5" y="196"/>
                    </a:lnTo>
                    <a:lnTo>
                      <a:pt x="5" y="196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2" y="199"/>
                    </a:lnTo>
                    <a:lnTo>
                      <a:pt x="0" y="199"/>
                    </a:lnTo>
                    <a:lnTo>
                      <a:pt x="0" y="196"/>
                    </a:lnTo>
                    <a:lnTo>
                      <a:pt x="0" y="194"/>
                    </a:lnTo>
                    <a:lnTo>
                      <a:pt x="0" y="192"/>
                    </a:lnTo>
                    <a:lnTo>
                      <a:pt x="0" y="192"/>
                    </a:lnTo>
                    <a:lnTo>
                      <a:pt x="0" y="189"/>
                    </a:lnTo>
                    <a:lnTo>
                      <a:pt x="0" y="189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9" name="Freeform 37"/>
              <p:cNvSpPr>
                <a:spLocks/>
              </p:cNvSpPr>
              <p:nvPr/>
            </p:nvSpPr>
            <p:spPr bwMode="auto">
              <a:xfrm>
                <a:off x="6542342" y="3156766"/>
                <a:ext cx="248644" cy="285835"/>
              </a:xfrm>
              <a:custGeom>
                <a:avLst/>
                <a:gdLst/>
                <a:ahLst/>
                <a:cxnLst>
                  <a:cxn ang="0">
                    <a:pos x="5" y="156"/>
                  </a:cxn>
                  <a:cxn ang="0">
                    <a:pos x="17" y="156"/>
                  </a:cxn>
                  <a:cxn ang="0">
                    <a:pos x="26" y="158"/>
                  </a:cxn>
                  <a:cxn ang="0">
                    <a:pos x="52" y="139"/>
                  </a:cxn>
                  <a:cxn ang="0">
                    <a:pos x="55" y="135"/>
                  </a:cxn>
                  <a:cxn ang="0">
                    <a:pos x="50" y="118"/>
                  </a:cxn>
                  <a:cxn ang="0">
                    <a:pos x="55" y="113"/>
                  </a:cxn>
                  <a:cxn ang="0">
                    <a:pos x="64" y="106"/>
                  </a:cxn>
                  <a:cxn ang="0">
                    <a:pos x="55" y="71"/>
                  </a:cxn>
                  <a:cxn ang="0">
                    <a:pos x="40" y="61"/>
                  </a:cxn>
                  <a:cxn ang="0">
                    <a:pos x="31" y="52"/>
                  </a:cxn>
                  <a:cxn ang="0">
                    <a:pos x="36" y="40"/>
                  </a:cxn>
                  <a:cxn ang="0">
                    <a:pos x="26" y="28"/>
                  </a:cxn>
                  <a:cxn ang="0">
                    <a:pos x="31" y="19"/>
                  </a:cxn>
                  <a:cxn ang="0">
                    <a:pos x="26" y="12"/>
                  </a:cxn>
                  <a:cxn ang="0">
                    <a:pos x="29" y="5"/>
                  </a:cxn>
                  <a:cxn ang="0">
                    <a:pos x="45" y="5"/>
                  </a:cxn>
                  <a:cxn ang="0">
                    <a:pos x="55" y="12"/>
                  </a:cxn>
                  <a:cxn ang="0">
                    <a:pos x="74" y="19"/>
                  </a:cxn>
                  <a:cxn ang="0">
                    <a:pos x="104" y="33"/>
                  </a:cxn>
                  <a:cxn ang="0">
                    <a:pos x="121" y="40"/>
                  </a:cxn>
                  <a:cxn ang="0">
                    <a:pos x="133" y="50"/>
                  </a:cxn>
                  <a:cxn ang="0">
                    <a:pos x="159" y="61"/>
                  </a:cxn>
                  <a:cxn ang="0">
                    <a:pos x="163" y="71"/>
                  </a:cxn>
                  <a:cxn ang="0">
                    <a:pos x="173" y="83"/>
                  </a:cxn>
                  <a:cxn ang="0">
                    <a:pos x="182" y="92"/>
                  </a:cxn>
                  <a:cxn ang="0">
                    <a:pos x="192" y="97"/>
                  </a:cxn>
                  <a:cxn ang="0">
                    <a:pos x="203" y="97"/>
                  </a:cxn>
                  <a:cxn ang="0">
                    <a:pos x="213" y="106"/>
                  </a:cxn>
                  <a:cxn ang="0">
                    <a:pos x="220" y="118"/>
                  </a:cxn>
                  <a:cxn ang="0">
                    <a:pos x="229" y="118"/>
                  </a:cxn>
                  <a:cxn ang="0">
                    <a:pos x="234" y="132"/>
                  </a:cxn>
                  <a:cxn ang="0">
                    <a:pos x="182" y="156"/>
                  </a:cxn>
                  <a:cxn ang="0">
                    <a:pos x="152" y="194"/>
                  </a:cxn>
                  <a:cxn ang="0">
                    <a:pos x="116" y="250"/>
                  </a:cxn>
                  <a:cxn ang="0">
                    <a:pos x="104" y="260"/>
                  </a:cxn>
                  <a:cxn ang="0">
                    <a:pos x="88" y="267"/>
                  </a:cxn>
                  <a:cxn ang="0">
                    <a:pos x="85" y="265"/>
                  </a:cxn>
                  <a:cxn ang="0">
                    <a:pos x="76" y="262"/>
                  </a:cxn>
                  <a:cxn ang="0">
                    <a:pos x="74" y="269"/>
                  </a:cxn>
                  <a:cxn ang="0">
                    <a:pos x="66" y="267"/>
                  </a:cxn>
                  <a:cxn ang="0">
                    <a:pos x="57" y="262"/>
                  </a:cxn>
                  <a:cxn ang="0">
                    <a:pos x="50" y="255"/>
                  </a:cxn>
                  <a:cxn ang="0">
                    <a:pos x="50" y="253"/>
                  </a:cxn>
                  <a:cxn ang="0">
                    <a:pos x="45" y="253"/>
                  </a:cxn>
                  <a:cxn ang="0">
                    <a:pos x="40" y="248"/>
                  </a:cxn>
                  <a:cxn ang="0">
                    <a:pos x="38" y="248"/>
                  </a:cxn>
                  <a:cxn ang="0">
                    <a:pos x="36" y="243"/>
                  </a:cxn>
                  <a:cxn ang="0">
                    <a:pos x="31" y="236"/>
                  </a:cxn>
                  <a:cxn ang="0">
                    <a:pos x="31" y="229"/>
                  </a:cxn>
                  <a:cxn ang="0">
                    <a:pos x="33" y="224"/>
                  </a:cxn>
                  <a:cxn ang="0">
                    <a:pos x="31" y="220"/>
                  </a:cxn>
                  <a:cxn ang="0">
                    <a:pos x="22" y="210"/>
                  </a:cxn>
                  <a:cxn ang="0">
                    <a:pos x="22" y="203"/>
                  </a:cxn>
                  <a:cxn ang="0">
                    <a:pos x="19" y="198"/>
                  </a:cxn>
                  <a:cxn ang="0">
                    <a:pos x="12" y="194"/>
                  </a:cxn>
                  <a:cxn ang="0">
                    <a:pos x="5" y="184"/>
                  </a:cxn>
                  <a:cxn ang="0">
                    <a:pos x="3" y="175"/>
                  </a:cxn>
                </a:cxnLst>
                <a:rect l="0" t="0" r="r" b="b"/>
                <a:pathLst>
                  <a:path w="234" h="269">
                    <a:moveTo>
                      <a:pt x="0" y="168"/>
                    </a:moveTo>
                    <a:lnTo>
                      <a:pt x="3" y="168"/>
                    </a:lnTo>
                    <a:lnTo>
                      <a:pt x="3" y="165"/>
                    </a:lnTo>
                    <a:lnTo>
                      <a:pt x="3" y="163"/>
                    </a:lnTo>
                    <a:lnTo>
                      <a:pt x="3" y="161"/>
                    </a:lnTo>
                    <a:lnTo>
                      <a:pt x="3" y="161"/>
                    </a:lnTo>
                    <a:lnTo>
                      <a:pt x="3" y="158"/>
                    </a:lnTo>
                    <a:lnTo>
                      <a:pt x="5" y="156"/>
                    </a:lnTo>
                    <a:lnTo>
                      <a:pt x="5" y="156"/>
                    </a:lnTo>
                    <a:lnTo>
                      <a:pt x="7" y="156"/>
                    </a:lnTo>
                    <a:lnTo>
                      <a:pt x="10" y="158"/>
                    </a:lnTo>
                    <a:lnTo>
                      <a:pt x="10" y="158"/>
                    </a:lnTo>
                    <a:lnTo>
                      <a:pt x="12" y="158"/>
                    </a:lnTo>
                    <a:lnTo>
                      <a:pt x="12" y="158"/>
                    </a:lnTo>
                    <a:lnTo>
                      <a:pt x="14" y="158"/>
                    </a:lnTo>
                    <a:lnTo>
                      <a:pt x="17" y="156"/>
                    </a:lnTo>
                    <a:lnTo>
                      <a:pt x="17" y="158"/>
                    </a:lnTo>
                    <a:lnTo>
                      <a:pt x="19" y="156"/>
                    </a:lnTo>
                    <a:lnTo>
                      <a:pt x="19" y="156"/>
                    </a:lnTo>
                    <a:lnTo>
                      <a:pt x="22" y="158"/>
                    </a:lnTo>
                    <a:lnTo>
                      <a:pt x="24" y="156"/>
                    </a:lnTo>
                    <a:lnTo>
                      <a:pt x="24" y="156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9" y="161"/>
                    </a:lnTo>
                    <a:lnTo>
                      <a:pt x="29" y="161"/>
                    </a:lnTo>
                    <a:lnTo>
                      <a:pt x="29" y="163"/>
                    </a:lnTo>
                    <a:lnTo>
                      <a:pt x="31" y="163"/>
                    </a:lnTo>
                    <a:lnTo>
                      <a:pt x="36" y="163"/>
                    </a:lnTo>
                    <a:lnTo>
                      <a:pt x="38" y="161"/>
                    </a:lnTo>
                    <a:lnTo>
                      <a:pt x="55" y="154"/>
                    </a:lnTo>
                    <a:lnTo>
                      <a:pt x="52" y="139"/>
                    </a:lnTo>
                    <a:lnTo>
                      <a:pt x="52" y="139"/>
                    </a:lnTo>
                    <a:lnTo>
                      <a:pt x="52" y="137"/>
                    </a:lnTo>
                    <a:lnTo>
                      <a:pt x="52" y="137"/>
                    </a:lnTo>
                    <a:lnTo>
                      <a:pt x="50" y="137"/>
                    </a:lnTo>
                    <a:lnTo>
                      <a:pt x="50" y="135"/>
                    </a:lnTo>
                    <a:lnTo>
                      <a:pt x="52" y="135"/>
                    </a:lnTo>
                    <a:lnTo>
                      <a:pt x="52" y="135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5" y="132"/>
                    </a:lnTo>
                    <a:lnTo>
                      <a:pt x="55" y="132"/>
                    </a:lnTo>
                    <a:lnTo>
                      <a:pt x="55" y="130"/>
                    </a:lnTo>
                    <a:lnTo>
                      <a:pt x="55" y="130"/>
                    </a:lnTo>
                    <a:lnTo>
                      <a:pt x="55" y="128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0" y="116"/>
                    </a:lnTo>
                    <a:lnTo>
                      <a:pt x="52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52" y="113"/>
                    </a:lnTo>
                    <a:lnTo>
                      <a:pt x="52" y="113"/>
                    </a:lnTo>
                    <a:lnTo>
                      <a:pt x="52" y="113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5" y="111"/>
                    </a:lnTo>
                    <a:lnTo>
                      <a:pt x="55" y="111"/>
                    </a:lnTo>
                    <a:lnTo>
                      <a:pt x="57" y="109"/>
                    </a:lnTo>
                    <a:lnTo>
                      <a:pt x="59" y="109"/>
                    </a:lnTo>
                    <a:lnTo>
                      <a:pt x="62" y="109"/>
                    </a:lnTo>
                    <a:lnTo>
                      <a:pt x="64" y="106"/>
                    </a:lnTo>
                    <a:lnTo>
                      <a:pt x="64" y="106"/>
                    </a:lnTo>
                    <a:lnTo>
                      <a:pt x="64" y="106"/>
                    </a:lnTo>
                    <a:lnTo>
                      <a:pt x="62" y="90"/>
                    </a:lnTo>
                    <a:lnTo>
                      <a:pt x="59" y="87"/>
                    </a:lnTo>
                    <a:lnTo>
                      <a:pt x="59" y="87"/>
                    </a:lnTo>
                    <a:lnTo>
                      <a:pt x="59" y="83"/>
                    </a:lnTo>
                    <a:lnTo>
                      <a:pt x="59" y="80"/>
                    </a:lnTo>
                    <a:lnTo>
                      <a:pt x="57" y="78"/>
                    </a:lnTo>
                    <a:lnTo>
                      <a:pt x="55" y="71"/>
                    </a:lnTo>
                    <a:lnTo>
                      <a:pt x="55" y="69"/>
                    </a:lnTo>
                    <a:lnTo>
                      <a:pt x="55" y="69"/>
                    </a:lnTo>
                    <a:lnTo>
                      <a:pt x="55" y="66"/>
                    </a:lnTo>
                    <a:lnTo>
                      <a:pt x="52" y="64"/>
                    </a:lnTo>
                    <a:lnTo>
                      <a:pt x="48" y="61"/>
                    </a:lnTo>
                    <a:lnTo>
                      <a:pt x="45" y="61"/>
                    </a:lnTo>
                    <a:lnTo>
                      <a:pt x="43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3" y="54"/>
                    </a:lnTo>
                    <a:lnTo>
                      <a:pt x="31" y="52"/>
                    </a:lnTo>
                    <a:lnTo>
                      <a:pt x="31" y="52"/>
                    </a:lnTo>
                    <a:lnTo>
                      <a:pt x="33" y="50"/>
                    </a:lnTo>
                    <a:lnTo>
                      <a:pt x="33" y="47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3" y="43"/>
                    </a:lnTo>
                    <a:lnTo>
                      <a:pt x="36" y="43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3" y="40"/>
                    </a:lnTo>
                    <a:lnTo>
                      <a:pt x="31" y="38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1"/>
                    </a:lnTo>
                    <a:lnTo>
                      <a:pt x="26" y="28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31" y="17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26" y="9"/>
                    </a:lnTo>
                    <a:lnTo>
                      <a:pt x="26" y="7"/>
                    </a:lnTo>
                    <a:lnTo>
                      <a:pt x="26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31" y="2"/>
                    </a:lnTo>
                    <a:lnTo>
                      <a:pt x="36" y="2"/>
                    </a:lnTo>
                    <a:lnTo>
                      <a:pt x="4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2" y="12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7" y="14"/>
                    </a:lnTo>
                    <a:lnTo>
                      <a:pt x="57" y="17"/>
                    </a:lnTo>
                    <a:lnTo>
                      <a:pt x="59" y="17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6" y="17"/>
                    </a:lnTo>
                    <a:lnTo>
                      <a:pt x="71" y="17"/>
                    </a:lnTo>
                    <a:lnTo>
                      <a:pt x="74" y="19"/>
                    </a:lnTo>
                    <a:lnTo>
                      <a:pt x="74" y="21"/>
                    </a:lnTo>
                    <a:lnTo>
                      <a:pt x="74" y="21"/>
                    </a:lnTo>
                    <a:lnTo>
                      <a:pt x="74" y="24"/>
                    </a:lnTo>
                    <a:lnTo>
                      <a:pt x="83" y="28"/>
                    </a:lnTo>
                    <a:lnTo>
                      <a:pt x="85" y="31"/>
                    </a:lnTo>
                    <a:lnTo>
                      <a:pt x="88" y="31"/>
                    </a:lnTo>
                    <a:lnTo>
                      <a:pt x="100" y="31"/>
                    </a:lnTo>
                    <a:lnTo>
                      <a:pt x="104" y="33"/>
                    </a:lnTo>
                    <a:lnTo>
                      <a:pt x="104" y="33"/>
                    </a:lnTo>
                    <a:lnTo>
                      <a:pt x="109" y="35"/>
                    </a:lnTo>
                    <a:lnTo>
                      <a:pt x="111" y="35"/>
                    </a:lnTo>
                    <a:lnTo>
                      <a:pt x="111" y="35"/>
                    </a:lnTo>
                    <a:lnTo>
                      <a:pt x="114" y="35"/>
                    </a:lnTo>
                    <a:lnTo>
                      <a:pt x="114" y="38"/>
                    </a:lnTo>
                    <a:lnTo>
                      <a:pt x="118" y="40"/>
                    </a:lnTo>
                    <a:lnTo>
                      <a:pt x="121" y="40"/>
                    </a:lnTo>
                    <a:lnTo>
                      <a:pt x="121" y="43"/>
                    </a:lnTo>
                    <a:lnTo>
                      <a:pt x="123" y="45"/>
                    </a:lnTo>
                    <a:lnTo>
                      <a:pt x="126" y="47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3" y="50"/>
                    </a:lnTo>
                    <a:lnTo>
                      <a:pt x="140" y="52"/>
                    </a:lnTo>
                    <a:lnTo>
                      <a:pt x="142" y="52"/>
                    </a:lnTo>
                    <a:lnTo>
                      <a:pt x="149" y="59"/>
                    </a:lnTo>
                    <a:lnTo>
                      <a:pt x="152" y="61"/>
                    </a:lnTo>
                    <a:lnTo>
                      <a:pt x="154" y="61"/>
                    </a:lnTo>
                    <a:lnTo>
                      <a:pt x="154" y="61"/>
                    </a:lnTo>
                    <a:lnTo>
                      <a:pt x="156" y="61"/>
                    </a:lnTo>
                    <a:lnTo>
                      <a:pt x="159" y="61"/>
                    </a:lnTo>
                    <a:lnTo>
                      <a:pt x="159" y="61"/>
                    </a:lnTo>
                    <a:lnTo>
                      <a:pt x="163" y="61"/>
                    </a:lnTo>
                    <a:lnTo>
                      <a:pt x="163" y="64"/>
                    </a:lnTo>
                    <a:lnTo>
                      <a:pt x="163" y="64"/>
                    </a:lnTo>
                    <a:lnTo>
                      <a:pt x="163" y="66"/>
                    </a:lnTo>
                    <a:lnTo>
                      <a:pt x="163" y="69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73"/>
                    </a:lnTo>
                    <a:lnTo>
                      <a:pt x="163" y="73"/>
                    </a:lnTo>
                    <a:lnTo>
                      <a:pt x="166" y="76"/>
                    </a:lnTo>
                    <a:lnTo>
                      <a:pt x="166" y="78"/>
                    </a:lnTo>
                    <a:lnTo>
                      <a:pt x="168" y="80"/>
                    </a:lnTo>
                    <a:lnTo>
                      <a:pt x="168" y="83"/>
                    </a:lnTo>
                    <a:lnTo>
                      <a:pt x="173" y="83"/>
                    </a:lnTo>
                    <a:lnTo>
                      <a:pt x="175" y="85"/>
                    </a:lnTo>
                    <a:lnTo>
                      <a:pt x="177" y="85"/>
                    </a:lnTo>
                    <a:lnTo>
                      <a:pt x="177" y="87"/>
                    </a:lnTo>
                    <a:lnTo>
                      <a:pt x="177" y="87"/>
                    </a:lnTo>
                    <a:lnTo>
                      <a:pt x="177" y="87"/>
                    </a:lnTo>
                    <a:lnTo>
                      <a:pt x="177" y="90"/>
                    </a:lnTo>
                    <a:lnTo>
                      <a:pt x="177" y="90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87" y="95"/>
                    </a:lnTo>
                    <a:lnTo>
                      <a:pt x="187" y="95"/>
                    </a:lnTo>
                    <a:lnTo>
                      <a:pt x="189" y="95"/>
                    </a:lnTo>
                    <a:lnTo>
                      <a:pt x="189" y="95"/>
                    </a:lnTo>
                    <a:lnTo>
                      <a:pt x="189" y="97"/>
                    </a:lnTo>
                    <a:lnTo>
                      <a:pt x="189" y="97"/>
                    </a:lnTo>
                    <a:lnTo>
                      <a:pt x="192" y="97"/>
                    </a:lnTo>
                    <a:lnTo>
                      <a:pt x="194" y="99"/>
                    </a:lnTo>
                    <a:lnTo>
                      <a:pt x="194" y="99"/>
                    </a:lnTo>
                    <a:lnTo>
                      <a:pt x="196" y="99"/>
                    </a:lnTo>
                    <a:lnTo>
                      <a:pt x="196" y="99"/>
                    </a:lnTo>
                    <a:lnTo>
                      <a:pt x="199" y="99"/>
                    </a:lnTo>
                    <a:lnTo>
                      <a:pt x="199" y="99"/>
                    </a:lnTo>
                    <a:lnTo>
                      <a:pt x="201" y="99"/>
                    </a:lnTo>
                    <a:lnTo>
                      <a:pt x="203" y="97"/>
                    </a:lnTo>
                    <a:lnTo>
                      <a:pt x="203" y="97"/>
                    </a:lnTo>
                    <a:lnTo>
                      <a:pt x="206" y="97"/>
                    </a:lnTo>
                    <a:lnTo>
                      <a:pt x="206" y="97"/>
                    </a:lnTo>
                    <a:lnTo>
                      <a:pt x="206" y="99"/>
                    </a:lnTo>
                    <a:lnTo>
                      <a:pt x="206" y="99"/>
                    </a:lnTo>
                    <a:lnTo>
                      <a:pt x="211" y="102"/>
                    </a:lnTo>
                    <a:lnTo>
                      <a:pt x="211" y="104"/>
                    </a:lnTo>
                    <a:lnTo>
                      <a:pt x="213" y="106"/>
                    </a:lnTo>
                    <a:lnTo>
                      <a:pt x="213" y="106"/>
                    </a:lnTo>
                    <a:lnTo>
                      <a:pt x="213" y="111"/>
                    </a:lnTo>
                    <a:lnTo>
                      <a:pt x="213" y="116"/>
                    </a:lnTo>
                    <a:lnTo>
                      <a:pt x="213" y="118"/>
                    </a:lnTo>
                    <a:lnTo>
                      <a:pt x="215" y="121"/>
                    </a:lnTo>
                    <a:lnTo>
                      <a:pt x="215" y="118"/>
                    </a:lnTo>
                    <a:lnTo>
                      <a:pt x="220" y="118"/>
                    </a:lnTo>
                    <a:lnTo>
                      <a:pt x="220" y="118"/>
                    </a:lnTo>
                    <a:lnTo>
                      <a:pt x="220" y="121"/>
                    </a:lnTo>
                    <a:lnTo>
                      <a:pt x="220" y="121"/>
                    </a:lnTo>
                    <a:lnTo>
                      <a:pt x="222" y="118"/>
                    </a:lnTo>
                    <a:lnTo>
                      <a:pt x="222" y="118"/>
                    </a:lnTo>
                    <a:lnTo>
                      <a:pt x="222" y="118"/>
                    </a:lnTo>
                    <a:lnTo>
                      <a:pt x="227" y="116"/>
                    </a:lnTo>
                    <a:lnTo>
                      <a:pt x="227" y="118"/>
                    </a:lnTo>
                    <a:lnTo>
                      <a:pt x="229" y="118"/>
                    </a:lnTo>
                    <a:lnTo>
                      <a:pt x="229" y="118"/>
                    </a:lnTo>
                    <a:lnTo>
                      <a:pt x="232" y="123"/>
                    </a:lnTo>
                    <a:lnTo>
                      <a:pt x="234" y="128"/>
                    </a:lnTo>
                    <a:lnTo>
                      <a:pt x="234" y="128"/>
                    </a:lnTo>
                    <a:lnTo>
                      <a:pt x="234" y="130"/>
                    </a:lnTo>
                    <a:lnTo>
                      <a:pt x="234" y="130"/>
                    </a:lnTo>
                    <a:lnTo>
                      <a:pt x="234" y="132"/>
                    </a:lnTo>
                    <a:lnTo>
                      <a:pt x="234" y="132"/>
                    </a:lnTo>
                    <a:lnTo>
                      <a:pt x="229" y="132"/>
                    </a:lnTo>
                    <a:lnTo>
                      <a:pt x="222" y="135"/>
                    </a:lnTo>
                    <a:lnTo>
                      <a:pt x="211" y="137"/>
                    </a:lnTo>
                    <a:lnTo>
                      <a:pt x="206" y="142"/>
                    </a:lnTo>
                    <a:lnTo>
                      <a:pt x="201" y="144"/>
                    </a:lnTo>
                    <a:lnTo>
                      <a:pt x="199" y="146"/>
                    </a:lnTo>
                    <a:lnTo>
                      <a:pt x="192" y="149"/>
                    </a:lnTo>
                    <a:lnTo>
                      <a:pt x="182" y="156"/>
                    </a:lnTo>
                    <a:lnTo>
                      <a:pt x="177" y="161"/>
                    </a:lnTo>
                    <a:lnTo>
                      <a:pt x="177" y="161"/>
                    </a:lnTo>
                    <a:lnTo>
                      <a:pt x="166" y="172"/>
                    </a:lnTo>
                    <a:lnTo>
                      <a:pt x="163" y="177"/>
                    </a:lnTo>
                    <a:lnTo>
                      <a:pt x="159" y="182"/>
                    </a:lnTo>
                    <a:lnTo>
                      <a:pt x="154" y="189"/>
                    </a:lnTo>
                    <a:lnTo>
                      <a:pt x="154" y="189"/>
                    </a:lnTo>
                    <a:lnTo>
                      <a:pt x="152" y="194"/>
                    </a:lnTo>
                    <a:lnTo>
                      <a:pt x="142" y="208"/>
                    </a:lnTo>
                    <a:lnTo>
                      <a:pt x="137" y="215"/>
                    </a:lnTo>
                    <a:lnTo>
                      <a:pt x="140" y="215"/>
                    </a:lnTo>
                    <a:lnTo>
                      <a:pt x="133" y="224"/>
                    </a:lnTo>
                    <a:lnTo>
                      <a:pt x="126" y="232"/>
                    </a:lnTo>
                    <a:lnTo>
                      <a:pt x="121" y="241"/>
                    </a:lnTo>
                    <a:lnTo>
                      <a:pt x="118" y="250"/>
                    </a:lnTo>
                    <a:lnTo>
                      <a:pt x="116" y="250"/>
                    </a:lnTo>
                    <a:lnTo>
                      <a:pt x="116" y="253"/>
                    </a:lnTo>
                    <a:lnTo>
                      <a:pt x="114" y="253"/>
                    </a:lnTo>
                    <a:lnTo>
                      <a:pt x="114" y="253"/>
                    </a:lnTo>
                    <a:lnTo>
                      <a:pt x="111" y="253"/>
                    </a:lnTo>
                    <a:lnTo>
                      <a:pt x="111" y="255"/>
                    </a:lnTo>
                    <a:lnTo>
                      <a:pt x="111" y="255"/>
                    </a:lnTo>
                    <a:lnTo>
                      <a:pt x="109" y="258"/>
                    </a:lnTo>
                    <a:lnTo>
                      <a:pt x="104" y="260"/>
                    </a:lnTo>
                    <a:lnTo>
                      <a:pt x="102" y="262"/>
                    </a:lnTo>
                    <a:lnTo>
                      <a:pt x="100" y="262"/>
                    </a:lnTo>
                    <a:lnTo>
                      <a:pt x="100" y="262"/>
                    </a:lnTo>
                    <a:lnTo>
                      <a:pt x="95" y="262"/>
                    </a:lnTo>
                    <a:lnTo>
                      <a:pt x="95" y="262"/>
                    </a:lnTo>
                    <a:lnTo>
                      <a:pt x="92" y="265"/>
                    </a:lnTo>
                    <a:lnTo>
                      <a:pt x="92" y="267"/>
                    </a:lnTo>
                    <a:lnTo>
                      <a:pt x="88" y="267"/>
                    </a:lnTo>
                    <a:lnTo>
                      <a:pt x="88" y="267"/>
                    </a:lnTo>
                    <a:lnTo>
                      <a:pt x="85" y="265"/>
                    </a:lnTo>
                    <a:lnTo>
                      <a:pt x="85" y="265"/>
                    </a:lnTo>
                    <a:lnTo>
                      <a:pt x="85" y="265"/>
                    </a:lnTo>
                    <a:lnTo>
                      <a:pt x="85" y="267"/>
                    </a:lnTo>
                    <a:lnTo>
                      <a:pt x="85" y="267"/>
                    </a:lnTo>
                    <a:lnTo>
                      <a:pt x="83" y="265"/>
                    </a:lnTo>
                    <a:lnTo>
                      <a:pt x="85" y="265"/>
                    </a:lnTo>
                    <a:lnTo>
                      <a:pt x="83" y="265"/>
                    </a:lnTo>
                    <a:lnTo>
                      <a:pt x="83" y="265"/>
                    </a:lnTo>
                    <a:lnTo>
                      <a:pt x="81" y="265"/>
                    </a:lnTo>
                    <a:lnTo>
                      <a:pt x="81" y="265"/>
                    </a:lnTo>
                    <a:lnTo>
                      <a:pt x="81" y="265"/>
                    </a:lnTo>
                    <a:lnTo>
                      <a:pt x="78" y="265"/>
                    </a:lnTo>
                    <a:lnTo>
                      <a:pt x="78" y="262"/>
                    </a:lnTo>
                    <a:lnTo>
                      <a:pt x="76" y="262"/>
                    </a:lnTo>
                    <a:lnTo>
                      <a:pt x="76" y="262"/>
                    </a:lnTo>
                    <a:lnTo>
                      <a:pt x="76" y="262"/>
                    </a:lnTo>
                    <a:lnTo>
                      <a:pt x="76" y="265"/>
                    </a:lnTo>
                    <a:lnTo>
                      <a:pt x="74" y="265"/>
                    </a:lnTo>
                    <a:lnTo>
                      <a:pt x="74" y="265"/>
                    </a:lnTo>
                    <a:lnTo>
                      <a:pt x="74" y="265"/>
                    </a:lnTo>
                    <a:lnTo>
                      <a:pt x="74" y="267"/>
                    </a:lnTo>
                    <a:lnTo>
                      <a:pt x="74" y="269"/>
                    </a:lnTo>
                    <a:lnTo>
                      <a:pt x="74" y="269"/>
                    </a:lnTo>
                    <a:lnTo>
                      <a:pt x="71" y="269"/>
                    </a:lnTo>
                    <a:lnTo>
                      <a:pt x="69" y="269"/>
                    </a:lnTo>
                    <a:lnTo>
                      <a:pt x="71" y="265"/>
                    </a:lnTo>
                    <a:lnTo>
                      <a:pt x="69" y="265"/>
                    </a:lnTo>
                    <a:lnTo>
                      <a:pt x="66" y="267"/>
                    </a:lnTo>
                    <a:lnTo>
                      <a:pt x="66" y="267"/>
                    </a:lnTo>
                    <a:lnTo>
                      <a:pt x="66" y="267"/>
                    </a:lnTo>
                    <a:lnTo>
                      <a:pt x="66" y="265"/>
                    </a:lnTo>
                    <a:lnTo>
                      <a:pt x="64" y="265"/>
                    </a:lnTo>
                    <a:lnTo>
                      <a:pt x="62" y="262"/>
                    </a:lnTo>
                    <a:lnTo>
                      <a:pt x="62" y="265"/>
                    </a:lnTo>
                    <a:lnTo>
                      <a:pt x="59" y="262"/>
                    </a:lnTo>
                    <a:lnTo>
                      <a:pt x="57" y="262"/>
                    </a:lnTo>
                    <a:lnTo>
                      <a:pt x="57" y="262"/>
                    </a:lnTo>
                    <a:lnTo>
                      <a:pt x="57" y="262"/>
                    </a:lnTo>
                    <a:lnTo>
                      <a:pt x="55" y="262"/>
                    </a:lnTo>
                    <a:lnTo>
                      <a:pt x="55" y="260"/>
                    </a:lnTo>
                    <a:lnTo>
                      <a:pt x="55" y="260"/>
                    </a:lnTo>
                    <a:lnTo>
                      <a:pt x="55" y="260"/>
                    </a:lnTo>
                    <a:lnTo>
                      <a:pt x="55" y="260"/>
                    </a:lnTo>
                    <a:lnTo>
                      <a:pt x="52" y="258"/>
                    </a:lnTo>
                    <a:lnTo>
                      <a:pt x="50" y="258"/>
                    </a:lnTo>
                    <a:lnTo>
                      <a:pt x="50" y="255"/>
                    </a:lnTo>
                    <a:lnTo>
                      <a:pt x="50" y="255"/>
                    </a:lnTo>
                    <a:lnTo>
                      <a:pt x="48" y="255"/>
                    </a:lnTo>
                    <a:lnTo>
                      <a:pt x="48" y="255"/>
                    </a:lnTo>
                    <a:lnTo>
                      <a:pt x="48" y="253"/>
                    </a:lnTo>
                    <a:lnTo>
                      <a:pt x="50" y="253"/>
                    </a:lnTo>
                    <a:lnTo>
                      <a:pt x="50" y="253"/>
                    </a:lnTo>
                    <a:lnTo>
                      <a:pt x="50" y="253"/>
                    </a:lnTo>
                    <a:lnTo>
                      <a:pt x="50" y="253"/>
                    </a:lnTo>
                    <a:lnTo>
                      <a:pt x="48" y="253"/>
                    </a:lnTo>
                    <a:lnTo>
                      <a:pt x="48" y="253"/>
                    </a:lnTo>
                    <a:lnTo>
                      <a:pt x="45" y="250"/>
                    </a:lnTo>
                    <a:lnTo>
                      <a:pt x="48" y="250"/>
                    </a:lnTo>
                    <a:lnTo>
                      <a:pt x="48" y="250"/>
                    </a:lnTo>
                    <a:lnTo>
                      <a:pt x="48" y="250"/>
                    </a:lnTo>
                    <a:lnTo>
                      <a:pt x="45" y="250"/>
                    </a:lnTo>
                    <a:lnTo>
                      <a:pt x="45" y="253"/>
                    </a:lnTo>
                    <a:lnTo>
                      <a:pt x="45" y="250"/>
                    </a:lnTo>
                    <a:lnTo>
                      <a:pt x="45" y="253"/>
                    </a:lnTo>
                    <a:lnTo>
                      <a:pt x="43" y="250"/>
                    </a:lnTo>
                    <a:lnTo>
                      <a:pt x="43" y="250"/>
                    </a:lnTo>
                    <a:lnTo>
                      <a:pt x="43" y="248"/>
                    </a:lnTo>
                    <a:lnTo>
                      <a:pt x="43" y="248"/>
                    </a:lnTo>
                    <a:lnTo>
                      <a:pt x="40" y="248"/>
                    </a:lnTo>
                    <a:lnTo>
                      <a:pt x="40" y="248"/>
                    </a:lnTo>
                    <a:lnTo>
                      <a:pt x="40" y="248"/>
                    </a:lnTo>
                    <a:lnTo>
                      <a:pt x="38" y="248"/>
                    </a:lnTo>
                    <a:lnTo>
                      <a:pt x="38" y="250"/>
                    </a:lnTo>
                    <a:lnTo>
                      <a:pt x="38" y="250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36" y="248"/>
                    </a:lnTo>
                    <a:lnTo>
                      <a:pt x="38" y="248"/>
                    </a:lnTo>
                    <a:lnTo>
                      <a:pt x="38" y="246"/>
                    </a:lnTo>
                    <a:lnTo>
                      <a:pt x="36" y="246"/>
                    </a:lnTo>
                    <a:lnTo>
                      <a:pt x="36" y="248"/>
                    </a:lnTo>
                    <a:lnTo>
                      <a:pt x="36" y="246"/>
                    </a:lnTo>
                    <a:lnTo>
                      <a:pt x="33" y="246"/>
                    </a:lnTo>
                    <a:lnTo>
                      <a:pt x="33" y="246"/>
                    </a:lnTo>
                    <a:lnTo>
                      <a:pt x="36" y="243"/>
                    </a:lnTo>
                    <a:lnTo>
                      <a:pt x="36" y="243"/>
                    </a:lnTo>
                    <a:lnTo>
                      <a:pt x="33" y="243"/>
                    </a:lnTo>
                    <a:lnTo>
                      <a:pt x="33" y="241"/>
                    </a:lnTo>
                    <a:lnTo>
                      <a:pt x="33" y="239"/>
                    </a:lnTo>
                    <a:lnTo>
                      <a:pt x="31" y="241"/>
                    </a:lnTo>
                    <a:lnTo>
                      <a:pt x="31" y="239"/>
                    </a:lnTo>
                    <a:lnTo>
                      <a:pt x="31" y="239"/>
                    </a:lnTo>
                    <a:lnTo>
                      <a:pt x="33" y="239"/>
                    </a:lnTo>
                    <a:lnTo>
                      <a:pt x="31" y="236"/>
                    </a:lnTo>
                    <a:lnTo>
                      <a:pt x="31" y="236"/>
                    </a:lnTo>
                    <a:lnTo>
                      <a:pt x="31" y="236"/>
                    </a:lnTo>
                    <a:lnTo>
                      <a:pt x="31" y="234"/>
                    </a:lnTo>
                    <a:lnTo>
                      <a:pt x="31" y="232"/>
                    </a:lnTo>
                    <a:lnTo>
                      <a:pt x="31" y="232"/>
                    </a:lnTo>
                    <a:lnTo>
                      <a:pt x="31" y="229"/>
                    </a:lnTo>
                    <a:lnTo>
                      <a:pt x="33" y="229"/>
                    </a:lnTo>
                    <a:lnTo>
                      <a:pt x="31" y="229"/>
                    </a:lnTo>
                    <a:lnTo>
                      <a:pt x="33" y="227"/>
                    </a:lnTo>
                    <a:lnTo>
                      <a:pt x="33" y="227"/>
                    </a:lnTo>
                    <a:lnTo>
                      <a:pt x="31" y="227"/>
                    </a:lnTo>
                    <a:lnTo>
                      <a:pt x="31" y="227"/>
                    </a:lnTo>
                    <a:lnTo>
                      <a:pt x="33" y="227"/>
                    </a:lnTo>
                    <a:lnTo>
                      <a:pt x="31" y="224"/>
                    </a:lnTo>
                    <a:lnTo>
                      <a:pt x="33" y="224"/>
                    </a:lnTo>
                    <a:lnTo>
                      <a:pt x="33" y="224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3" y="220"/>
                    </a:lnTo>
                    <a:lnTo>
                      <a:pt x="36" y="220"/>
                    </a:lnTo>
                    <a:lnTo>
                      <a:pt x="33" y="220"/>
                    </a:lnTo>
                    <a:lnTo>
                      <a:pt x="33" y="220"/>
                    </a:lnTo>
                    <a:lnTo>
                      <a:pt x="31" y="220"/>
                    </a:lnTo>
                    <a:lnTo>
                      <a:pt x="31" y="220"/>
                    </a:lnTo>
                    <a:lnTo>
                      <a:pt x="29" y="217"/>
                    </a:lnTo>
                    <a:lnTo>
                      <a:pt x="26" y="217"/>
                    </a:lnTo>
                    <a:lnTo>
                      <a:pt x="26" y="217"/>
                    </a:lnTo>
                    <a:lnTo>
                      <a:pt x="24" y="215"/>
                    </a:lnTo>
                    <a:lnTo>
                      <a:pt x="22" y="215"/>
                    </a:lnTo>
                    <a:lnTo>
                      <a:pt x="22" y="215"/>
                    </a:lnTo>
                    <a:lnTo>
                      <a:pt x="22" y="213"/>
                    </a:lnTo>
                    <a:lnTo>
                      <a:pt x="22" y="210"/>
                    </a:lnTo>
                    <a:lnTo>
                      <a:pt x="22" y="210"/>
                    </a:lnTo>
                    <a:lnTo>
                      <a:pt x="22" y="210"/>
                    </a:lnTo>
                    <a:lnTo>
                      <a:pt x="19" y="210"/>
                    </a:lnTo>
                    <a:lnTo>
                      <a:pt x="19" y="208"/>
                    </a:lnTo>
                    <a:lnTo>
                      <a:pt x="19" y="208"/>
                    </a:lnTo>
                    <a:lnTo>
                      <a:pt x="19" y="208"/>
                    </a:lnTo>
                    <a:lnTo>
                      <a:pt x="22" y="206"/>
                    </a:lnTo>
                    <a:lnTo>
                      <a:pt x="22" y="203"/>
                    </a:lnTo>
                    <a:lnTo>
                      <a:pt x="19" y="203"/>
                    </a:lnTo>
                    <a:lnTo>
                      <a:pt x="19" y="201"/>
                    </a:lnTo>
                    <a:lnTo>
                      <a:pt x="19" y="201"/>
                    </a:lnTo>
                    <a:lnTo>
                      <a:pt x="19" y="201"/>
                    </a:lnTo>
                    <a:lnTo>
                      <a:pt x="19" y="201"/>
                    </a:lnTo>
                    <a:lnTo>
                      <a:pt x="17" y="201"/>
                    </a:lnTo>
                    <a:lnTo>
                      <a:pt x="17" y="198"/>
                    </a:lnTo>
                    <a:lnTo>
                      <a:pt x="19" y="198"/>
                    </a:lnTo>
                    <a:lnTo>
                      <a:pt x="17" y="198"/>
                    </a:lnTo>
                    <a:lnTo>
                      <a:pt x="17" y="196"/>
                    </a:lnTo>
                    <a:lnTo>
                      <a:pt x="17" y="196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2" y="196"/>
                    </a:lnTo>
                    <a:lnTo>
                      <a:pt x="12" y="194"/>
                    </a:lnTo>
                    <a:lnTo>
                      <a:pt x="10" y="191"/>
                    </a:lnTo>
                    <a:lnTo>
                      <a:pt x="7" y="191"/>
                    </a:lnTo>
                    <a:lnTo>
                      <a:pt x="7" y="189"/>
                    </a:lnTo>
                    <a:lnTo>
                      <a:pt x="7" y="189"/>
                    </a:lnTo>
                    <a:lnTo>
                      <a:pt x="7" y="187"/>
                    </a:lnTo>
                    <a:lnTo>
                      <a:pt x="5" y="187"/>
                    </a:lnTo>
                    <a:lnTo>
                      <a:pt x="5" y="184"/>
                    </a:lnTo>
                    <a:lnTo>
                      <a:pt x="5" y="184"/>
                    </a:lnTo>
                    <a:lnTo>
                      <a:pt x="3" y="187"/>
                    </a:lnTo>
                    <a:lnTo>
                      <a:pt x="3" y="184"/>
                    </a:lnTo>
                    <a:lnTo>
                      <a:pt x="3" y="184"/>
                    </a:lnTo>
                    <a:lnTo>
                      <a:pt x="3" y="182"/>
                    </a:lnTo>
                    <a:lnTo>
                      <a:pt x="0" y="180"/>
                    </a:lnTo>
                    <a:lnTo>
                      <a:pt x="0" y="177"/>
                    </a:lnTo>
                    <a:lnTo>
                      <a:pt x="0" y="175"/>
                    </a:lnTo>
                    <a:lnTo>
                      <a:pt x="3" y="175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3" name="Group 138"/>
            <p:cNvGrpSpPr/>
            <p:nvPr>
              <p:custDataLst>
                <p:tags r:id="rId26"/>
              </p:custDataLst>
            </p:nvPr>
          </p:nvGrpSpPr>
          <p:grpSpPr>
            <a:xfrm>
              <a:off x="353750" y="1003479"/>
              <a:ext cx="3221372" cy="2228040"/>
              <a:chOff x="6493934" y="1100667"/>
              <a:chExt cx="3814675" cy="2638394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6493934" y="2823115"/>
                <a:ext cx="993516" cy="562107"/>
              </a:xfrm>
              <a:custGeom>
                <a:avLst/>
                <a:gdLst/>
                <a:ahLst/>
                <a:cxnLst>
                  <a:cxn ang="0">
                    <a:pos x="460" y="135"/>
                  </a:cxn>
                  <a:cxn ang="0">
                    <a:pos x="879" y="340"/>
                  </a:cxn>
                  <a:cxn ang="0">
                    <a:pos x="930" y="371"/>
                  </a:cxn>
                  <a:cxn ang="0">
                    <a:pos x="914" y="380"/>
                  </a:cxn>
                  <a:cxn ang="0">
                    <a:pos x="902" y="392"/>
                  </a:cxn>
                  <a:cxn ang="0">
                    <a:pos x="893" y="401"/>
                  </a:cxn>
                  <a:cxn ang="0">
                    <a:pos x="886" y="411"/>
                  </a:cxn>
                  <a:cxn ang="0">
                    <a:pos x="874" y="416"/>
                  </a:cxn>
                  <a:cxn ang="0">
                    <a:pos x="850" y="420"/>
                  </a:cxn>
                  <a:cxn ang="0">
                    <a:pos x="838" y="427"/>
                  </a:cxn>
                  <a:cxn ang="0">
                    <a:pos x="819" y="442"/>
                  </a:cxn>
                  <a:cxn ang="0">
                    <a:pos x="793" y="470"/>
                  </a:cxn>
                  <a:cxn ang="0">
                    <a:pos x="779" y="463"/>
                  </a:cxn>
                  <a:cxn ang="0">
                    <a:pos x="760" y="463"/>
                  </a:cxn>
                  <a:cxn ang="0">
                    <a:pos x="746" y="475"/>
                  </a:cxn>
                  <a:cxn ang="0">
                    <a:pos x="734" y="494"/>
                  </a:cxn>
                  <a:cxn ang="0">
                    <a:pos x="718" y="510"/>
                  </a:cxn>
                  <a:cxn ang="0">
                    <a:pos x="692" y="522"/>
                  </a:cxn>
                  <a:cxn ang="0">
                    <a:pos x="666" y="512"/>
                  </a:cxn>
                  <a:cxn ang="0">
                    <a:pos x="659" y="510"/>
                  </a:cxn>
                  <a:cxn ang="0">
                    <a:pos x="649" y="510"/>
                  </a:cxn>
                  <a:cxn ang="0">
                    <a:pos x="635" y="510"/>
                  </a:cxn>
                  <a:cxn ang="0">
                    <a:pos x="619" y="505"/>
                  </a:cxn>
                  <a:cxn ang="0">
                    <a:pos x="602" y="501"/>
                  </a:cxn>
                  <a:cxn ang="0">
                    <a:pos x="590" y="503"/>
                  </a:cxn>
                  <a:cxn ang="0">
                    <a:pos x="576" y="503"/>
                  </a:cxn>
                  <a:cxn ang="0">
                    <a:pos x="560" y="501"/>
                  </a:cxn>
                  <a:cxn ang="0">
                    <a:pos x="538" y="503"/>
                  </a:cxn>
                  <a:cxn ang="0">
                    <a:pos x="524" y="501"/>
                  </a:cxn>
                  <a:cxn ang="0">
                    <a:pos x="505" y="505"/>
                  </a:cxn>
                  <a:cxn ang="0">
                    <a:pos x="493" y="508"/>
                  </a:cxn>
                  <a:cxn ang="0">
                    <a:pos x="482" y="515"/>
                  </a:cxn>
                  <a:cxn ang="0">
                    <a:pos x="460" y="517"/>
                  </a:cxn>
                  <a:cxn ang="0">
                    <a:pos x="441" y="503"/>
                  </a:cxn>
                  <a:cxn ang="0">
                    <a:pos x="439" y="347"/>
                  </a:cxn>
                  <a:cxn ang="0">
                    <a:pos x="432" y="323"/>
                  </a:cxn>
                  <a:cxn ang="0">
                    <a:pos x="437" y="316"/>
                  </a:cxn>
                  <a:cxn ang="0">
                    <a:pos x="444" y="305"/>
                  </a:cxn>
                  <a:cxn ang="0">
                    <a:pos x="432" y="305"/>
                  </a:cxn>
                  <a:cxn ang="0">
                    <a:pos x="425" y="314"/>
                  </a:cxn>
                  <a:cxn ang="0">
                    <a:pos x="413" y="319"/>
                  </a:cxn>
                  <a:cxn ang="0">
                    <a:pos x="406" y="331"/>
                  </a:cxn>
                  <a:cxn ang="0">
                    <a:pos x="390" y="345"/>
                  </a:cxn>
                  <a:cxn ang="0">
                    <a:pos x="371" y="354"/>
                  </a:cxn>
                  <a:cxn ang="0">
                    <a:pos x="340" y="375"/>
                  </a:cxn>
                  <a:cxn ang="0">
                    <a:pos x="231" y="364"/>
                  </a:cxn>
                  <a:cxn ang="0">
                    <a:pos x="219" y="342"/>
                  </a:cxn>
                  <a:cxn ang="0">
                    <a:pos x="205" y="316"/>
                  </a:cxn>
                  <a:cxn ang="0">
                    <a:pos x="193" y="309"/>
                  </a:cxn>
                  <a:cxn ang="0">
                    <a:pos x="179" y="309"/>
                  </a:cxn>
                  <a:cxn ang="0">
                    <a:pos x="167" y="307"/>
                  </a:cxn>
                  <a:cxn ang="0">
                    <a:pos x="99" y="300"/>
                  </a:cxn>
                  <a:cxn ang="0">
                    <a:pos x="123" y="276"/>
                  </a:cxn>
                  <a:cxn ang="0">
                    <a:pos x="132" y="248"/>
                  </a:cxn>
                  <a:cxn ang="0">
                    <a:pos x="111" y="212"/>
                  </a:cxn>
                  <a:cxn ang="0">
                    <a:pos x="90" y="198"/>
                  </a:cxn>
                  <a:cxn ang="0">
                    <a:pos x="71" y="170"/>
                  </a:cxn>
                  <a:cxn ang="0">
                    <a:pos x="52" y="139"/>
                  </a:cxn>
                  <a:cxn ang="0">
                    <a:pos x="30" y="111"/>
                  </a:cxn>
                  <a:cxn ang="0">
                    <a:pos x="33" y="83"/>
                  </a:cxn>
                  <a:cxn ang="0">
                    <a:pos x="9" y="49"/>
                  </a:cxn>
                  <a:cxn ang="0">
                    <a:pos x="23" y="28"/>
                  </a:cxn>
                  <a:cxn ang="0">
                    <a:pos x="26" y="2"/>
                  </a:cxn>
                </a:cxnLst>
                <a:rect l="0" t="0" r="r" b="b"/>
                <a:pathLst>
                  <a:path w="935" h="529">
                    <a:moveTo>
                      <a:pt x="23" y="0"/>
                    </a:moveTo>
                    <a:lnTo>
                      <a:pt x="33" y="5"/>
                    </a:lnTo>
                    <a:lnTo>
                      <a:pt x="85" y="28"/>
                    </a:lnTo>
                    <a:lnTo>
                      <a:pt x="144" y="54"/>
                    </a:lnTo>
                    <a:lnTo>
                      <a:pt x="165" y="66"/>
                    </a:lnTo>
                    <a:lnTo>
                      <a:pt x="170" y="68"/>
                    </a:lnTo>
                    <a:lnTo>
                      <a:pt x="229" y="80"/>
                    </a:lnTo>
                    <a:lnTo>
                      <a:pt x="231" y="80"/>
                    </a:lnTo>
                    <a:lnTo>
                      <a:pt x="250" y="87"/>
                    </a:lnTo>
                    <a:lnTo>
                      <a:pt x="253" y="87"/>
                    </a:lnTo>
                    <a:lnTo>
                      <a:pt x="255" y="87"/>
                    </a:lnTo>
                    <a:lnTo>
                      <a:pt x="307" y="99"/>
                    </a:lnTo>
                    <a:lnTo>
                      <a:pt x="316" y="101"/>
                    </a:lnTo>
                    <a:lnTo>
                      <a:pt x="349" y="109"/>
                    </a:lnTo>
                    <a:lnTo>
                      <a:pt x="387" y="118"/>
                    </a:lnTo>
                    <a:lnTo>
                      <a:pt x="434" y="127"/>
                    </a:lnTo>
                    <a:lnTo>
                      <a:pt x="449" y="132"/>
                    </a:lnTo>
                    <a:lnTo>
                      <a:pt x="460" y="135"/>
                    </a:lnTo>
                    <a:lnTo>
                      <a:pt x="470" y="142"/>
                    </a:lnTo>
                    <a:lnTo>
                      <a:pt x="491" y="151"/>
                    </a:lnTo>
                    <a:lnTo>
                      <a:pt x="538" y="177"/>
                    </a:lnTo>
                    <a:lnTo>
                      <a:pt x="564" y="191"/>
                    </a:lnTo>
                    <a:lnTo>
                      <a:pt x="578" y="201"/>
                    </a:lnTo>
                    <a:lnTo>
                      <a:pt x="612" y="217"/>
                    </a:lnTo>
                    <a:lnTo>
                      <a:pt x="635" y="229"/>
                    </a:lnTo>
                    <a:lnTo>
                      <a:pt x="661" y="243"/>
                    </a:lnTo>
                    <a:lnTo>
                      <a:pt x="666" y="246"/>
                    </a:lnTo>
                    <a:lnTo>
                      <a:pt x="668" y="248"/>
                    </a:lnTo>
                    <a:lnTo>
                      <a:pt x="682" y="253"/>
                    </a:lnTo>
                    <a:lnTo>
                      <a:pt x="737" y="276"/>
                    </a:lnTo>
                    <a:lnTo>
                      <a:pt x="767" y="290"/>
                    </a:lnTo>
                    <a:lnTo>
                      <a:pt x="845" y="326"/>
                    </a:lnTo>
                    <a:lnTo>
                      <a:pt x="867" y="333"/>
                    </a:lnTo>
                    <a:lnTo>
                      <a:pt x="869" y="335"/>
                    </a:lnTo>
                    <a:lnTo>
                      <a:pt x="874" y="338"/>
                    </a:lnTo>
                    <a:lnTo>
                      <a:pt x="879" y="340"/>
                    </a:lnTo>
                    <a:lnTo>
                      <a:pt x="912" y="354"/>
                    </a:lnTo>
                    <a:lnTo>
                      <a:pt x="935" y="364"/>
                    </a:lnTo>
                    <a:lnTo>
                      <a:pt x="935" y="364"/>
                    </a:lnTo>
                    <a:lnTo>
                      <a:pt x="935" y="366"/>
                    </a:lnTo>
                    <a:lnTo>
                      <a:pt x="933" y="366"/>
                    </a:lnTo>
                    <a:lnTo>
                      <a:pt x="935" y="368"/>
                    </a:lnTo>
                    <a:lnTo>
                      <a:pt x="933" y="368"/>
                    </a:lnTo>
                    <a:lnTo>
                      <a:pt x="933" y="368"/>
                    </a:lnTo>
                    <a:lnTo>
                      <a:pt x="935" y="368"/>
                    </a:lnTo>
                    <a:lnTo>
                      <a:pt x="935" y="368"/>
                    </a:lnTo>
                    <a:lnTo>
                      <a:pt x="933" y="368"/>
                    </a:lnTo>
                    <a:lnTo>
                      <a:pt x="933" y="371"/>
                    </a:lnTo>
                    <a:lnTo>
                      <a:pt x="933" y="371"/>
                    </a:lnTo>
                    <a:lnTo>
                      <a:pt x="930" y="368"/>
                    </a:lnTo>
                    <a:lnTo>
                      <a:pt x="930" y="371"/>
                    </a:lnTo>
                    <a:lnTo>
                      <a:pt x="930" y="368"/>
                    </a:lnTo>
                    <a:lnTo>
                      <a:pt x="930" y="371"/>
                    </a:lnTo>
                    <a:lnTo>
                      <a:pt x="930" y="371"/>
                    </a:lnTo>
                    <a:lnTo>
                      <a:pt x="930" y="373"/>
                    </a:lnTo>
                    <a:lnTo>
                      <a:pt x="928" y="373"/>
                    </a:lnTo>
                    <a:lnTo>
                      <a:pt x="928" y="373"/>
                    </a:lnTo>
                    <a:lnTo>
                      <a:pt x="926" y="373"/>
                    </a:lnTo>
                    <a:lnTo>
                      <a:pt x="923" y="375"/>
                    </a:lnTo>
                    <a:lnTo>
                      <a:pt x="923" y="375"/>
                    </a:lnTo>
                    <a:lnTo>
                      <a:pt x="921" y="375"/>
                    </a:lnTo>
                    <a:lnTo>
                      <a:pt x="921" y="375"/>
                    </a:lnTo>
                    <a:lnTo>
                      <a:pt x="921" y="375"/>
                    </a:lnTo>
                    <a:lnTo>
                      <a:pt x="921" y="378"/>
                    </a:lnTo>
                    <a:lnTo>
                      <a:pt x="919" y="378"/>
                    </a:lnTo>
                    <a:lnTo>
                      <a:pt x="919" y="378"/>
                    </a:lnTo>
                    <a:lnTo>
                      <a:pt x="916" y="378"/>
                    </a:lnTo>
                    <a:lnTo>
                      <a:pt x="916" y="378"/>
                    </a:lnTo>
                    <a:lnTo>
                      <a:pt x="916" y="378"/>
                    </a:lnTo>
                    <a:lnTo>
                      <a:pt x="916" y="380"/>
                    </a:lnTo>
                    <a:lnTo>
                      <a:pt x="916" y="380"/>
                    </a:lnTo>
                    <a:lnTo>
                      <a:pt x="914" y="380"/>
                    </a:lnTo>
                    <a:lnTo>
                      <a:pt x="914" y="383"/>
                    </a:lnTo>
                    <a:lnTo>
                      <a:pt x="912" y="383"/>
                    </a:lnTo>
                    <a:lnTo>
                      <a:pt x="912" y="383"/>
                    </a:lnTo>
                    <a:lnTo>
                      <a:pt x="912" y="385"/>
                    </a:lnTo>
                    <a:lnTo>
                      <a:pt x="912" y="385"/>
                    </a:lnTo>
                    <a:lnTo>
                      <a:pt x="909" y="385"/>
                    </a:lnTo>
                    <a:lnTo>
                      <a:pt x="907" y="385"/>
                    </a:lnTo>
                    <a:lnTo>
                      <a:pt x="907" y="387"/>
                    </a:lnTo>
                    <a:lnTo>
                      <a:pt x="907" y="390"/>
                    </a:lnTo>
                    <a:lnTo>
                      <a:pt x="907" y="390"/>
                    </a:lnTo>
                    <a:lnTo>
                      <a:pt x="907" y="390"/>
                    </a:lnTo>
                    <a:lnTo>
                      <a:pt x="904" y="390"/>
                    </a:lnTo>
                    <a:lnTo>
                      <a:pt x="904" y="390"/>
                    </a:lnTo>
                    <a:lnTo>
                      <a:pt x="902" y="390"/>
                    </a:lnTo>
                    <a:lnTo>
                      <a:pt x="904" y="390"/>
                    </a:lnTo>
                    <a:lnTo>
                      <a:pt x="904" y="392"/>
                    </a:lnTo>
                    <a:lnTo>
                      <a:pt x="902" y="390"/>
                    </a:lnTo>
                    <a:lnTo>
                      <a:pt x="902" y="392"/>
                    </a:lnTo>
                    <a:lnTo>
                      <a:pt x="902" y="392"/>
                    </a:lnTo>
                    <a:lnTo>
                      <a:pt x="902" y="392"/>
                    </a:lnTo>
                    <a:lnTo>
                      <a:pt x="902" y="392"/>
                    </a:lnTo>
                    <a:lnTo>
                      <a:pt x="900" y="392"/>
                    </a:lnTo>
                    <a:lnTo>
                      <a:pt x="900" y="394"/>
                    </a:lnTo>
                    <a:lnTo>
                      <a:pt x="900" y="394"/>
                    </a:lnTo>
                    <a:lnTo>
                      <a:pt x="897" y="394"/>
                    </a:lnTo>
                    <a:lnTo>
                      <a:pt x="897" y="394"/>
                    </a:lnTo>
                    <a:lnTo>
                      <a:pt x="897" y="394"/>
                    </a:lnTo>
                    <a:lnTo>
                      <a:pt x="897" y="394"/>
                    </a:lnTo>
                    <a:lnTo>
                      <a:pt x="897" y="397"/>
                    </a:lnTo>
                    <a:lnTo>
                      <a:pt x="897" y="397"/>
                    </a:lnTo>
                    <a:lnTo>
                      <a:pt x="897" y="397"/>
                    </a:lnTo>
                    <a:lnTo>
                      <a:pt x="895" y="397"/>
                    </a:lnTo>
                    <a:lnTo>
                      <a:pt x="895" y="399"/>
                    </a:lnTo>
                    <a:lnTo>
                      <a:pt x="895" y="399"/>
                    </a:lnTo>
                    <a:lnTo>
                      <a:pt x="895" y="399"/>
                    </a:lnTo>
                    <a:lnTo>
                      <a:pt x="893" y="401"/>
                    </a:lnTo>
                    <a:lnTo>
                      <a:pt x="893" y="404"/>
                    </a:lnTo>
                    <a:lnTo>
                      <a:pt x="893" y="401"/>
                    </a:lnTo>
                    <a:lnTo>
                      <a:pt x="893" y="404"/>
                    </a:lnTo>
                    <a:lnTo>
                      <a:pt x="890" y="404"/>
                    </a:lnTo>
                    <a:lnTo>
                      <a:pt x="890" y="401"/>
                    </a:lnTo>
                    <a:lnTo>
                      <a:pt x="890" y="404"/>
                    </a:lnTo>
                    <a:lnTo>
                      <a:pt x="890" y="404"/>
                    </a:lnTo>
                    <a:lnTo>
                      <a:pt x="890" y="404"/>
                    </a:lnTo>
                    <a:lnTo>
                      <a:pt x="888" y="404"/>
                    </a:lnTo>
                    <a:lnTo>
                      <a:pt x="888" y="404"/>
                    </a:lnTo>
                    <a:lnTo>
                      <a:pt x="888" y="406"/>
                    </a:lnTo>
                    <a:lnTo>
                      <a:pt x="888" y="406"/>
                    </a:lnTo>
                    <a:lnTo>
                      <a:pt x="888" y="406"/>
                    </a:lnTo>
                    <a:lnTo>
                      <a:pt x="888" y="409"/>
                    </a:lnTo>
                    <a:lnTo>
                      <a:pt x="888" y="409"/>
                    </a:lnTo>
                    <a:lnTo>
                      <a:pt x="888" y="409"/>
                    </a:lnTo>
                    <a:lnTo>
                      <a:pt x="886" y="409"/>
                    </a:lnTo>
                    <a:lnTo>
                      <a:pt x="886" y="411"/>
                    </a:lnTo>
                    <a:lnTo>
                      <a:pt x="886" y="411"/>
                    </a:lnTo>
                    <a:lnTo>
                      <a:pt x="886" y="411"/>
                    </a:lnTo>
                    <a:lnTo>
                      <a:pt x="886" y="411"/>
                    </a:lnTo>
                    <a:lnTo>
                      <a:pt x="886" y="411"/>
                    </a:lnTo>
                    <a:lnTo>
                      <a:pt x="883" y="411"/>
                    </a:lnTo>
                    <a:lnTo>
                      <a:pt x="883" y="413"/>
                    </a:lnTo>
                    <a:lnTo>
                      <a:pt x="883" y="411"/>
                    </a:lnTo>
                    <a:lnTo>
                      <a:pt x="883" y="413"/>
                    </a:lnTo>
                    <a:lnTo>
                      <a:pt x="881" y="413"/>
                    </a:lnTo>
                    <a:lnTo>
                      <a:pt x="881" y="413"/>
                    </a:lnTo>
                    <a:lnTo>
                      <a:pt x="881" y="413"/>
                    </a:lnTo>
                    <a:lnTo>
                      <a:pt x="879" y="416"/>
                    </a:lnTo>
                    <a:lnTo>
                      <a:pt x="876" y="416"/>
                    </a:lnTo>
                    <a:lnTo>
                      <a:pt x="876" y="416"/>
                    </a:lnTo>
                    <a:lnTo>
                      <a:pt x="876" y="416"/>
                    </a:lnTo>
                    <a:lnTo>
                      <a:pt x="876" y="416"/>
                    </a:lnTo>
                    <a:lnTo>
                      <a:pt x="874" y="416"/>
                    </a:lnTo>
                    <a:lnTo>
                      <a:pt x="874" y="416"/>
                    </a:lnTo>
                    <a:lnTo>
                      <a:pt x="871" y="416"/>
                    </a:lnTo>
                    <a:lnTo>
                      <a:pt x="869" y="418"/>
                    </a:lnTo>
                    <a:lnTo>
                      <a:pt x="869" y="418"/>
                    </a:lnTo>
                    <a:lnTo>
                      <a:pt x="871" y="420"/>
                    </a:lnTo>
                    <a:lnTo>
                      <a:pt x="869" y="420"/>
                    </a:lnTo>
                    <a:lnTo>
                      <a:pt x="869" y="420"/>
                    </a:lnTo>
                    <a:lnTo>
                      <a:pt x="869" y="420"/>
                    </a:lnTo>
                    <a:lnTo>
                      <a:pt x="867" y="420"/>
                    </a:lnTo>
                    <a:lnTo>
                      <a:pt x="867" y="423"/>
                    </a:lnTo>
                    <a:lnTo>
                      <a:pt x="864" y="423"/>
                    </a:lnTo>
                    <a:lnTo>
                      <a:pt x="862" y="420"/>
                    </a:lnTo>
                    <a:lnTo>
                      <a:pt x="860" y="420"/>
                    </a:lnTo>
                    <a:lnTo>
                      <a:pt x="860" y="420"/>
                    </a:lnTo>
                    <a:lnTo>
                      <a:pt x="857" y="420"/>
                    </a:lnTo>
                    <a:lnTo>
                      <a:pt x="857" y="420"/>
                    </a:lnTo>
                    <a:lnTo>
                      <a:pt x="855" y="420"/>
                    </a:lnTo>
                    <a:lnTo>
                      <a:pt x="853" y="420"/>
                    </a:lnTo>
                    <a:lnTo>
                      <a:pt x="850" y="420"/>
                    </a:lnTo>
                    <a:lnTo>
                      <a:pt x="850" y="420"/>
                    </a:lnTo>
                    <a:lnTo>
                      <a:pt x="850" y="420"/>
                    </a:lnTo>
                    <a:lnTo>
                      <a:pt x="850" y="420"/>
                    </a:lnTo>
                    <a:lnTo>
                      <a:pt x="848" y="420"/>
                    </a:lnTo>
                    <a:lnTo>
                      <a:pt x="848" y="420"/>
                    </a:lnTo>
                    <a:lnTo>
                      <a:pt x="845" y="420"/>
                    </a:lnTo>
                    <a:lnTo>
                      <a:pt x="848" y="423"/>
                    </a:lnTo>
                    <a:lnTo>
                      <a:pt x="848" y="425"/>
                    </a:lnTo>
                    <a:lnTo>
                      <a:pt x="848" y="427"/>
                    </a:lnTo>
                    <a:lnTo>
                      <a:pt x="848" y="427"/>
                    </a:lnTo>
                    <a:lnTo>
                      <a:pt x="848" y="427"/>
                    </a:lnTo>
                    <a:lnTo>
                      <a:pt x="845" y="427"/>
                    </a:lnTo>
                    <a:lnTo>
                      <a:pt x="845" y="427"/>
                    </a:lnTo>
                    <a:lnTo>
                      <a:pt x="843" y="427"/>
                    </a:lnTo>
                    <a:lnTo>
                      <a:pt x="843" y="430"/>
                    </a:lnTo>
                    <a:lnTo>
                      <a:pt x="841" y="427"/>
                    </a:lnTo>
                    <a:lnTo>
                      <a:pt x="838" y="427"/>
                    </a:lnTo>
                    <a:lnTo>
                      <a:pt x="838" y="427"/>
                    </a:lnTo>
                    <a:lnTo>
                      <a:pt x="836" y="427"/>
                    </a:lnTo>
                    <a:lnTo>
                      <a:pt x="836" y="427"/>
                    </a:lnTo>
                    <a:lnTo>
                      <a:pt x="834" y="430"/>
                    </a:lnTo>
                    <a:lnTo>
                      <a:pt x="836" y="430"/>
                    </a:lnTo>
                    <a:lnTo>
                      <a:pt x="836" y="435"/>
                    </a:lnTo>
                    <a:lnTo>
                      <a:pt x="834" y="435"/>
                    </a:lnTo>
                    <a:lnTo>
                      <a:pt x="834" y="435"/>
                    </a:lnTo>
                    <a:lnTo>
                      <a:pt x="831" y="435"/>
                    </a:lnTo>
                    <a:lnTo>
                      <a:pt x="831" y="437"/>
                    </a:lnTo>
                    <a:lnTo>
                      <a:pt x="831" y="437"/>
                    </a:lnTo>
                    <a:lnTo>
                      <a:pt x="829" y="439"/>
                    </a:lnTo>
                    <a:lnTo>
                      <a:pt x="827" y="439"/>
                    </a:lnTo>
                    <a:lnTo>
                      <a:pt x="824" y="439"/>
                    </a:lnTo>
                    <a:lnTo>
                      <a:pt x="824" y="439"/>
                    </a:lnTo>
                    <a:lnTo>
                      <a:pt x="822" y="439"/>
                    </a:lnTo>
                    <a:lnTo>
                      <a:pt x="822" y="442"/>
                    </a:lnTo>
                    <a:lnTo>
                      <a:pt x="819" y="442"/>
                    </a:lnTo>
                    <a:lnTo>
                      <a:pt x="819" y="442"/>
                    </a:lnTo>
                    <a:lnTo>
                      <a:pt x="817" y="442"/>
                    </a:lnTo>
                    <a:lnTo>
                      <a:pt x="815" y="444"/>
                    </a:lnTo>
                    <a:lnTo>
                      <a:pt x="812" y="444"/>
                    </a:lnTo>
                    <a:lnTo>
                      <a:pt x="810" y="449"/>
                    </a:lnTo>
                    <a:lnTo>
                      <a:pt x="810" y="451"/>
                    </a:lnTo>
                    <a:lnTo>
                      <a:pt x="808" y="453"/>
                    </a:lnTo>
                    <a:lnTo>
                      <a:pt x="805" y="456"/>
                    </a:lnTo>
                    <a:lnTo>
                      <a:pt x="803" y="458"/>
                    </a:lnTo>
                    <a:lnTo>
                      <a:pt x="801" y="456"/>
                    </a:lnTo>
                    <a:lnTo>
                      <a:pt x="798" y="472"/>
                    </a:lnTo>
                    <a:lnTo>
                      <a:pt x="796" y="470"/>
                    </a:lnTo>
                    <a:lnTo>
                      <a:pt x="796" y="472"/>
                    </a:lnTo>
                    <a:lnTo>
                      <a:pt x="796" y="470"/>
                    </a:lnTo>
                    <a:lnTo>
                      <a:pt x="796" y="472"/>
                    </a:lnTo>
                    <a:lnTo>
                      <a:pt x="793" y="472"/>
                    </a:lnTo>
                    <a:lnTo>
                      <a:pt x="793" y="470"/>
                    </a:lnTo>
                    <a:lnTo>
                      <a:pt x="793" y="472"/>
                    </a:lnTo>
                    <a:lnTo>
                      <a:pt x="793" y="470"/>
                    </a:lnTo>
                    <a:lnTo>
                      <a:pt x="793" y="468"/>
                    </a:lnTo>
                    <a:lnTo>
                      <a:pt x="791" y="468"/>
                    </a:lnTo>
                    <a:lnTo>
                      <a:pt x="791" y="468"/>
                    </a:lnTo>
                    <a:lnTo>
                      <a:pt x="791" y="468"/>
                    </a:lnTo>
                    <a:lnTo>
                      <a:pt x="789" y="468"/>
                    </a:lnTo>
                    <a:lnTo>
                      <a:pt x="789" y="468"/>
                    </a:lnTo>
                    <a:lnTo>
                      <a:pt x="786" y="468"/>
                    </a:lnTo>
                    <a:lnTo>
                      <a:pt x="786" y="465"/>
                    </a:lnTo>
                    <a:lnTo>
                      <a:pt x="786" y="468"/>
                    </a:lnTo>
                    <a:lnTo>
                      <a:pt x="786" y="465"/>
                    </a:lnTo>
                    <a:lnTo>
                      <a:pt x="784" y="465"/>
                    </a:lnTo>
                    <a:lnTo>
                      <a:pt x="784" y="465"/>
                    </a:lnTo>
                    <a:lnTo>
                      <a:pt x="784" y="465"/>
                    </a:lnTo>
                    <a:lnTo>
                      <a:pt x="784" y="465"/>
                    </a:lnTo>
                    <a:lnTo>
                      <a:pt x="784" y="463"/>
                    </a:lnTo>
                    <a:lnTo>
                      <a:pt x="782" y="463"/>
                    </a:lnTo>
                    <a:lnTo>
                      <a:pt x="782" y="463"/>
                    </a:lnTo>
                    <a:lnTo>
                      <a:pt x="779" y="463"/>
                    </a:lnTo>
                    <a:lnTo>
                      <a:pt x="779" y="463"/>
                    </a:lnTo>
                    <a:lnTo>
                      <a:pt x="777" y="460"/>
                    </a:lnTo>
                    <a:lnTo>
                      <a:pt x="777" y="460"/>
                    </a:lnTo>
                    <a:lnTo>
                      <a:pt x="775" y="460"/>
                    </a:lnTo>
                    <a:lnTo>
                      <a:pt x="775" y="463"/>
                    </a:lnTo>
                    <a:lnTo>
                      <a:pt x="775" y="460"/>
                    </a:lnTo>
                    <a:lnTo>
                      <a:pt x="772" y="460"/>
                    </a:lnTo>
                    <a:lnTo>
                      <a:pt x="772" y="463"/>
                    </a:lnTo>
                    <a:lnTo>
                      <a:pt x="770" y="463"/>
                    </a:lnTo>
                    <a:lnTo>
                      <a:pt x="770" y="463"/>
                    </a:lnTo>
                    <a:lnTo>
                      <a:pt x="767" y="463"/>
                    </a:lnTo>
                    <a:lnTo>
                      <a:pt x="767" y="463"/>
                    </a:lnTo>
                    <a:lnTo>
                      <a:pt x="767" y="463"/>
                    </a:lnTo>
                    <a:lnTo>
                      <a:pt x="765" y="463"/>
                    </a:lnTo>
                    <a:lnTo>
                      <a:pt x="763" y="465"/>
                    </a:lnTo>
                    <a:lnTo>
                      <a:pt x="763" y="463"/>
                    </a:lnTo>
                    <a:lnTo>
                      <a:pt x="760" y="463"/>
                    </a:lnTo>
                    <a:lnTo>
                      <a:pt x="760" y="463"/>
                    </a:lnTo>
                    <a:lnTo>
                      <a:pt x="758" y="463"/>
                    </a:lnTo>
                    <a:lnTo>
                      <a:pt x="758" y="463"/>
                    </a:lnTo>
                    <a:lnTo>
                      <a:pt x="758" y="463"/>
                    </a:lnTo>
                    <a:lnTo>
                      <a:pt x="758" y="463"/>
                    </a:lnTo>
                    <a:lnTo>
                      <a:pt x="756" y="463"/>
                    </a:lnTo>
                    <a:lnTo>
                      <a:pt x="756" y="465"/>
                    </a:lnTo>
                    <a:lnTo>
                      <a:pt x="756" y="465"/>
                    </a:lnTo>
                    <a:lnTo>
                      <a:pt x="753" y="465"/>
                    </a:lnTo>
                    <a:lnTo>
                      <a:pt x="753" y="465"/>
                    </a:lnTo>
                    <a:lnTo>
                      <a:pt x="753" y="468"/>
                    </a:lnTo>
                    <a:lnTo>
                      <a:pt x="751" y="468"/>
                    </a:lnTo>
                    <a:lnTo>
                      <a:pt x="751" y="468"/>
                    </a:lnTo>
                    <a:lnTo>
                      <a:pt x="749" y="470"/>
                    </a:lnTo>
                    <a:lnTo>
                      <a:pt x="749" y="470"/>
                    </a:lnTo>
                    <a:lnTo>
                      <a:pt x="749" y="470"/>
                    </a:lnTo>
                    <a:lnTo>
                      <a:pt x="746" y="472"/>
                    </a:lnTo>
                    <a:lnTo>
                      <a:pt x="746" y="472"/>
                    </a:lnTo>
                    <a:lnTo>
                      <a:pt x="746" y="475"/>
                    </a:lnTo>
                    <a:lnTo>
                      <a:pt x="749" y="475"/>
                    </a:lnTo>
                    <a:lnTo>
                      <a:pt x="749" y="475"/>
                    </a:lnTo>
                    <a:lnTo>
                      <a:pt x="749" y="477"/>
                    </a:lnTo>
                    <a:lnTo>
                      <a:pt x="749" y="477"/>
                    </a:lnTo>
                    <a:lnTo>
                      <a:pt x="746" y="477"/>
                    </a:lnTo>
                    <a:lnTo>
                      <a:pt x="749" y="479"/>
                    </a:lnTo>
                    <a:lnTo>
                      <a:pt x="746" y="479"/>
                    </a:lnTo>
                    <a:lnTo>
                      <a:pt x="746" y="482"/>
                    </a:lnTo>
                    <a:lnTo>
                      <a:pt x="744" y="482"/>
                    </a:lnTo>
                    <a:lnTo>
                      <a:pt x="741" y="484"/>
                    </a:lnTo>
                    <a:lnTo>
                      <a:pt x="741" y="484"/>
                    </a:lnTo>
                    <a:lnTo>
                      <a:pt x="741" y="484"/>
                    </a:lnTo>
                    <a:lnTo>
                      <a:pt x="739" y="486"/>
                    </a:lnTo>
                    <a:lnTo>
                      <a:pt x="739" y="486"/>
                    </a:lnTo>
                    <a:lnTo>
                      <a:pt x="737" y="491"/>
                    </a:lnTo>
                    <a:lnTo>
                      <a:pt x="737" y="491"/>
                    </a:lnTo>
                    <a:lnTo>
                      <a:pt x="734" y="494"/>
                    </a:lnTo>
                    <a:lnTo>
                      <a:pt x="734" y="494"/>
                    </a:lnTo>
                    <a:lnTo>
                      <a:pt x="734" y="494"/>
                    </a:lnTo>
                    <a:lnTo>
                      <a:pt x="734" y="496"/>
                    </a:lnTo>
                    <a:lnTo>
                      <a:pt x="732" y="496"/>
                    </a:lnTo>
                    <a:lnTo>
                      <a:pt x="732" y="498"/>
                    </a:lnTo>
                    <a:lnTo>
                      <a:pt x="732" y="501"/>
                    </a:lnTo>
                    <a:lnTo>
                      <a:pt x="732" y="501"/>
                    </a:lnTo>
                    <a:lnTo>
                      <a:pt x="730" y="503"/>
                    </a:lnTo>
                    <a:lnTo>
                      <a:pt x="730" y="503"/>
                    </a:lnTo>
                    <a:lnTo>
                      <a:pt x="727" y="505"/>
                    </a:lnTo>
                    <a:lnTo>
                      <a:pt x="727" y="505"/>
                    </a:lnTo>
                    <a:lnTo>
                      <a:pt x="725" y="508"/>
                    </a:lnTo>
                    <a:lnTo>
                      <a:pt x="725" y="508"/>
                    </a:lnTo>
                    <a:lnTo>
                      <a:pt x="723" y="508"/>
                    </a:lnTo>
                    <a:lnTo>
                      <a:pt x="720" y="508"/>
                    </a:lnTo>
                    <a:lnTo>
                      <a:pt x="720" y="508"/>
                    </a:lnTo>
                    <a:lnTo>
                      <a:pt x="720" y="510"/>
                    </a:lnTo>
                    <a:lnTo>
                      <a:pt x="718" y="510"/>
                    </a:lnTo>
                    <a:lnTo>
                      <a:pt x="718" y="510"/>
                    </a:lnTo>
                    <a:lnTo>
                      <a:pt x="716" y="510"/>
                    </a:lnTo>
                    <a:lnTo>
                      <a:pt x="711" y="510"/>
                    </a:lnTo>
                    <a:lnTo>
                      <a:pt x="711" y="512"/>
                    </a:lnTo>
                    <a:lnTo>
                      <a:pt x="711" y="512"/>
                    </a:lnTo>
                    <a:lnTo>
                      <a:pt x="711" y="515"/>
                    </a:lnTo>
                    <a:lnTo>
                      <a:pt x="711" y="515"/>
                    </a:lnTo>
                    <a:lnTo>
                      <a:pt x="711" y="515"/>
                    </a:lnTo>
                    <a:lnTo>
                      <a:pt x="708" y="515"/>
                    </a:lnTo>
                    <a:lnTo>
                      <a:pt x="708" y="515"/>
                    </a:lnTo>
                    <a:lnTo>
                      <a:pt x="708" y="515"/>
                    </a:lnTo>
                    <a:lnTo>
                      <a:pt x="706" y="512"/>
                    </a:lnTo>
                    <a:lnTo>
                      <a:pt x="704" y="515"/>
                    </a:lnTo>
                    <a:lnTo>
                      <a:pt x="699" y="515"/>
                    </a:lnTo>
                    <a:lnTo>
                      <a:pt x="697" y="517"/>
                    </a:lnTo>
                    <a:lnTo>
                      <a:pt x="697" y="520"/>
                    </a:lnTo>
                    <a:lnTo>
                      <a:pt x="694" y="520"/>
                    </a:lnTo>
                    <a:lnTo>
                      <a:pt x="692" y="522"/>
                    </a:lnTo>
                    <a:lnTo>
                      <a:pt x="692" y="522"/>
                    </a:lnTo>
                    <a:lnTo>
                      <a:pt x="682" y="524"/>
                    </a:lnTo>
                    <a:lnTo>
                      <a:pt x="671" y="529"/>
                    </a:lnTo>
                    <a:lnTo>
                      <a:pt x="671" y="524"/>
                    </a:lnTo>
                    <a:lnTo>
                      <a:pt x="668" y="524"/>
                    </a:lnTo>
                    <a:lnTo>
                      <a:pt x="671" y="522"/>
                    </a:lnTo>
                    <a:lnTo>
                      <a:pt x="668" y="522"/>
                    </a:lnTo>
                    <a:lnTo>
                      <a:pt x="666" y="522"/>
                    </a:lnTo>
                    <a:lnTo>
                      <a:pt x="666" y="522"/>
                    </a:lnTo>
                    <a:lnTo>
                      <a:pt x="666" y="520"/>
                    </a:lnTo>
                    <a:lnTo>
                      <a:pt x="664" y="520"/>
                    </a:lnTo>
                    <a:lnTo>
                      <a:pt x="664" y="520"/>
                    </a:lnTo>
                    <a:lnTo>
                      <a:pt x="664" y="517"/>
                    </a:lnTo>
                    <a:lnTo>
                      <a:pt x="664" y="515"/>
                    </a:lnTo>
                    <a:lnTo>
                      <a:pt x="664" y="515"/>
                    </a:lnTo>
                    <a:lnTo>
                      <a:pt x="664" y="512"/>
                    </a:lnTo>
                    <a:lnTo>
                      <a:pt x="666" y="512"/>
                    </a:lnTo>
                    <a:lnTo>
                      <a:pt x="666" y="512"/>
                    </a:lnTo>
                    <a:lnTo>
                      <a:pt x="666" y="512"/>
                    </a:lnTo>
                    <a:lnTo>
                      <a:pt x="666" y="510"/>
                    </a:lnTo>
                    <a:lnTo>
                      <a:pt x="666" y="510"/>
                    </a:lnTo>
                    <a:lnTo>
                      <a:pt x="664" y="510"/>
                    </a:lnTo>
                    <a:lnTo>
                      <a:pt x="664" y="510"/>
                    </a:lnTo>
                    <a:lnTo>
                      <a:pt x="664" y="510"/>
                    </a:lnTo>
                    <a:lnTo>
                      <a:pt x="664" y="510"/>
                    </a:lnTo>
                    <a:lnTo>
                      <a:pt x="664" y="510"/>
                    </a:lnTo>
                    <a:lnTo>
                      <a:pt x="661" y="510"/>
                    </a:lnTo>
                    <a:lnTo>
                      <a:pt x="661" y="508"/>
                    </a:lnTo>
                    <a:lnTo>
                      <a:pt x="661" y="510"/>
                    </a:lnTo>
                    <a:lnTo>
                      <a:pt x="661" y="510"/>
                    </a:lnTo>
                    <a:lnTo>
                      <a:pt x="661" y="510"/>
                    </a:lnTo>
                    <a:lnTo>
                      <a:pt x="659" y="508"/>
                    </a:lnTo>
                    <a:lnTo>
                      <a:pt x="659" y="508"/>
                    </a:lnTo>
                    <a:lnTo>
                      <a:pt x="659" y="508"/>
                    </a:lnTo>
                    <a:lnTo>
                      <a:pt x="659" y="508"/>
                    </a:lnTo>
                    <a:lnTo>
                      <a:pt x="656" y="508"/>
                    </a:lnTo>
                    <a:lnTo>
                      <a:pt x="659" y="510"/>
                    </a:lnTo>
                    <a:lnTo>
                      <a:pt x="656" y="510"/>
                    </a:lnTo>
                    <a:lnTo>
                      <a:pt x="656" y="510"/>
                    </a:lnTo>
                    <a:lnTo>
                      <a:pt x="656" y="510"/>
                    </a:lnTo>
                    <a:lnTo>
                      <a:pt x="654" y="510"/>
                    </a:lnTo>
                    <a:lnTo>
                      <a:pt x="656" y="508"/>
                    </a:lnTo>
                    <a:lnTo>
                      <a:pt x="654" y="508"/>
                    </a:lnTo>
                    <a:lnTo>
                      <a:pt x="654" y="510"/>
                    </a:lnTo>
                    <a:lnTo>
                      <a:pt x="654" y="508"/>
                    </a:lnTo>
                    <a:lnTo>
                      <a:pt x="654" y="508"/>
                    </a:lnTo>
                    <a:lnTo>
                      <a:pt x="654" y="508"/>
                    </a:lnTo>
                    <a:lnTo>
                      <a:pt x="652" y="510"/>
                    </a:lnTo>
                    <a:lnTo>
                      <a:pt x="652" y="510"/>
                    </a:lnTo>
                    <a:lnTo>
                      <a:pt x="649" y="510"/>
                    </a:lnTo>
                    <a:lnTo>
                      <a:pt x="649" y="510"/>
                    </a:lnTo>
                    <a:lnTo>
                      <a:pt x="649" y="510"/>
                    </a:lnTo>
                    <a:lnTo>
                      <a:pt x="647" y="510"/>
                    </a:lnTo>
                    <a:lnTo>
                      <a:pt x="649" y="510"/>
                    </a:lnTo>
                    <a:lnTo>
                      <a:pt x="649" y="510"/>
                    </a:lnTo>
                    <a:lnTo>
                      <a:pt x="649" y="512"/>
                    </a:lnTo>
                    <a:lnTo>
                      <a:pt x="649" y="512"/>
                    </a:lnTo>
                    <a:lnTo>
                      <a:pt x="647" y="510"/>
                    </a:lnTo>
                    <a:lnTo>
                      <a:pt x="647" y="510"/>
                    </a:lnTo>
                    <a:lnTo>
                      <a:pt x="647" y="510"/>
                    </a:lnTo>
                    <a:lnTo>
                      <a:pt x="645" y="512"/>
                    </a:lnTo>
                    <a:lnTo>
                      <a:pt x="645" y="510"/>
                    </a:lnTo>
                    <a:lnTo>
                      <a:pt x="642" y="510"/>
                    </a:lnTo>
                    <a:lnTo>
                      <a:pt x="640" y="510"/>
                    </a:lnTo>
                    <a:lnTo>
                      <a:pt x="640" y="510"/>
                    </a:lnTo>
                    <a:lnTo>
                      <a:pt x="640" y="510"/>
                    </a:lnTo>
                    <a:lnTo>
                      <a:pt x="640" y="508"/>
                    </a:lnTo>
                    <a:lnTo>
                      <a:pt x="638" y="508"/>
                    </a:lnTo>
                    <a:lnTo>
                      <a:pt x="638" y="508"/>
                    </a:lnTo>
                    <a:lnTo>
                      <a:pt x="635" y="508"/>
                    </a:lnTo>
                    <a:lnTo>
                      <a:pt x="635" y="508"/>
                    </a:lnTo>
                    <a:lnTo>
                      <a:pt x="635" y="510"/>
                    </a:lnTo>
                    <a:lnTo>
                      <a:pt x="635" y="510"/>
                    </a:lnTo>
                    <a:lnTo>
                      <a:pt x="635" y="510"/>
                    </a:lnTo>
                    <a:lnTo>
                      <a:pt x="633" y="510"/>
                    </a:lnTo>
                    <a:lnTo>
                      <a:pt x="633" y="510"/>
                    </a:lnTo>
                    <a:lnTo>
                      <a:pt x="630" y="510"/>
                    </a:lnTo>
                    <a:lnTo>
                      <a:pt x="633" y="508"/>
                    </a:lnTo>
                    <a:lnTo>
                      <a:pt x="633" y="508"/>
                    </a:lnTo>
                    <a:lnTo>
                      <a:pt x="630" y="508"/>
                    </a:lnTo>
                    <a:lnTo>
                      <a:pt x="630" y="505"/>
                    </a:lnTo>
                    <a:lnTo>
                      <a:pt x="630" y="505"/>
                    </a:lnTo>
                    <a:lnTo>
                      <a:pt x="628" y="505"/>
                    </a:lnTo>
                    <a:lnTo>
                      <a:pt x="628" y="505"/>
                    </a:lnTo>
                    <a:lnTo>
                      <a:pt x="628" y="505"/>
                    </a:lnTo>
                    <a:lnTo>
                      <a:pt x="626" y="505"/>
                    </a:lnTo>
                    <a:lnTo>
                      <a:pt x="626" y="503"/>
                    </a:lnTo>
                    <a:lnTo>
                      <a:pt x="623" y="505"/>
                    </a:lnTo>
                    <a:lnTo>
                      <a:pt x="623" y="505"/>
                    </a:lnTo>
                    <a:lnTo>
                      <a:pt x="621" y="505"/>
                    </a:lnTo>
                    <a:lnTo>
                      <a:pt x="619" y="505"/>
                    </a:lnTo>
                    <a:lnTo>
                      <a:pt x="619" y="505"/>
                    </a:lnTo>
                    <a:lnTo>
                      <a:pt x="619" y="505"/>
                    </a:lnTo>
                    <a:lnTo>
                      <a:pt x="616" y="505"/>
                    </a:lnTo>
                    <a:lnTo>
                      <a:pt x="616" y="503"/>
                    </a:lnTo>
                    <a:lnTo>
                      <a:pt x="616" y="505"/>
                    </a:lnTo>
                    <a:lnTo>
                      <a:pt x="614" y="505"/>
                    </a:lnTo>
                    <a:lnTo>
                      <a:pt x="616" y="503"/>
                    </a:lnTo>
                    <a:lnTo>
                      <a:pt x="614" y="503"/>
                    </a:lnTo>
                    <a:lnTo>
                      <a:pt x="614" y="503"/>
                    </a:lnTo>
                    <a:lnTo>
                      <a:pt x="612" y="503"/>
                    </a:lnTo>
                    <a:lnTo>
                      <a:pt x="612" y="503"/>
                    </a:lnTo>
                    <a:lnTo>
                      <a:pt x="609" y="503"/>
                    </a:lnTo>
                    <a:lnTo>
                      <a:pt x="609" y="503"/>
                    </a:lnTo>
                    <a:lnTo>
                      <a:pt x="607" y="503"/>
                    </a:lnTo>
                    <a:lnTo>
                      <a:pt x="607" y="503"/>
                    </a:lnTo>
                    <a:lnTo>
                      <a:pt x="604" y="501"/>
                    </a:lnTo>
                    <a:lnTo>
                      <a:pt x="602" y="503"/>
                    </a:lnTo>
                    <a:lnTo>
                      <a:pt x="602" y="501"/>
                    </a:lnTo>
                    <a:lnTo>
                      <a:pt x="602" y="501"/>
                    </a:lnTo>
                    <a:lnTo>
                      <a:pt x="602" y="501"/>
                    </a:lnTo>
                    <a:lnTo>
                      <a:pt x="600" y="501"/>
                    </a:lnTo>
                    <a:lnTo>
                      <a:pt x="600" y="503"/>
                    </a:lnTo>
                    <a:lnTo>
                      <a:pt x="600" y="503"/>
                    </a:lnTo>
                    <a:lnTo>
                      <a:pt x="600" y="503"/>
                    </a:lnTo>
                    <a:lnTo>
                      <a:pt x="597" y="501"/>
                    </a:lnTo>
                    <a:lnTo>
                      <a:pt x="597" y="501"/>
                    </a:lnTo>
                    <a:lnTo>
                      <a:pt x="597" y="503"/>
                    </a:lnTo>
                    <a:lnTo>
                      <a:pt x="597" y="501"/>
                    </a:lnTo>
                    <a:lnTo>
                      <a:pt x="595" y="503"/>
                    </a:lnTo>
                    <a:lnTo>
                      <a:pt x="593" y="501"/>
                    </a:lnTo>
                    <a:lnTo>
                      <a:pt x="593" y="501"/>
                    </a:lnTo>
                    <a:lnTo>
                      <a:pt x="593" y="503"/>
                    </a:lnTo>
                    <a:lnTo>
                      <a:pt x="590" y="503"/>
                    </a:lnTo>
                    <a:lnTo>
                      <a:pt x="590" y="501"/>
                    </a:lnTo>
                    <a:lnTo>
                      <a:pt x="590" y="503"/>
                    </a:lnTo>
                    <a:lnTo>
                      <a:pt x="590" y="503"/>
                    </a:lnTo>
                    <a:lnTo>
                      <a:pt x="590" y="501"/>
                    </a:lnTo>
                    <a:lnTo>
                      <a:pt x="588" y="501"/>
                    </a:lnTo>
                    <a:lnTo>
                      <a:pt x="588" y="501"/>
                    </a:lnTo>
                    <a:lnTo>
                      <a:pt x="588" y="501"/>
                    </a:lnTo>
                    <a:lnTo>
                      <a:pt x="586" y="503"/>
                    </a:lnTo>
                    <a:lnTo>
                      <a:pt x="586" y="501"/>
                    </a:lnTo>
                    <a:lnTo>
                      <a:pt x="586" y="501"/>
                    </a:lnTo>
                    <a:lnTo>
                      <a:pt x="583" y="501"/>
                    </a:lnTo>
                    <a:lnTo>
                      <a:pt x="583" y="501"/>
                    </a:lnTo>
                    <a:lnTo>
                      <a:pt x="583" y="501"/>
                    </a:lnTo>
                    <a:lnTo>
                      <a:pt x="583" y="501"/>
                    </a:lnTo>
                    <a:lnTo>
                      <a:pt x="583" y="501"/>
                    </a:lnTo>
                    <a:lnTo>
                      <a:pt x="581" y="501"/>
                    </a:lnTo>
                    <a:lnTo>
                      <a:pt x="581" y="498"/>
                    </a:lnTo>
                    <a:lnTo>
                      <a:pt x="581" y="498"/>
                    </a:lnTo>
                    <a:lnTo>
                      <a:pt x="578" y="501"/>
                    </a:lnTo>
                    <a:lnTo>
                      <a:pt x="576" y="501"/>
                    </a:lnTo>
                    <a:lnTo>
                      <a:pt x="576" y="503"/>
                    </a:lnTo>
                    <a:lnTo>
                      <a:pt x="576" y="501"/>
                    </a:lnTo>
                    <a:lnTo>
                      <a:pt x="576" y="503"/>
                    </a:lnTo>
                    <a:lnTo>
                      <a:pt x="574" y="503"/>
                    </a:lnTo>
                    <a:lnTo>
                      <a:pt x="574" y="501"/>
                    </a:lnTo>
                    <a:lnTo>
                      <a:pt x="574" y="503"/>
                    </a:lnTo>
                    <a:lnTo>
                      <a:pt x="574" y="503"/>
                    </a:lnTo>
                    <a:lnTo>
                      <a:pt x="571" y="503"/>
                    </a:lnTo>
                    <a:lnTo>
                      <a:pt x="571" y="503"/>
                    </a:lnTo>
                    <a:lnTo>
                      <a:pt x="571" y="501"/>
                    </a:lnTo>
                    <a:lnTo>
                      <a:pt x="569" y="501"/>
                    </a:lnTo>
                    <a:lnTo>
                      <a:pt x="567" y="501"/>
                    </a:lnTo>
                    <a:lnTo>
                      <a:pt x="564" y="501"/>
                    </a:lnTo>
                    <a:lnTo>
                      <a:pt x="564" y="503"/>
                    </a:lnTo>
                    <a:lnTo>
                      <a:pt x="564" y="503"/>
                    </a:lnTo>
                    <a:lnTo>
                      <a:pt x="564" y="503"/>
                    </a:lnTo>
                    <a:lnTo>
                      <a:pt x="564" y="501"/>
                    </a:lnTo>
                    <a:lnTo>
                      <a:pt x="560" y="501"/>
                    </a:lnTo>
                    <a:lnTo>
                      <a:pt x="560" y="501"/>
                    </a:lnTo>
                    <a:lnTo>
                      <a:pt x="560" y="503"/>
                    </a:lnTo>
                    <a:lnTo>
                      <a:pt x="557" y="501"/>
                    </a:lnTo>
                    <a:lnTo>
                      <a:pt x="555" y="501"/>
                    </a:lnTo>
                    <a:lnTo>
                      <a:pt x="555" y="503"/>
                    </a:lnTo>
                    <a:lnTo>
                      <a:pt x="555" y="503"/>
                    </a:lnTo>
                    <a:lnTo>
                      <a:pt x="553" y="503"/>
                    </a:lnTo>
                    <a:lnTo>
                      <a:pt x="550" y="503"/>
                    </a:lnTo>
                    <a:lnTo>
                      <a:pt x="548" y="503"/>
                    </a:lnTo>
                    <a:lnTo>
                      <a:pt x="548" y="503"/>
                    </a:lnTo>
                    <a:lnTo>
                      <a:pt x="545" y="503"/>
                    </a:lnTo>
                    <a:lnTo>
                      <a:pt x="545" y="505"/>
                    </a:lnTo>
                    <a:lnTo>
                      <a:pt x="545" y="503"/>
                    </a:lnTo>
                    <a:lnTo>
                      <a:pt x="543" y="505"/>
                    </a:lnTo>
                    <a:lnTo>
                      <a:pt x="543" y="503"/>
                    </a:lnTo>
                    <a:lnTo>
                      <a:pt x="541" y="505"/>
                    </a:lnTo>
                    <a:lnTo>
                      <a:pt x="538" y="505"/>
                    </a:lnTo>
                    <a:lnTo>
                      <a:pt x="541" y="503"/>
                    </a:lnTo>
                    <a:lnTo>
                      <a:pt x="538" y="503"/>
                    </a:lnTo>
                    <a:lnTo>
                      <a:pt x="538" y="503"/>
                    </a:lnTo>
                    <a:lnTo>
                      <a:pt x="538" y="501"/>
                    </a:lnTo>
                    <a:lnTo>
                      <a:pt x="536" y="501"/>
                    </a:lnTo>
                    <a:lnTo>
                      <a:pt x="536" y="501"/>
                    </a:lnTo>
                    <a:lnTo>
                      <a:pt x="536" y="501"/>
                    </a:lnTo>
                    <a:lnTo>
                      <a:pt x="536" y="501"/>
                    </a:lnTo>
                    <a:lnTo>
                      <a:pt x="534" y="501"/>
                    </a:lnTo>
                    <a:lnTo>
                      <a:pt x="534" y="501"/>
                    </a:lnTo>
                    <a:lnTo>
                      <a:pt x="534" y="501"/>
                    </a:lnTo>
                    <a:lnTo>
                      <a:pt x="534" y="498"/>
                    </a:lnTo>
                    <a:lnTo>
                      <a:pt x="531" y="498"/>
                    </a:lnTo>
                    <a:lnTo>
                      <a:pt x="531" y="501"/>
                    </a:lnTo>
                    <a:lnTo>
                      <a:pt x="529" y="501"/>
                    </a:lnTo>
                    <a:lnTo>
                      <a:pt x="527" y="501"/>
                    </a:lnTo>
                    <a:lnTo>
                      <a:pt x="527" y="498"/>
                    </a:lnTo>
                    <a:lnTo>
                      <a:pt x="524" y="501"/>
                    </a:lnTo>
                    <a:lnTo>
                      <a:pt x="524" y="498"/>
                    </a:lnTo>
                    <a:lnTo>
                      <a:pt x="524" y="501"/>
                    </a:lnTo>
                    <a:lnTo>
                      <a:pt x="522" y="498"/>
                    </a:lnTo>
                    <a:lnTo>
                      <a:pt x="519" y="498"/>
                    </a:lnTo>
                    <a:lnTo>
                      <a:pt x="517" y="498"/>
                    </a:lnTo>
                    <a:lnTo>
                      <a:pt x="517" y="501"/>
                    </a:lnTo>
                    <a:lnTo>
                      <a:pt x="517" y="498"/>
                    </a:lnTo>
                    <a:lnTo>
                      <a:pt x="515" y="498"/>
                    </a:lnTo>
                    <a:lnTo>
                      <a:pt x="512" y="498"/>
                    </a:lnTo>
                    <a:lnTo>
                      <a:pt x="512" y="501"/>
                    </a:lnTo>
                    <a:lnTo>
                      <a:pt x="512" y="501"/>
                    </a:lnTo>
                    <a:lnTo>
                      <a:pt x="510" y="501"/>
                    </a:lnTo>
                    <a:lnTo>
                      <a:pt x="510" y="503"/>
                    </a:lnTo>
                    <a:lnTo>
                      <a:pt x="510" y="501"/>
                    </a:lnTo>
                    <a:lnTo>
                      <a:pt x="508" y="503"/>
                    </a:lnTo>
                    <a:lnTo>
                      <a:pt x="508" y="503"/>
                    </a:lnTo>
                    <a:lnTo>
                      <a:pt x="508" y="503"/>
                    </a:lnTo>
                    <a:lnTo>
                      <a:pt x="508" y="503"/>
                    </a:lnTo>
                    <a:lnTo>
                      <a:pt x="505" y="503"/>
                    </a:lnTo>
                    <a:lnTo>
                      <a:pt x="505" y="505"/>
                    </a:lnTo>
                    <a:lnTo>
                      <a:pt x="503" y="505"/>
                    </a:lnTo>
                    <a:lnTo>
                      <a:pt x="503" y="505"/>
                    </a:lnTo>
                    <a:lnTo>
                      <a:pt x="503" y="505"/>
                    </a:lnTo>
                    <a:lnTo>
                      <a:pt x="503" y="505"/>
                    </a:lnTo>
                    <a:lnTo>
                      <a:pt x="501" y="505"/>
                    </a:lnTo>
                    <a:lnTo>
                      <a:pt x="501" y="505"/>
                    </a:lnTo>
                    <a:lnTo>
                      <a:pt x="501" y="505"/>
                    </a:lnTo>
                    <a:lnTo>
                      <a:pt x="501" y="505"/>
                    </a:lnTo>
                    <a:lnTo>
                      <a:pt x="498" y="505"/>
                    </a:lnTo>
                    <a:lnTo>
                      <a:pt x="498" y="508"/>
                    </a:lnTo>
                    <a:lnTo>
                      <a:pt x="498" y="508"/>
                    </a:lnTo>
                    <a:lnTo>
                      <a:pt x="498" y="508"/>
                    </a:lnTo>
                    <a:lnTo>
                      <a:pt x="496" y="508"/>
                    </a:lnTo>
                    <a:lnTo>
                      <a:pt x="496" y="505"/>
                    </a:lnTo>
                    <a:lnTo>
                      <a:pt x="496" y="508"/>
                    </a:lnTo>
                    <a:lnTo>
                      <a:pt x="496" y="505"/>
                    </a:lnTo>
                    <a:lnTo>
                      <a:pt x="496" y="508"/>
                    </a:lnTo>
                    <a:lnTo>
                      <a:pt x="493" y="508"/>
                    </a:lnTo>
                    <a:lnTo>
                      <a:pt x="496" y="508"/>
                    </a:lnTo>
                    <a:lnTo>
                      <a:pt x="493" y="508"/>
                    </a:lnTo>
                    <a:lnTo>
                      <a:pt x="493" y="510"/>
                    </a:lnTo>
                    <a:lnTo>
                      <a:pt x="493" y="510"/>
                    </a:lnTo>
                    <a:lnTo>
                      <a:pt x="491" y="510"/>
                    </a:lnTo>
                    <a:lnTo>
                      <a:pt x="491" y="510"/>
                    </a:lnTo>
                    <a:lnTo>
                      <a:pt x="491" y="510"/>
                    </a:lnTo>
                    <a:lnTo>
                      <a:pt x="491" y="512"/>
                    </a:lnTo>
                    <a:lnTo>
                      <a:pt x="489" y="512"/>
                    </a:lnTo>
                    <a:lnTo>
                      <a:pt x="489" y="512"/>
                    </a:lnTo>
                    <a:lnTo>
                      <a:pt x="486" y="512"/>
                    </a:lnTo>
                    <a:lnTo>
                      <a:pt x="486" y="515"/>
                    </a:lnTo>
                    <a:lnTo>
                      <a:pt x="486" y="512"/>
                    </a:lnTo>
                    <a:lnTo>
                      <a:pt x="486" y="515"/>
                    </a:lnTo>
                    <a:lnTo>
                      <a:pt x="484" y="515"/>
                    </a:lnTo>
                    <a:lnTo>
                      <a:pt x="484" y="512"/>
                    </a:lnTo>
                    <a:lnTo>
                      <a:pt x="484" y="515"/>
                    </a:lnTo>
                    <a:lnTo>
                      <a:pt x="482" y="515"/>
                    </a:lnTo>
                    <a:lnTo>
                      <a:pt x="482" y="515"/>
                    </a:lnTo>
                    <a:lnTo>
                      <a:pt x="482" y="515"/>
                    </a:lnTo>
                    <a:lnTo>
                      <a:pt x="479" y="515"/>
                    </a:lnTo>
                    <a:lnTo>
                      <a:pt x="479" y="515"/>
                    </a:lnTo>
                    <a:lnTo>
                      <a:pt x="477" y="515"/>
                    </a:lnTo>
                    <a:lnTo>
                      <a:pt x="477" y="515"/>
                    </a:lnTo>
                    <a:lnTo>
                      <a:pt x="475" y="515"/>
                    </a:lnTo>
                    <a:lnTo>
                      <a:pt x="472" y="515"/>
                    </a:lnTo>
                    <a:lnTo>
                      <a:pt x="472" y="517"/>
                    </a:lnTo>
                    <a:lnTo>
                      <a:pt x="472" y="515"/>
                    </a:lnTo>
                    <a:lnTo>
                      <a:pt x="470" y="515"/>
                    </a:lnTo>
                    <a:lnTo>
                      <a:pt x="470" y="517"/>
                    </a:lnTo>
                    <a:lnTo>
                      <a:pt x="467" y="517"/>
                    </a:lnTo>
                    <a:lnTo>
                      <a:pt x="465" y="517"/>
                    </a:lnTo>
                    <a:lnTo>
                      <a:pt x="463" y="517"/>
                    </a:lnTo>
                    <a:lnTo>
                      <a:pt x="463" y="517"/>
                    </a:lnTo>
                    <a:lnTo>
                      <a:pt x="463" y="515"/>
                    </a:lnTo>
                    <a:lnTo>
                      <a:pt x="460" y="517"/>
                    </a:lnTo>
                    <a:lnTo>
                      <a:pt x="458" y="515"/>
                    </a:lnTo>
                    <a:lnTo>
                      <a:pt x="458" y="515"/>
                    </a:lnTo>
                    <a:lnTo>
                      <a:pt x="458" y="515"/>
                    </a:lnTo>
                    <a:lnTo>
                      <a:pt x="456" y="515"/>
                    </a:lnTo>
                    <a:lnTo>
                      <a:pt x="456" y="515"/>
                    </a:lnTo>
                    <a:lnTo>
                      <a:pt x="456" y="515"/>
                    </a:lnTo>
                    <a:lnTo>
                      <a:pt x="453" y="512"/>
                    </a:lnTo>
                    <a:lnTo>
                      <a:pt x="453" y="515"/>
                    </a:lnTo>
                    <a:lnTo>
                      <a:pt x="451" y="512"/>
                    </a:lnTo>
                    <a:lnTo>
                      <a:pt x="451" y="512"/>
                    </a:lnTo>
                    <a:lnTo>
                      <a:pt x="451" y="512"/>
                    </a:lnTo>
                    <a:lnTo>
                      <a:pt x="451" y="510"/>
                    </a:lnTo>
                    <a:lnTo>
                      <a:pt x="446" y="508"/>
                    </a:lnTo>
                    <a:lnTo>
                      <a:pt x="446" y="505"/>
                    </a:lnTo>
                    <a:lnTo>
                      <a:pt x="444" y="503"/>
                    </a:lnTo>
                    <a:lnTo>
                      <a:pt x="444" y="503"/>
                    </a:lnTo>
                    <a:lnTo>
                      <a:pt x="444" y="503"/>
                    </a:lnTo>
                    <a:lnTo>
                      <a:pt x="441" y="503"/>
                    </a:lnTo>
                    <a:lnTo>
                      <a:pt x="441" y="501"/>
                    </a:lnTo>
                    <a:lnTo>
                      <a:pt x="439" y="501"/>
                    </a:lnTo>
                    <a:lnTo>
                      <a:pt x="427" y="508"/>
                    </a:lnTo>
                    <a:lnTo>
                      <a:pt x="427" y="472"/>
                    </a:lnTo>
                    <a:lnTo>
                      <a:pt x="427" y="439"/>
                    </a:lnTo>
                    <a:lnTo>
                      <a:pt x="427" y="425"/>
                    </a:lnTo>
                    <a:lnTo>
                      <a:pt x="427" y="387"/>
                    </a:lnTo>
                    <a:lnTo>
                      <a:pt x="427" y="373"/>
                    </a:lnTo>
                    <a:lnTo>
                      <a:pt x="427" y="354"/>
                    </a:lnTo>
                    <a:lnTo>
                      <a:pt x="427" y="354"/>
                    </a:lnTo>
                    <a:lnTo>
                      <a:pt x="430" y="352"/>
                    </a:lnTo>
                    <a:lnTo>
                      <a:pt x="432" y="352"/>
                    </a:lnTo>
                    <a:lnTo>
                      <a:pt x="432" y="352"/>
                    </a:lnTo>
                    <a:lnTo>
                      <a:pt x="432" y="349"/>
                    </a:lnTo>
                    <a:lnTo>
                      <a:pt x="434" y="349"/>
                    </a:lnTo>
                    <a:lnTo>
                      <a:pt x="437" y="349"/>
                    </a:lnTo>
                    <a:lnTo>
                      <a:pt x="437" y="349"/>
                    </a:lnTo>
                    <a:lnTo>
                      <a:pt x="439" y="347"/>
                    </a:lnTo>
                    <a:lnTo>
                      <a:pt x="439" y="345"/>
                    </a:lnTo>
                    <a:lnTo>
                      <a:pt x="439" y="345"/>
                    </a:lnTo>
                    <a:lnTo>
                      <a:pt x="439" y="342"/>
                    </a:lnTo>
                    <a:lnTo>
                      <a:pt x="441" y="342"/>
                    </a:lnTo>
                    <a:lnTo>
                      <a:pt x="439" y="340"/>
                    </a:lnTo>
                    <a:lnTo>
                      <a:pt x="441" y="340"/>
                    </a:lnTo>
                    <a:lnTo>
                      <a:pt x="439" y="340"/>
                    </a:lnTo>
                    <a:lnTo>
                      <a:pt x="437" y="335"/>
                    </a:lnTo>
                    <a:lnTo>
                      <a:pt x="437" y="335"/>
                    </a:lnTo>
                    <a:lnTo>
                      <a:pt x="437" y="335"/>
                    </a:lnTo>
                    <a:lnTo>
                      <a:pt x="434" y="335"/>
                    </a:lnTo>
                    <a:lnTo>
                      <a:pt x="434" y="333"/>
                    </a:lnTo>
                    <a:lnTo>
                      <a:pt x="434" y="331"/>
                    </a:lnTo>
                    <a:lnTo>
                      <a:pt x="432" y="331"/>
                    </a:lnTo>
                    <a:lnTo>
                      <a:pt x="432" y="326"/>
                    </a:lnTo>
                    <a:lnTo>
                      <a:pt x="432" y="326"/>
                    </a:lnTo>
                    <a:lnTo>
                      <a:pt x="432" y="323"/>
                    </a:lnTo>
                    <a:lnTo>
                      <a:pt x="432" y="323"/>
                    </a:lnTo>
                    <a:lnTo>
                      <a:pt x="432" y="323"/>
                    </a:lnTo>
                    <a:lnTo>
                      <a:pt x="432" y="321"/>
                    </a:lnTo>
                    <a:lnTo>
                      <a:pt x="432" y="321"/>
                    </a:lnTo>
                    <a:lnTo>
                      <a:pt x="432" y="319"/>
                    </a:lnTo>
                    <a:lnTo>
                      <a:pt x="432" y="319"/>
                    </a:lnTo>
                    <a:lnTo>
                      <a:pt x="432" y="321"/>
                    </a:lnTo>
                    <a:lnTo>
                      <a:pt x="432" y="321"/>
                    </a:lnTo>
                    <a:lnTo>
                      <a:pt x="434" y="321"/>
                    </a:lnTo>
                    <a:lnTo>
                      <a:pt x="434" y="321"/>
                    </a:lnTo>
                    <a:lnTo>
                      <a:pt x="437" y="321"/>
                    </a:lnTo>
                    <a:lnTo>
                      <a:pt x="437" y="321"/>
                    </a:lnTo>
                    <a:lnTo>
                      <a:pt x="437" y="319"/>
                    </a:lnTo>
                    <a:lnTo>
                      <a:pt x="434" y="319"/>
                    </a:lnTo>
                    <a:lnTo>
                      <a:pt x="434" y="319"/>
                    </a:lnTo>
                    <a:lnTo>
                      <a:pt x="434" y="319"/>
                    </a:lnTo>
                    <a:lnTo>
                      <a:pt x="434" y="316"/>
                    </a:lnTo>
                    <a:lnTo>
                      <a:pt x="434" y="316"/>
                    </a:lnTo>
                    <a:lnTo>
                      <a:pt x="437" y="316"/>
                    </a:lnTo>
                    <a:lnTo>
                      <a:pt x="437" y="316"/>
                    </a:lnTo>
                    <a:lnTo>
                      <a:pt x="439" y="316"/>
                    </a:lnTo>
                    <a:lnTo>
                      <a:pt x="439" y="316"/>
                    </a:lnTo>
                    <a:lnTo>
                      <a:pt x="437" y="316"/>
                    </a:lnTo>
                    <a:lnTo>
                      <a:pt x="437" y="314"/>
                    </a:lnTo>
                    <a:lnTo>
                      <a:pt x="439" y="314"/>
                    </a:lnTo>
                    <a:lnTo>
                      <a:pt x="439" y="312"/>
                    </a:lnTo>
                    <a:lnTo>
                      <a:pt x="441" y="312"/>
                    </a:lnTo>
                    <a:lnTo>
                      <a:pt x="441" y="312"/>
                    </a:lnTo>
                    <a:lnTo>
                      <a:pt x="444" y="312"/>
                    </a:lnTo>
                    <a:lnTo>
                      <a:pt x="444" y="312"/>
                    </a:lnTo>
                    <a:lnTo>
                      <a:pt x="441" y="309"/>
                    </a:lnTo>
                    <a:lnTo>
                      <a:pt x="441" y="307"/>
                    </a:lnTo>
                    <a:lnTo>
                      <a:pt x="441" y="307"/>
                    </a:lnTo>
                    <a:lnTo>
                      <a:pt x="441" y="307"/>
                    </a:lnTo>
                    <a:lnTo>
                      <a:pt x="444" y="307"/>
                    </a:lnTo>
                    <a:lnTo>
                      <a:pt x="441" y="305"/>
                    </a:lnTo>
                    <a:lnTo>
                      <a:pt x="444" y="305"/>
                    </a:lnTo>
                    <a:lnTo>
                      <a:pt x="444" y="305"/>
                    </a:lnTo>
                    <a:lnTo>
                      <a:pt x="444" y="302"/>
                    </a:lnTo>
                    <a:lnTo>
                      <a:pt x="444" y="302"/>
                    </a:lnTo>
                    <a:lnTo>
                      <a:pt x="444" y="302"/>
                    </a:lnTo>
                    <a:lnTo>
                      <a:pt x="441" y="302"/>
                    </a:lnTo>
                    <a:lnTo>
                      <a:pt x="441" y="305"/>
                    </a:lnTo>
                    <a:lnTo>
                      <a:pt x="441" y="305"/>
                    </a:lnTo>
                    <a:lnTo>
                      <a:pt x="441" y="302"/>
                    </a:lnTo>
                    <a:lnTo>
                      <a:pt x="439" y="305"/>
                    </a:lnTo>
                    <a:lnTo>
                      <a:pt x="439" y="302"/>
                    </a:lnTo>
                    <a:lnTo>
                      <a:pt x="437" y="302"/>
                    </a:lnTo>
                    <a:lnTo>
                      <a:pt x="437" y="305"/>
                    </a:lnTo>
                    <a:lnTo>
                      <a:pt x="437" y="305"/>
                    </a:lnTo>
                    <a:lnTo>
                      <a:pt x="437" y="302"/>
                    </a:lnTo>
                    <a:lnTo>
                      <a:pt x="434" y="302"/>
                    </a:lnTo>
                    <a:lnTo>
                      <a:pt x="434" y="302"/>
                    </a:lnTo>
                    <a:lnTo>
                      <a:pt x="434" y="305"/>
                    </a:lnTo>
                    <a:lnTo>
                      <a:pt x="432" y="305"/>
                    </a:lnTo>
                    <a:lnTo>
                      <a:pt x="432" y="305"/>
                    </a:lnTo>
                    <a:lnTo>
                      <a:pt x="432" y="307"/>
                    </a:lnTo>
                    <a:lnTo>
                      <a:pt x="430" y="307"/>
                    </a:lnTo>
                    <a:lnTo>
                      <a:pt x="430" y="307"/>
                    </a:lnTo>
                    <a:lnTo>
                      <a:pt x="430" y="309"/>
                    </a:lnTo>
                    <a:lnTo>
                      <a:pt x="430" y="309"/>
                    </a:lnTo>
                    <a:lnTo>
                      <a:pt x="427" y="309"/>
                    </a:lnTo>
                    <a:lnTo>
                      <a:pt x="427" y="309"/>
                    </a:lnTo>
                    <a:lnTo>
                      <a:pt x="427" y="309"/>
                    </a:lnTo>
                    <a:lnTo>
                      <a:pt x="427" y="312"/>
                    </a:lnTo>
                    <a:lnTo>
                      <a:pt x="427" y="312"/>
                    </a:lnTo>
                    <a:lnTo>
                      <a:pt x="427" y="312"/>
                    </a:lnTo>
                    <a:lnTo>
                      <a:pt x="425" y="312"/>
                    </a:lnTo>
                    <a:lnTo>
                      <a:pt x="425" y="312"/>
                    </a:lnTo>
                    <a:lnTo>
                      <a:pt x="425" y="312"/>
                    </a:lnTo>
                    <a:lnTo>
                      <a:pt x="425" y="314"/>
                    </a:lnTo>
                    <a:lnTo>
                      <a:pt x="425" y="314"/>
                    </a:lnTo>
                    <a:lnTo>
                      <a:pt x="425" y="314"/>
                    </a:lnTo>
                    <a:lnTo>
                      <a:pt x="423" y="314"/>
                    </a:lnTo>
                    <a:lnTo>
                      <a:pt x="425" y="314"/>
                    </a:lnTo>
                    <a:lnTo>
                      <a:pt x="423" y="314"/>
                    </a:lnTo>
                    <a:lnTo>
                      <a:pt x="423" y="316"/>
                    </a:lnTo>
                    <a:lnTo>
                      <a:pt x="423" y="314"/>
                    </a:lnTo>
                    <a:lnTo>
                      <a:pt x="423" y="316"/>
                    </a:lnTo>
                    <a:lnTo>
                      <a:pt x="420" y="316"/>
                    </a:lnTo>
                    <a:lnTo>
                      <a:pt x="420" y="316"/>
                    </a:lnTo>
                    <a:lnTo>
                      <a:pt x="420" y="316"/>
                    </a:lnTo>
                    <a:lnTo>
                      <a:pt x="418" y="319"/>
                    </a:lnTo>
                    <a:lnTo>
                      <a:pt x="418" y="319"/>
                    </a:lnTo>
                    <a:lnTo>
                      <a:pt x="416" y="319"/>
                    </a:lnTo>
                    <a:lnTo>
                      <a:pt x="416" y="319"/>
                    </a:lnTo>
                    <a:lnTo>
                      <a:pt x="416" y="319"/>
                    </a:lnTo>
                    <a:lnTo>
                      <a:pt x="416" y="319"/>
                    </a:lnTo>
                    <a:lnTo>
                      <a:pt x="416" y="321"/>
                    </a:lnTo>
                    <a:lnTo>
                      <a:pt x="416" y="321"/>
                    </a:lnTo>
                    <a:lnTo>
                      <a:pt x="413" y="319"/>
                    </a:lnTo>
                    <a:lnTo>
                      <a:pt x="413" y="321"/>
                    </a:lnTo>
                    <a:lnTo>
                      <a:pt x="411" y="321"/>
                    </a:lnTo>
                    <a:lnTo>
                      <a:pt x="413" y="321"/>
                    </a:lnTo>
                    <a:lnTo>
                      <a:pt x="411" y="321"/>
                    </a:lnTo>
                    <a:lnTo>
                      <a:pt x="411" y="323"/>
                    </a:lnTo>
                    <a:lnTo>
                      <a:pt x="411" y="321"/>
                    </a:lnTo>
                    <a:lnTo>
                      <a:pt x="411" y="323"/>
                    </a:lnTo>
                    <a:lnTo>
                      <a:pt x="411" y="323"/>
                    </a:lnTo>
                    <a:lnTo>
                      <a:pt x="411" y="323"/>
                    </a:lnTo>
                    <a:lnTo>
                      <a:pt x="411" y="326"/>
                    </a:lnTo>
                    <a:lnTo>
                      <a:pt x="411" y="326"/>
                    </a:lnTo>
                    <a:lnTo>
                      <a:pt x="408" y="326"/>
                    </a:lnTo>
                    <a:lnTo>
                      <a:pt x="408" y="326"/>
                    </a:lnTo>
                    <a:lnTo>
                      <a:pt x="406" y="328"/>
                    </a:lnTo>
                    <a:lnTo>
                      <a:pt x="406" y="328"/>
                    </a:lnTo>
                    <a:lnTo>
                      <a:pt x="408" y="328"/>
                    </a:lnTo>
                    <a:lnTo>
                      <a:pt x="406" y="328"/>
                    </a:lnTo>
                    <a:lnTo>
                      <a:pt x="406" y="331"/>
                    </a:lnTo>
                    <a:lnTo>
                      <a:pt x="406" y="331"/>
                    </a:lnTo>
                    <a:lnTo>
                      <a:pt x="404" y="331"/>
                    </a:lnTo>
                    <a:lnTo>
                      <a:pt x="401" y="331"/>
                    </a:lnTo>
                    <a:lnTo>
                      <a:pt x="401" y="331"/>
                    </a:lnTo>
                    <a:lnTo>
                      <a:pt x="401" y="331"/>
                    </a:lnTo>
                    <a:lnTo>
                      <a:pt x="401" y="331"/>
                    </a:lnTo>
                    <a:lnTo>
                      <a:pt x="401" y="333"/>
                    </a:lnTo>
                    <a:lnTo>
                      <a:pt x="399" y="333"/>
                    </a:lnTo>
                    <a:lnTo>
                      <a:pt x="399" y="333"/>
                    </a:lnTo>
                    <a:lnTo>
                      <a:pt x="397" y="335"/>
                    </a:lnTo>
                    <a:lnTo>
                      <a:pt x="394" y="335"/>
                    </a:lnTo>
                    <a:lnTo>
                      <a:pt x="394" y="338"/>
                    </a:lnTo>
                    <a:lnTo>
                      <a:pt x="394" y="338"/>
                    </a:lnTo>
                    <a:lnTo>
                      <a:pt x="392" y="340"/>
                    </a:lnTo>
                    <a:lnTo>
                      <a:pt x="392" y="340"/>
                    </a:lnTo>
                    <a:lnTo>
                      <a:pt x="392" y="342"/>
                    </a:lnTo>
                    <a:lnTo>
                      <a:pt x="390" y="342"/>
                    </a:lnTo>
                    <a:lnTo>
                      <a:pt x="390" y="345"/>
                    </a:lnTo>
                    <a:lnTo>
                      <a:pt x="387" y="345"/>
                    </a:lnTo>
                    <a:lnTo>
                      <a:pt x="387" y="345"/>
                    </a:lnTo>
                    <a:lnTo>
                      <a:pt x="387" y="345"/>
                    </a:lnTo>
                    <a:lnTo>
                      <a:pt x="385" y="345"/>
                    </a:lnTo>
                    <a:lnTo>
                      <a:pt x="385" y="345"/>
                    </a:lnTo>
                    <a:lnTo>
                      <a:pt x="385" y="345"/>
                    </a:lnTo>
                    <a:lnTo>
                      <a:pt x="382" y="347"/>
                    </a:lnTo>
                    <a:lnTo>
                      <a:pt x="382" y="349"/>
                    </a:lnTo>
                    <a:lnTo>
                      <a:pt x="380" y="349"/>
                    </a:lnTo>
                    <a:lnTo>
                      <a:pt x="380" y="352"/>
                    </a:lnTo>
                    <a:lnTo>
                      <a:pt x="380" y="354"/>
                    </a:lnTo>
                    <a:lnTo>
                      <a:pt x="380" y="354"/>
                    </a:lnTo>
                    <a:lnTo>
                      <a:pt x="378" y="354"/>
                    </a:lnTo>
                    <a:lnTo>
                      <a:pt x="375" y="354"/>
                    </a:lnTo>
                    <a:lnTo>
                      <a:pt x="375" y="354"/>
                    </a:lnTo>
                    <a:lnTo>
                      <a:pt x="373" y="354"/>
                    </a:lnTo>
                    <a:lnTo>
                      <a:pt x="373" y="354"/>
                    </a:lnTo>
                    <a:lnTo>
                      <a:pt x="371" y="354"/>
                    </a:lnTo>
                    <a:lnTo>
                      <a:pt x="368" y="357"/>
                    </a:lnTo>
                    <a:lnTo>
                      <a:pt x="366" y="359"/>
                    </a:lnTo>
                    <a:lnTo>
                      <a:pt x="361" y="359"/>
                    </a:lnTo>
                    <a:lnTo>
                      <a:pt x="359" y="361"/>
                    </a:lnTo>
                    <a:lnTo>
                      <a:pt x="359" y="364"/>
                    </a:lnTo>
                    <a:lnTo>
                      <a:pt x="359" y="364"/>
                    </a:lnTo>
                    <a:lnTo>
                      <a:pt x="356" y="366"/>
                    </a:lnTo>
                    <a:lnTo>
                      <a:pt x="356" y="368"/>
                    </a:lnTo>
                    <a:lnTo>
                      <a:pt x="354" y="368"/>
                    </a:lnTo>
                    <a:lnTo>
                      <a:pt x="354" y="371"/>
                    </a:lnTo>
                    <a:lnTo>
                      <a:pt x="354" y="373"/>
                    </a:lnTo>
                    <a:lnTo>
                      <a:pt x="352" y="373"/>
                    </a:lnTo>
                    <a:lnTo>
                      <a:pt x="349" y="373"/>
                    </a:lnTo>
                    <a:lnTo>
                      <a:pt x="347" y="373"/>
                    </a:lnTo>
                    <a:lnTo>
                      <a:pt x="347" y="375"/>
                    </a:lnTo>
                    <a:lnTo>
                      <a:pt x="345" y="375"/>
                    </a:lnTo>
                    <a:lnTo>
                      <a:pt x="340" y="375"/>
                    </a:lnTo>
                    <a:lnTo>
                      <a:pt x="340" y="375"/>
                    </a:lnTo>
                    <a:lnTo>
                      <a:pt x="338" y="373"/>
                    </a:lnTo>
                    <a:lnTo>
                      <a:pt x="335" y="375"/>
                    </a:lnTo>
                    <a:lnTo>
                      <a:pt x="335" y="375"/>
                    </a:lnTo>
                    <a:lnTo>
                      <a:pt x="335" y="375"/>
                    </a:lnTo>
                    <a:lnTo>
                      <a:pt x="333" y="375"/>
                    </a:lnTo>
                    <a:lnTo>
                      <a:pt x="333" y="378"/>
                    </a:lnTo>
                    <a:lnTo>
                      <a:pt x="297" y="378"/>
                    </a:lnTo>
                    <a:lnTo>
                      <a:pt x="227" y="378"/>
                    </a:lnTo>
                    <a:lnTo>
                      <a:pt x="227" y="375"/>
                    </a:lnTo>
                    <a:lnTo>
                      <a:pt x="231" y="375"/>
                    </a:lnTo>
                    <a:lnTo>
                      <a:pt x="231" y="373"/>
                    </a:lnTo>
                    <a:lnTo>
                      <a:pt x="231" y="373"/>
                    </a:lnTo>
                    <a:lnTo>
                      <a:pt x="231" y="371"/>
                    </a:lnTo>
                    <a:lnTo>
                      <a:pt x="229" y="368"/>
                    </a:lnTo>
                    <a:lnTo>
                      <a:pt x="229" y="368"/>
                    </a:lnTo>
                    <a:lnTo>
                      <a:pt x="229" y="366"/>
                    </a:lnTo>
                    <a:lnTo>
                      <a:pt x="231" y="366"/>
                    </a:lnTo>
                    <a:lnTo>
                      <a:pt x="231" y="364"/>
                    </a:lnTo>
                    <a:lnTo>
                      <a:pt x="234" y="364"/>
                    </a:lnTo>
                    <a:lnTo>
                      <a:pt x="234" y="361"/>
                    </a:lnTo>
                    <a:lnTo>
                      <a:pt x="231" y="359"/>
                    </a:lnTo>
                    <a:lnTo>
                      <a:pt x="231" y="357"/>
                    </a:lnTo>
                    <a:lnTo>
                      <a:pt x="231" y="357"/>
                    </a:lnTo>
                    <a:lnTo>
                      <a:pt x="231" y="354"/>
                    </a:lnTo>
                    <a:lnTo>
                      <a:pt x="234" y="352"/>
                    </a:lnTo>
                    <a:lnTo>
                      <a:pt x="234" y="352"/>
                    </a:lnTo>
                    <a:lnTo>
                      <a:pt x="231" y="349"/>
                    </a:lnTo>
                    <a:lnTo>
                      <a:pt x="227" y="347"/>
                    </a:lnTo>
                    <a:lnTo>
                      <a:pt x="227" y="347"/>
                    </a:lnTo>
                    <a:lnTo>
                      <a:pt x="224" y="347"/>
                    </a:lnTo>
                    <a:lnTo>
                      <a:pt x="224" y="347"/>
                    </a:lnTo>
                    <a:lnTo>
                      <a:pt x="222" y="347"/>
                    </a:lnTo>
                    <a:lnTo>
                      <a:pt x="222" y="345"/>
                    </a:lnTo>
                    <a:lnTo>
                      <a:pt x="219" y="345"/>
                    </a:lnTo>
                    <a:lnTo>
                      <a:pt x="219" y="345"/>
                    </a:lnTo>
                    <a:lnTo>
                      <a:pt x="219" y="342"/>
                    </a:lnTo>
                    <a:lnTo>
                      <a:pt x="219" y="340"/>
                    </a:lnTo>
                    <a:lnTo>
                      <a:pt x="222" y="338"/>
                    </a:lnTo>
                    <a:lnTo>
                      <a:pt x="222" y="335"/>
                    </a:lnTo>
                    <a:lnTo>
                      <a:pt x="222" y="333"/>
                    </a:lnTo>
                    <a:lnTo>
                      <a:pt x="219" y="331"/>
                    </a:lnTo>
                    <a:lnTo>
                      <a:pt x="222" y="328"/>
                    </a:lnTo>
                    <a:lnTo>
                      <a:pt x="219" y="328"/>
                    </a:lnTo>
                    <a:lnTo>
                      <a:pt x="219" y="328"/>
                    </a:lnTo>
                    <a:lnTo>
                      <a:pt x="217" y="326"/>
                    </a:lnTo>
                    <a:lnTo>
                      <a:pt x="217" y="319"/>
                    </a:lnTo>
                    <a:lnTo>
                      <a:pt x="215" y="316"/>
                    </a:lnTo>
                    <a:lnTo>
                      <a:pt x="212" y="319"/>
                    </a:lnTo>
                    <a:lnTo>
                      <a:pt x="212" y="316"/>
                    </a:lnTo>
                    <a:lnTo>
                      <a:pt x="210" y="319"/>
                    </a:lnTo>
                    <a:lnTo>
                      <a:pt x="208" y="319"/>
                    </a:lnTo>
                    <a:lnTo>
                      <a:pt x="208" y="316"/>
                    </a:lnTo>
                    <a:lnTo>
                      <a:pt x="208" y="316"/>
                    </a:lnTo>
                    <a:lnTo>
                      <a:pt x="205" y="316"/>
                    </a:lnTo>
                    <a:lnTo>
                      <a:pt x="205" y="314"/>
                    </a:lnTo>
                    <a:lnTo>
                      <a:pt x="205" y="312"/>
                    </a:lnTo>
                    <a:lnTo>
                      <a:pt x="205" y="312"/>
                    </a:lnTo>
                    <a:lnTo>
                      <a:pt x="205" y="312"/>
                    </a:lnTo>
                    <a:lnTo>
                      <a:pt x="203" y="312"/>
                    </a:lnTo>
                    <a:lnTo>
                      <a:pt x="203" y="312"/>
                    </a:lnTo>
                    <a:lnTo>
                      <a:pt x="203" y="312"/>
                    </a:lnTo>
                    <a:lnTo>
                      <a:pt x="201" y="312"/>
                    </a:lnTo>
                    <a:lnTo>
                      <a:pt x="201" y="312"/>
                    </a:lnTo>
                    <a:lnTo>
                      <a:pt x="198" y="312"/>
                    </a:lnTo>
                    <a:lnTo>
                      <a:pt x="198" y="309"/>
                    </a:lnTo>
                    <a:lnTo>
                      <a:pt x="196" y="309"/>
                    </a:lnTo>
                    <a:lnTo>
                      <a:pt x="196" y="309"/>
                    </a:lnTo>
                    <a:lnTo>
                      <a:pt x="196" y="309"/>
                    </a:lnTo>
                    <a:lnTo>
                      <a:pt x="193" y="309"/>
                    </a:lnTo>
                    <a:lnTo>
                      <a:pt x="193" y="309"/>
                    </a:lnTo>
                    <a:lnTo>
                      <a:pt x="193" y="309"/>
                    </a:lnTo>
                    <a:lnTo>
                      <a:pt x="193" y="309"/>
                    </a:lnTo>
                    <a:lnTo>
                      <a:pt x="193" y="309"/>
                    </a:lnTo>
                    <a:lnTo>
                      <a:pt x="191" y="312"/>
                    </a:lnTo>
                    <a:lnTo>
                      <a:pt x="189" y="309"/>
                    </a:lnTo>
                    <a:lnTo>
                      <a:pt x="189" y="312"/>
                    </a:lnTo>
                    <a:lnTo>
                      <a:pt x="189" y="309"/>
                    </a:lnTo>
                    <a:lnTo>
                      <a:pt x="186" y="309"/>
                    </a:lnTo>
                    <a:lnTo>
                      <a:pt x="184" y="312"/>
                    </a:lnTo>
                    <a:lnTo>
                      <a:pt x="184" y="312"/>
                    </a:lnTo>
                    <a:lnTo>
                      <a:pt x="182" y="309"/>
                    </a:lnTo>
                    <a:lnTo>
                      <a:pt x="184" y="309"/>
                    </a:lnTo>
                    <a:lnTo>
                      <a:pt x="182" y="309"/>
                    </a:lnTo>
                    <a:lnTo>
                      <a:pt x="182" y="309"/>
                    </a:lnTo>
                    <a:lnTo>
                      <a:pt x="182" y="309"/>
                    </a:lnTo>
                    <a:lnTo>
                      <a:pt x="182" y="309"/>
                    </a:lnTo>
                    <a:lnTo>
                      <a:pt x="182" y="309"/>
                    </a:lnTo>
                    <a:lnTo>
                      <a:pt x="179" y="309"/>
                    </a:lnTo>
                    <a:lnTo>
                      <a:pt x="179" y="309"/>
                    </a:lnTo>
                    <a:lnTo>
                      <a:pt x="179" y="309"/>
                    </a:lnTo>
                    <a:lnTo>
                      <a:pt x="179" y="309"/>
                    </a:lnTo>
                    <a:lnTo>
                      <a:pt x="179" y="307"/>
                    </a:lnTo>
                    <a:lnTo>
                      <a:pt x="177" y="309"/>
                    </a:lnTo>
                    <a:lnTo>
                      <a:pt x="177" y="307"/>
                    </a:lnTo>
                    <a:lnTo>
                      <a:pt x="177" y="307"/>
                    </a:lnTo>
                    <a:lnTo>
                      <a:pt x="177" y="307"/>
                    </a:lnTo>
                    <a:lnTo>
                      <a:pt x="177" y="307"/>
                    </a:lnTo>
                    <a:lnTo>
                      <a:pt x="175" y="307"/>
                    </a:lnTo>
                    <a:lnTo>
                      <a:pt x="172" y="307"/>
                    </a:lnTo>
                    <a:lnTo>
                      <a:pt x="172" y="307"/>
                    </a:lnTo>
                    <a:lnTo>
                      <a:pt x="170" y="307"/>
                    </a:lnTo>
                    <a:lnTo>
                      <a:pt x="170" y="307"/>
                    </a:lnTo>
                    <a:lnTo>
                      <a:pt x="170" y="307"/>
                    </a:lnTo>
                    <a:lnTo>
                      <a:pt x="170" y="305"/>
                    </a:lnTo>
                    <a:lnTo>
                      <a:pt x="170" y="307"/>
                    </a:lnTo>
                    <a:lnTo>
                      <a:pt x="167" y="305"/>
                    </a:lnTo>
                    <a:lnTo>
                      <a:pt x="167" y="307"/>
                    </a:lnTo>
                    <a:lnTo>
                      <a:pt x="167" y="307"/>
                    </a:lnTo>
                    <a:lnTo>
                      <a:pt x="165" y="307"/>
                    </a:lnTo>
                    <a:lnTo>
                      <a:pt x="165" y="305"/>
                    </a:lnTo>
                    <a:lnTo>
                      <a:pt x="165" y="305"/>
                    </a:lnTo>
                    <a:lnTo>
                      <a:pt x="163" y="305"/>
                    </a:lnTo>
                    <a:lnTo>
                      <a:pt x="163" y="305"/>
                    </a:lnTo>
                    <a:lnTo>
                      <a:pt x="163" y="305"/>
                    </a:lnTo>
                    <a:lnTo>
                      <a:pt x="160" y="305"/>
                    </a:lnTo>
                    <a:lnTo>
                      <a:pt x="160" y="305"/>
                    </a:lnTo>
                    <a:lnTo>
                      <a:pt x="160" y="305"/>
                    </a:lnTo>
                    <a:lnTo>
                      <a:pt x="160" y="302"/>
                    </a:lnTo>
                    <a:lnTo>
                      <a:pt x="160" y="305"/>
                    </a:lnTo>
                    <a:lnTo>
                      <a:pt x="158" y="302"/>
                    </a:lnTo>
                    <a:lnTo>
                      <a:pt x="158" y="302"/>
                    </a:lnTo>
                    <a:lnTo>
                      <a:pt x="158" y="302"/>
                    </a:lnTo>
                    <a:lnTo>
                      <a:pt x="158" y="300"/>
                    </a:lnTo>
                    <a:lnTo>
                      <a:pt x="158" y="300"/>
                    </a:lnTo>
                    <a:lnTo>
                      <a:pt x="149" y="300"/>
                    </a:lnTo>
                    <a:lnTo>
                      <a:pt x="99" y="300"/>
                    </a:lnTo>
                    <a:lnTo>
                      <a:pt x="101" y="300"/>
                    </a:lnTo>
                    <a:lnTo>
                      <a:pt x="101" y="295"/>
                    </a:lnTo>
                    <a:lnTo>
                      <a:pt x="101" y="295"/>
                    </a:lnTo>
                    <a:lnTo>
                      <a:pt x="104" y="293"/>
                    </a:lnTo>
                    <a:lnTo>
                      <a:pt x="106" y="293"/>
                    </a:lnTo>
                    <a:lnTo>
                      <a:pt x="106" y="290"/>
                    </a:lnTo>
                    <a:lnTo>
                      <a:pt x="108" y="290"/>
                    </a:lnTo>
                    <a:lnTo>
                      <a:pt x="111" y="288"/>
                    </a:lnTo>
                    <a:lnTo>
                      <a:pt x="113" y="286"/>
                    </a:lnTo>
                    <a:lnTo>
                      <a:pt x="113" y="286"/>
                    </a:lnTo>
                    <a:lnTo>
                      <a:pt x="113" y="283"/>
                    </a:lnTo>
                    <a:lnTo>
                      <a:pt x="111" y="283"/>
                    </a:lnTo>
                    <a:lnTo>
                      <a:pt x="113" y="283"/>
                    </a:lnTo>
                    <a:lnTo>
                      <a:pt x="115" y="279"/>
                    </a:lnTo>
                    <a:lnTo>
                      <a:pt x="120" y="276"/>
                    </a:lnTo>
                    <a:lnTo>
                      <a:pt x="120" y="279"/>
                    </a:lnTo>
                    <a:lnTo>
                      <a:pt x="120" y="279"/>
                    </a:lnTo>
                    <a:lnTo>
                      <a:pt x="123" y="276"/>
                    </a:lnTo>
                    <a:lnTo>
                      <a:pt x="123" y="276"/>
                    </a:lnTo>
                    <a:lnTo>
                      <a:pt x="125" y="274"/>
                    </a:lnTo>
                    <a:lnTo>
                      <a:pt x="125" y="274"/>
                    </a:lnTo>
                    <a:lnTo>
                      <a:pt x="127" y="274"/>
                    </a:lnTo>
                    <a:lnTo>
                      <a:pt x="127" y="272"/>
                    </a:lnTo>
                    <a:lnTo>
                      <a:pt x="125" y="272"/>
                    </a:lnTo>
                    <a:lnTo>
                      <a:pt x="123" y="272"/>
                    </a:lnTo>
                    <a:lnTo>
                      <a:pt x="125" y="269"/>
                    </a:lnTo>
                    <a:lnTo>
                      <a:pt x="130" y="267"/>
                    </a:lnTo>
                    <a:lnTo>
                      <a:pt x="132" y="264"/>
                    </a:lnTo>
                    <a:lnTo>
                      <a:pt x="132" y="262"/>
                    </a:lnTo>
                    <a:lnTo>
                      <a:pt x="132" y="257"/>
                    </a:lnTo>
                    <a:lnTo>
                      <a:pt x="134" y="255"/>
                    </a:lnTo>
                    <a:lnTo>
                      <a:pt x="132" y="255"/>
                    </a:lnTo>
                    <a:lnTo>
                      <a:pt x="132" y="250"/>
                    </a:lnTo>
                    <a:lnTo>
                      <a:pt x="132" y="248"/>
                    </a:lnTo>
                    <a:lnTo>
                      <a:pt x="132" y="248"/>
                    </a:lnTo>
                    <a:lnTo>
                      <a:pt x="132" y="248"/>
                    </a:lnTo>
                    <a:lnTo>
                      <a:pt x="134" y="246"/>
                    </a:lnTo>
                    <a:lnTo>
                      <a:pt x="130" y="246"/>
                    </a:lnTo>
                    <a:lnTo>
                      <a:pt x="127" y="236"/>
                    </a:lnTo>
                    <a:lnTo>
                      <a:pt x="125" y="236"/>
                    </a:lnTo>
                    <a:lnTo>
                      <a:pt x="123" y="236"/>
                    </a:lnTo>
                    <a:lnTo>
                      <a:pt x="123" y="234"/>
                    </a:lnTo>
                    <a:lnTo>
                      <a:pt x="123" y="236"/>
                    </a:lnTo>
                    <a:lnTo>
                      <a:pt x="123" y="236"/>
                    </a:lnTo>
                    <a:lnTo>
                      <a:pt x="120" y="234"/>
                    </a:lnTo>
                    <a:lnTo>
                      <a:pt x="120" y="231"/>
                    </a:lnTo>
                    <a:lnTo>
                      <a:pt x="120" y="229"/>
                    </a:lnTo>
                    <a:lnTo>
                      <a:pt x="118" y="229"/>
                    </a:lnTo>
                    <a:lnTo>
                      <a:pt x="118" y="227"/>
                    </a:lnTo>
                    <a:lnTo>
                      <a:pt x="115" y="227"/>
                    </a:lnTo>
                    <a:lnTo>
                      <a:pt x="115" y="224"/>
                    </a:lnTo>
                    <a:lnTo>
                      <a:pt x="115" y="220"/>
                    </a:lnTo>
                    <a:lnTo>
                      <a:pt x="113" y="217"/>
                    </a:lnTo>
                    <a:lnTo>
                      <a:pt x="111" y="212"/>
                    </a:lnTo>
                    <a:lnTo>
                      <a:pt x="111" y="210"/>
                    </a:lnTo>
                    <a:lnTo>
                      <a:pt x="108" y="208"/>
                    </a:lnTo>
                    <a:lnTo>
                      <a:pt x="106" y="205"/>
                    </a:lnTo>
                    <a:lnTo>
                      <a:pt x="106" y="205"/>
                    </a:lnTo>
                    <a:lnTo>
                      <a:pt x="104" y="205"/>
                    </a:lnTo>
                    <a:lnTo>
                      <a:pt x="101" y="205"/>
                    </a:lnTo>
                    <a:lnTo>
                      <a:pt x="99" y="205"/>
                    </a:lnTo>
                    <a:lnTo>
                      <a:pt x="99" y="205"/>
                    </a:lnTo>
                    <a:lnTo>
                      <a:pt x="97" y="205"/>
                    </a:lnTo>
                    <a:lnTo>
                      <a:pt x="97" y="203"/>
                    </a:lnTo>
                    <a:lnTo>
                      <a:pt x="97" y="203"/>
                    </a:lnTo>
                    <a:lnTo>
                      <a:pt x="94" y="201"/>
                    </a:lnTo>
                    <a:lnTo>
                      <a:pt x="94" y="198"/>
                    </a:lnTo>
                    <a:lnTo>
                      <a:pt x="94" y="198"/>
                    </a:lnTo>
                    <a:lnTo>
                      <a:pt x="92" y="198"/>
                    </a:lnTo>
                    <a:lnTo>
                      <a:pt x="92" y="198"/>
                    </a:lnTo>
                    <a:lnTo>
                      <a:pt x="92" y="196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4"/>
                    </a:lnTo>
                    <a:lnTo>
                      <a:pt x="92" y="189"/>
                    </a:lnTo>
                    <a:lnTo>
                      <a:pt x="90" y="182"/>
                    </a:lnTo>
                    <a:lnTo>
                      <a:pt x="87" y="179"/>
                    </a:lnTo>
                    <a:lnTo>
                      <a:pt x="85" y="179"/>
                    </a:lnTo>
                    <a:lnTo>
                      <a:pt x="85" y="177"/>
                    </a:lnTo>
                    <a:lnTo>
                      <a:pt x="82" y="177"/>
                    </a:lnTo>
                    <a:lnTo>
                      <a:pt x="80" y="177"/>
                    </a:lnTo>
                    <a:lnTo>
                      <a:pt x="78" y="177"/>
                    </a:lnTo>
                    <a:lnTo>
                      <a:pt x="78" y="177"/>
                    </a:lnTo>
                    <a:lnTo>
                      <a:pt x="78" y="177"/>
                    </a:lnTo>
                    <a:lnTo>
                      <a:pt x="75" y="175"/>
                    </a:lnTo>
                    <a:lnTo>
                      <a:pt x="75" y="172"/>
                    </a:lnTo>
                    <a:lnTo>
                      <a:pt x="73" y="170"/>
                    </a:lnTo>
                    <a:lnTo>
                      <a:pt x="73" y="170"/>
                    </a:lnTo>
                    <a:lnTo>
                      <a:pt x="73" y="170"/>
                    </a:lnTo>
                    <a:lnTo>
                      <a:pt x="71" y="170"/>
                    </a:lnTo>
                    <a:lnTo>
                      <a:pt x="68" y="168"/>
                    </a:lnTo>
                    <a:lnTo>
                      <a:pt x="66" y="168"/>
                    </a:lnTo>
                    <a:lnTo>
                      <a:pt x="64" y="168"/>
                    </a:lnTo>
                    <a:lnTo>
                      <a:pt x="64" y="165"/>
                    </a:lnTo>
                    <a:lnTo>
                      <a:pt x="61" y="165"/>
                    </a:lnTo>
                    <a:lnTo>
                      <a:pt x="61" y="165"/>
                    </a:lnTo>
                    <a:lnTo>
                      <a:pt x="59" y="161"/>
                    </a:lnTo>
                    <a:lnTo>
                      <a:pt x="59" y="156"/>
                    </a:lnTo>
                    <a:lnTo>
                      <a:pt x="56" y="156"/>
                    </a:lnTo>
                    <a:lnTo>
                      <a:pt x="59" y="151"/>
                    </a:lnTo>
                    <a:lnTo>
                      <a:pt x="56" y="149"/>
                    </a:lnTo>
                    <a:lnTo>
                      <a:pt x="56" y="149"/>
                    </a:lnTo>
                    <a:lnTo>
                      <a:pt x="56" y="146"/>
                    </a:lnTo>
                    <a:lnTo>
                      <a:pt x="54" y="146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2" y="139"/>
                    </a:lnTo>
                    <a:lnTo>
                      <a:pt x="52" y="135"/>
                    </a:lnTo>
                    <a:lnTo>
                      <a:pt x="52" y="132"/>
                    </a:lnTo>
                    <a:lnTo>
                      <a:pt x="52" y="130"/>
                    </a:lnTo>
                    <a:lnTo>
                      <a:pt x="49" y="127"/>
                    </a:lnTo>
                    <a:lnTo>
                      <a:pt x="47" y="125"/>
                    </a:lnTo>
                    <a:lnTo>
                      <a:pt x="47" y="125"/>
                    </a:lnTo>
                    <a:lnTo>
                      <a:pt x="47" y="120"/>
                    </a:lnTo>
                    <a:lnTo>
                      <a:pt x="47" y="118"/>
                    </a:lnTo>
                    <a:lnTo>
                      <a:pt x="45" y="116"/>
                    </a:lnTo>
                    <a:lnTo>
                      <a:pt x="42" y="118"/>
                    </a:lnTo>
                    <a:lnTo>
                      <a:pt x="40" y="118"/>
                    </a:lnTo>
                    <a:lnTo>
                      <a:pt x="40" y="113"/>
                    </a:lnTo>
                    <a:lnTo>
                      <a:pt x="38" y="111"/>
                    </a:lnTo>
                    <a:lnTo>
                      <a:pt x="35" y="111"/>
                    </a:lnTo>
                    <a:lnTo>
                      <a:pt x="33" y="111"/>
                    </a:lnTo>
                    <a:lnTo>
                      <a:pt x="33" y="111"/>
                    </a:lnTo>
                    <a:lnTo>
                      <a:pt x="33" y="111"/>
                    </a:lnTo>
                    <a:lnTo>
                      <a:pt x="30" y="111"/>
                    </a:lnTo>
                    <a:lnTo>
                      <a:pt x="30" y="109"/>
                    </a:lnTo>
                    <a:lnTo>
                      <a:pt x="30" y="106"/>
                    </a:lnTo>
                    <a:lnTo>
                      <a:pt x="28" y="104"/>
                    </a:lnTo>
                    <a:lnTo>
                      <a:pt x="28" y="101"/>
                    </a:lnTo>
                    <a:lnTo>
                      <a:pt x="30" y="101"/>
                    </a:lnTo>
                    <a:lnTo>
                      <a:pt x="28" y="99"/>
                    </a:lnTo>
                    <a:lnTo>
                      <a:pt x="30" y="97"/>
                    </a:lnTo>
                    <a:lnTo>
                      <a:pt x="30" y="97"/>
                    </a:lnTo>
                    <a:lnTo>
                      <a:pt x="33" y="99"/>
                    </a:lnTo>
                    <a:lnTo>
                      <a:pt x="35" y="99"/>
                    </a:lnTo>
                    <a:lnTo>
                      <a:pt x="38" y="99"/>
                    </a:lnTo>
                    <a:lnTo>
                      <a:pt x="38" y="97"/>
                    </a:lnTo>
                    <a:lnTo>
                      <a:pt x="40" y="97"/>
                    </a:lnTo>
                    <a:lnTo>
                      <a:pt x="40" y="92"/>
                    </a:lnTo>
                    <a:lnTo>
                      <a:pt x="40" y="90"/>
                    </a:lnTo>
                    <a:lnTo>
                      <a:pt x="40" y="87"/>
                    </a:lnTo>
                    <a:lnTo>
                      <a:pt x="38" y="85"/>
                    </a:lnTo>
                    <a:lnTo>
                      <a:pt x="33" y="83"/>
                    </a:lnTo>
                    <a:lnTo>
                      <a:pt x="33" y="83"/>
                    </a:lnTo>
                    <a:lnTo>
                      <a:pt x="26" y="80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21" y="78"/>
                    </a:lnTo>
                    <a:lnTo>
                      <a:pt x="19" y="73"/>
                    </a:lnTo>
                    <a:lnTo>
                      <a:pt x="16" y="73"/>
                    </a:lnTo>
                    <a:lnTo>
                      <a:pt x="14" y="71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9" y="64"/>
                    </a:lnTo>
                    <a:lnTo>
                      <a:pt x="2" y="59"/>
                    </a:lnTo>
                    <a:lnTo>
                      <a:pt x="2" y="59"/>
                    </a:lnTo>
                    <a:lnTo>
                      <a:pt x="0" y="54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4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9" y="40"/>
                    </a:lnTo>
                    <a:lnTo>
                      <a:pt x="7" y="40"/>
                    </a:lnTo>
                    <a:lnTo>
                      <a:pt x="4" y="33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12" y="35"/>
                    </a:lnTo>
                    <a:lnTo>
                      <a:pt x="16" y="35"/>
                    </a:lnTo>
                    <a:lnTo>
                      <a:pt x="16" y="33"/>
                    </a:lnTo>
                    <a:lnTo>
                      <a:pt x="19" y="31"/>
                    </a:lnTo>
                    <a:lnTo>
                      <a:pt x="21" y="28"/>
                    </a:lnTo>
                    <a:lnTo>
                      <a:pt x="23" y="28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1"/>
                    </a:lnTo>
                    <a:lnTo>
                      <a:pt x="30" y="31"/>
                    </a:lnTo>
                    <a:lnTo>
                      <a:pt x="35" y="28"/>
                    </a:lnTo>
                    <a:lnTo>
                      <a:pt x="38" y="26"/>
                    </a:lnTo>
                    <a:lnTo>
                      <a:pt x="38" y="23"/>
                    </a:lnTo>
                    <a:lnTo>
                      <a:pt x="35" y="21"/>
                    </a:lnTo>
                    <a:lnTo>
                      <a:pt x="35" y="16"/>
                    </a:lnTo>
                    <a:lnTo>
                      <a:pt x="33" y="14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30" y="7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9071761" y="1218614"/>
                <a:ext cx="672616" cy="788437"/>
              </a:xfrm>
              <a:custGeom>
                <a:avLst/>
                <a:gdLst/>
                <a:ahLst/>
                <a:cxnLst>
                  <a:cxn ang="0">
                    <a:pos x="120" y="284"/>
                  </a:cxn>
                  <a:cxn ang="0">
                    <a:pos x="130" y="277"/>
                  </a:cxn>
                  <a:cxn ang="0">
                    <a:pos x="144" y="270"/>
                  </a:cxn>
                  <a:cxn ang="0">
                    <a:pos x="151" y="279"/>
                  </a:cxn>
                  <a:cxn ang="0">
                    <a:pos x="175" y="284"/>
                  </a:cxn>
                  <a:cxn ang="0">
                    <a:pos x="191" y="272"/>
                  </a:cxn>
                  <a:cxn ang="0">
                    <a:pos x="205" y="289"/>
                  </a:cxn>
                  <a:cxn ang="0">
                    <a:pos x="210" y="293"/>
                  </a:cxn>
                  <a:cxn ang="0">
                    <a:pos x="245" y="293"/>
                  </a:cxn>
                  <a:cxn ang="0">
                    <a:pos x="264" y="277"/>
                  </a:cxn>
                  <a:cxn ang="0">
                    <a:pos x="288" y="258"/>
                  </a:cxn>
                  <a:cxn ang="0">
                    <a:pos x="295" y="234"/>
                  </a:cxn>
                  <a:cxn ang="0">
                    <a:pos x="316" y="199"/>
                  </a:cxn>
                  <a:cxn ang="0">
                    <a:pos x="319" y="173"/>
                  </a:cxn>
                  <a:cxn ang="0">
                    <a:pos x="333" y="156"/>
                  </a:cxn>
                  <a:cxn ang="0">
                    <a:pos x="366" y="100"/>
                  </a:cxn>
                  <a:cxn ang="0">
                    <a:pos x="387" y="74"/>
                  </a:cxn>
                  <a:cxn ang="0">
                    <a:pos x="413" y="38"/>
                  </a:cxn>
                  <a:cxn ang="0">
                    <a:pos x="463" y="36"/>
                  </a:cxn>
                  <a:cxn ang="0">
                    <a:pos x="482" y="85"/>
                  </a:cxn>
                  <a:cxn ang="0">
                    <a:pos x="486" y="166"/>
                  </a:cxn>
                  <a:cxn ang="0">
                    <a:pos x="498" y="208"/>
                  </a:cxn>
                  <a:cxn ang="0">
                    <a:pos x="510" y="241"/>
                  </a:cxn>
                  <a:cxn ang="0">
                    <a:pos x="520" y="265"/>
                  </a:cxn>
                  <a:cxn ang="0">
                    <a:pos x="529" y="300"/>
                  </a:cxn>
                  <a:cxn ang="0">
                    <a:pos x="574" y="308"/>
                  </a:cxn>
                  <a:cxn ang="0">
                    <a:pos x="619" y="350"/>
                  </a:cxn>
                  <a:cxn ang="0">
                    <a:pos x="631" y="421"/>
                  </a:cxn>
                  <a:cxn ang="0">
                    <a:pos x="612" y="468"/>
                  </a:cxn>
                  <a:cxn ang="0">
                    <a:pos x="597" y="487"/>
                  </a:cxn>
                  <a:cxn ang="0">
                    <a:pos x="545" y="544"/>
                  </a:cxn>
                  <a:cxn ang="0">
                    <a:pos x="484" y="586"/>
                  </a:cxn>
                  <a:cxn ang="0">
                    <a:pos x="437" y="636"/>
                  </a:cxn>
                  <a:cxn ang="0">
                    <a:pos x="404" y="714"/>
                  </a:cxn>
                  <a:cxn ang="0">
                    <a:pos x="366" y="726"/>
                  </a:cxn>
                  <a:cxn ang="0">
                    <a:pos x="349" y="737"/>
                  </a:cxn>
                  <a:cxn ang="0">
                    <a:pos x="309" y="716"/>
                  </a:cxn>
                  <a:cxn ang="0">
                    <a:pos x="305" y="690"/>
                  </a:cxn>
                  <a:cxn ang="0">
                    <a:pos x="300" y="667"/>
                  </a:cxn>
                  <a:cxn ang="0">
                    <a:pos x="279" y="636"/>
                  </a:cxn>
                  <a:cxn ang="0">
                    <a:pos x="245" y="598"/>
                  </a:cxn>
                  <a:cxn ang="0">
                    <a:pos x="224" y="551"/>
                  </a:cxn>
                  <a:cxn ang="0">
                    <a:pos x="217" y="511"/>
                  </a:cxn>
                  <a:cxn ang="0">
                    <a:pos x="212" y="478"/>
                  </a:cxn>
                  <a:cxn ang="0">
                    <a:pos x="182" y="442"/>
                  </a:cxn>
                  <a:cxn ang="0">
                    <a:pos x="184" y="416"/>
                  </a:cxn>
                  <a:cxn ang="0">
                    <a:pos x="168" y="404"/>
                  </a:cxn>
                  <a:cxn ang="0">
                    <a:pos x="151" y="397"/>
                  </a:cxn>
                  <a:cxn ang="0">
                    <a:pos x="134" y="395"/>
                  </a:cxn>
                  <a:cxn ang="0">
                    <a:pos x="125" y="393"/>
                  </a:cxn>
                  <a:cxn ang="0">
                    <a:pos x="111" y="385"/>
                  </a:cxn>
                  <a:cxn ang="0">
                    <a:pos x="99" y="376"/>
                  </a:cxn>
                  <a:cxn ang="0">
                    <a:pos x="92" y="367"/>
                  </a:cxn>
                  <a:cxn ang="0">
                    <a:pos x="78" y="357"/>
                  </a:cxn>
                  <a:cxn ang="0">
                    <a:pos x="66" y="352"/>
                  </a:cxn>
                  <a:cxn ang="0">
                    <a:pos x="45" y="350"/>
                  </a:cxn>
                  <a:cxn ang="0">
                    <a:pos x="16" y="348"/>
                  </a:cxn>
                  <a:cxn ang="0">
                    <a:pos x="14" y="324"/>
                  </a:cxn>
                  <a:cxn ang="0">
                    <a:pos x="7" y="303"/>
                  </a:cxn>
                  <a:cxn ang="0">
                    <a:pos x="9" y="282"/>
                  </a:cxn>
                </a:cxnLst>
                <a:rect l="0" t="0" r="r" b="b"/>
                <a:pathLst>
                  <a:path w="633" h="742">
                    <a:moveTo>
                      <a:pt x="0" y="260"/>
                    </a:moveTo>
                    <a:lnTo>
                      <a:pt x="9" y="260"/>
                    </a:lnTo>
                    <a:lnTo>
                      <a:pt x="16" y="258"/>
                    </a:lnTo>
                    <a:lnTo>
                      <a:pt x="23" y="260"/>
                    </a:lnTo>
                    <a:lnTo>
                      <a:pt x="23" y="272"/>
                    </a:lnTo>
                    <a:lnTo>
                      <a:pt x="28" y="277"/>
                    </a:lnTo>
                    <a:lnTo>
                      <a:pt x="33" y="274"/>
                    </a:lnTo>
                    <a:lnTo>
                      <a:pt x="56" y="291"/>
                    </a:lnTo>
                    <a:lnTo>
                      <a:pt x="87" y="296"/>
                    </a:lnTo>
                    <a:lnTo>
                      <a:pt x="111" y="289"/>
                    </a:lnTo>
                    <a:lnTo>
                      <a:pt x="113" y="286"/>
                    </a:lnTo>
                    <a:lnTo>
                      <a:pt x="113" y="289"/>
                    </a:lnTo>
                    <a:lnTo>
                      <a:pt x="116" y="286"/>
                    </a:lnTo>
                    <a:lnTo>
                      <a:pt x="116" y="286"/>
                    </a:lnTo>
                    <a:lnTo>
                      <a:pt x="118" y="286"/>
                    </a:lnTo>
                    <a:lnTo>
                      <a:pt x="118" y="286"/>
                    </a:lnTo>
                    <a:lnTo>
                      <a:pt x="118" y="286"/>
                    </a:lnTo>
                    <a:lnTo>
                      <a:pt x="120" y="284"/>
                    </a:lnTo>
                    <a:lnTo>
                      <a:pt x="118" y="282"/>
                    </a:lnTo>
                    <a:lnTo>
                      <a:pt x="118" y="282"/>
                    </a:lnTo>
                    <a:lnTo>
                      <a:pt x="118" y="282"/>
                    </a:lnTo>
                    <a:lnTo>
                      <a:pt x="120" y="279"/>
                    </a:lnTo>
                    <a:lnTo>
                      <a:pt x="120" y="282"/>
                    </a:lnTo>
                    <a:lnTo>
                      <a:pt x="120" y="282"/>
                    </a:lnTo>
                    <a:lnTo>
                      <a:pt x="120" y="282"/>
                    </a:lnTo>
                    <a:lnTo>
                      <a:pt x="123" y="284"/>
                    </a:lnTo>
                    <a:lnTo>
                      <a:pt x="123" y="282"/>
                    </a:lnTo>
                    <a:lnTo>
                      <a:pt x="125" y="282"/>
                    </a:lnTo>
                    <a:lnTo>
                      <a:pt x="125" y="282"/>
                    </a:lnTo>
                    <a:lnTo>
                      <a:pt x="125" y="279"/>
                    </a:lnTo>
                    <a:lnTo>
                      <a:pt x="125" y="279"/>
                    </a:lnTo>
                    <a:lnTo>
                      <a:pt x="125" y="277"/>
                    </a:lnTo>
                    <a:lnTo>
                      <a:pt x="127" y="277"/>
                    </a:lnTo>
                    <a:lnTo>
                      <a:pt x="127" y="277"/>
                    </a:lnTo>
                    <a:lnTo>
                      <a:pt x="130" y="277"/>
                    </a:lnTo>
                    <a:lnTo>
                      <a:pt x="130" y="277"/>
                    </a:lnTo>
                    <a:lnTo>
                      <a:pt x="130" y="277"/>
                    </a:lnTo>
                    <a:lnTo>
                      <a:pt x="132" y="277"/>
                    </a:lnTo>
                    <a:lnTo>
                      <a:pt x="134" y="277"/>
                    </a:lnTo>
                    <a:lnTo>
                      <a:pt x="132" y="274"/>
                    </a:lnTo>
                    <a:lnTo>
                      <a:pt x="132" y="274"/>
                    </a:lnTo>
                    <a:lnTo>
                      <a:pt x="132" y="274"/>
                    </a:lnTo>
                    <a:lnTo>
                      <a:pt x="134" y="274"/>
                    </a:lnTo>
                    <a:lnTo>
                      <a:pt x="134" y="272"/>
                    </a:lnTo>
                    <a:lnTo>
                      <a:pt x="134" y="272"/>
                    </a:lnTo>
                    <a:lnTo>
                      <a:pt x="137" y="272"/>
                    </a:lnTo>
                    <a:lnTo>
                      <a:pt x="137" y="272"/>
                    </a:lnTo>
                    <a:lnTo>
                      <a:pt x="139" y="270"/>
                    </a:lnTo>
                    <a:lnTo>
                      <a:pt x="139" y="270"/>
                    </a:lnTo>
                    <a:lnTo>
                      <a:pt x="139" y="270"/>
                    </a:lnTo>
                    <a:lnTo>
                      <a:pt x="142" y="270"/>
                    </a:lnTo>
                    <a:lnTo>
                      <a:pt x="144" y="270"/>
                    </a:lnTo>
                    <a:lnTo>
                      <a:pt x="144" y="270"/>
                    </a:lnTo>
                    <a:lnTo>
                      <a:pt x="144" y="270"/>
                    </a:lnTo>
                    <a:lnTo>
                      <a:pt x="142" y="272"/>
                    </a:lnTo>
                    <a:lnTo>
                      <a:pt x="144" y="272"/>
                    </a:lnTo>
                    <a:lnTo>
                      <a:pt x="144" y="272"/>
                    </a:lnTo>
                    <a:lnTo>
                      <a:pt x="144" y="272"/>
                    </a:lnTo>
                    <a:lnTo>
                      <a:pt x="146" y="272"/>
                    </a:lnTo>
                    <a:lnTo>
                      <a:pt x="144" y="274"/>
                    </a:lnTo>
                    <a:lnTo>
                      <a:pt x="144" y="274"/>
                    </a:lnTo>
                    <a:lnTo>
                      <a:pt x="144" y="277"/>
                    </a:lnTo>
                    <a:lnTo>
                      <a:pt x="144" y="277"/>
                    </a:lnTo>
                    <a:lnTo>
                      <a:pt x="142" y="277"/>
                    </a:lnTo>
                    <a:lnTo>
                      <a:pt x="142" y="277"/>
                    </a:lnTo>
                    <a:lnTo>
                      <a:pt x="144" y="277"/>
                    </a:lnTo>
                    <a:lnTo>
                      <a:pt x="144" y="277"/>
                    </a:lnTo>
                    <a:lnTo>
                      <a:pt x="149" y="277"/>
                    </a:lnTo>
                    <a:lnTo>
                      <a:pt x="149" y="277"/>
                    </a:lnTo>
                    <a:lnTo>
                      <a:pt x="151" y="279"/>
                    </a:lnTo>
                    <a:lnTo>
                      <a:pt x="151" y="279"/>
                    </a:lnTo>
                    <a:lnTo>
                      <a:pt x="151" y="279"/>
                    </a:lnTo>
                    <a:lnTo>
                      <a:pt x="153" y="279"/>
                    </a:lnTo>
                    <a:lnTo>
                      <a:pt x="153" y="279"/>
                    </a:lnTo>
                    <a:lnTo>
                      <a:pt x="153" y="279"/>
                    </a:lnTo>
                    <a:lnTo>
                      <a:pt x="153" y="282"/>
                    </a:lnTo>
                    <a:lnTo>
                      <a:pt x="158" y="282"/>
                    </a:lnTo>
                    <a:lnTo>
                      <a:pt x="158" y="282"/>
                    </a:lnTo>
                    <a:lnTo>
                      <a:pt x="158" y="282"/>
                    </a:lnTo>
                    <a:lnTo>
                      <a:pt x="160" y="282"/>
                    </a:lnTo>
                    <a:lnTo>
                      <a:pt x="160" y="282"/>
                    </a:lnTo>
                    <a:lnTo>
                      <a:pt x="160" y="282"/>
                    </a:lnTo>
                    <a:lnTo>
                      <a:pt x="163" y="284"/>
                    </a:lnTo>
                    <a:lnTo>
                      <a:pt x="163" y="284"/>
                    </a:lnTo>
                    <a:lnTo>
                      <a:pt x="165" y="284"/>
                    </a:lnTo>
                    <a:lnTo>
                      <a:pt x="168" y="284"/>
                    </a:lnTo>
                    <a:lnTo>
                      <a:pt x="170" y="284"/>
                    </a:lnTo>
                    <a:lnTo>
                      <a:pt x="172" y="284"/>
                    </a:lnTo>
                    <a:lnTo>
                      <a:pt x="172" y="284"/>
                    </a:lnTo>
                    <a:lnTo>
                      <a:pt x="175" y="284"/>
                    </a:lnTo>
                    <a:lnTo>
                      <a:pt x="177" y="284"/>
                    </a:lnTo>
                    <a:lnTo>
                      <a:pt x="177" y="284"/>
                    </a:lnTo>
                    <a:lnTo>
                      <a:pt x="179" y="284"/>
                    </a:lnTo>
                    <a:lnTo>
                      <a:pt x="179" y="284"/>
                    </a:lnTo>
                    <a:lnTo>
                      <a:pt x="179" y="282"/>
                    </a:lnTo>
                    <a:lnTo>
                      <a:pt x="177" y="282"/>
                    </a:lnTo>
                    <a:lnTo>
                      <a:pt x="179" y="282"/>
                    </a:lnTo>
                    <a:lnTo>
                      <a:pt x="182" y="282"/>
                    </a:lnTo>
                    <a:lnTo>
                      <a:pt x="182" y="282"/>
                    </a:lnTo>
                    <a:lnTo>
                      <a:pt x="184" y="282"/>
                    </a:lnTo>
                    <a:lnTo>
                      <a:pt x="184" y="279"/>
                    </a:lnTo>
                    <a:lnTo>
                      <a:pt x="186" y="279"/>
                    </a:lnTo>
                    <a:lnTo>
                      <a:pt x="186" y="277"/>
                    </a:lnTo>
                    <a:lnTo>
                      <a:pt x="189" y="277"/>
                    </a:lnTo>
                    <a:lnTo>
                      <a:pt x="189" y="277"/>
                    </a:lnTo>
                    <a:lnTo>
                      <a:pt x="191" y="277"/>
                    </a:lnTo>
                    <a:lnTo>
                      <a:pt x="191" y="274"/>
                    </a:lnTo>
                    <a:lnTo>
                      <a:pt x="191" y="272"/>
                    </a:lnTo>
                    <a:lnTo>
                      <a:pt x="194" y="272"/>
                    </a:lnTo>
                    <a:lnTo>
                      <a:pt x="196" y="272"/>
                    </a:lnTo>
                    <a:lnTo>
                      <a:pt x="196" y="274"/>
                    </a:lnTo>
                    <a:lnTo>
                      <a:pt x="196" y="272"/>
                    </a:lnTo>
                    <a:lnTo>
                      <a:pt x="198" y="274"/>
                    </a:lnTo>
                    <a:lnTo>
                      <a:pt x="198" y="277"/>
                    </a:lnTo>
                    <a:lnTo>
                      <a:pt x="198" y="277"/>
                    </a:lnTo>
                    <a:lnTo>
                      <a:pt x="201" y="277"/>
                    </a:lnTo>
                    <a:lnTo>
                      <a:pt x="203" y="277"/>
                    </a:lnTo>
                    <a:lnTo>
                      <a:pt x="203" y="279"/>
                    </a:lnTo>
                    <a:lnTo>
                      <a:pt x="205" y="282"/>
                    </a:lnTo>
                    <a:lnTo>
                      <a:pt x="205" y="282"/>
                    </a:lnTo>
                    <a:lnTo>
                      <a:pt x="205" y="284"/>
                    </a:lnTo>
                    <a:lnTo>
                      <a:pt x="208" y="282"/>
                    </a:lnTo>
                    <a:lnTo>
                      <a:pt x="208" y="284"/>
                    </a:lnTo>
                    <a:lnTo>
                      <a:pt x="205" y="286"/>
                    </a:lnTo>
                    <a:lnTo>
                      <a:pt x="205" y="286"/>
                    </a:lnTo>
                    <a:lnTo>
                      <a:pt x="205" y="289"/>
                    </a:lnTo>
                    <a:lnTo>
                      <a:pt x="203" y="289"/>
                    </a:lnTo>
                    <a:lnTo>
                      <a:pt x="203" y="289"/>
                    </a:lnTo>
                    <a:lnTo>
                      <a:pt x="203" y="291"/>
                    </a:lnTo>
                    <a:lnTo>
                      <a:pt x="203" y="291"/>
                    </a:lnTo>
                    <a:lnTo>
                      <a:pt x="201" y="293"/>
                    </a:lnTo>
                    <a:lnTo>
                      <a:pt x="201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3" y="293"/>
                    </a:lnTo>
                    <a:lnTo>
                      <a:pt x="205" y="293"/>
                    </a:lnTo>
                    <a:lnTo>
                      <a:pt x="205" y="293"/>
                    </a:lnTo>
                    <a:lnTo>
                      <a:pt x="205" y="293"/>
                    </a:lnTo>
                    <a:lnTo>
                      <a:pt x="208" y="291"/>
                    </a:lnTo>
                    <a:lnTo>
                      <a:pt x="208" y="291"/>
                    </a:lnTo>
                    <a:lnTo>
                      <a:pt x="208" y="293"/>
                    </a:lnTo>
                    <a:lnTo>
                      <a:pt x="210" y="293"/>
                    </a:lnTo>
                    <a:lnTo>
                      <a:pt x="210" y="293"/>
                    </a:lnTo>
                    <a:lnTo>
                      <a:pt x="210" y="293"/>
                    </a:lnTo>
                    <a:lnTo>
                      <a:pt x="212" y="293"/>
                    </a:lnTo>
                    <a:lnTo>
                      <a:pt x="215" y="293"/>
                    </a:lnTo>
                    <a:lnTo>
                      <a:pt x="215" y="291"/>
                    </a:lnTo>
                    <a:lnTo>
                      <a:pt x="219" y="291"/>
                    </a:lnTo>
                    <a:lnTo>
                      <a:pt x="224" y="291"/>
                    </a:lnTo>
                    <a:lnTo>
                      <a:pt x="227" y="291"/>
                    </a:lnTo>
                    <a:lnTo>
                      <a:pt x="229" y="293"/>
                    </a:lnTo>
                    <a:lnTo>
                      <a:pt x="229" y="293"/>
                    </a:lnTo>
                    <a:lnTo>
                      <a:pt x="231" y="296"/>
                    </a:lnTo>
                    <a:lnTo>
                      <a:pt x="231" y="296"/>
                    </a:lnTo>
                    <a:lnTo>
                      <a:pt x="236" y="296"/>
                    </a:lnTo>
                    <a:lnTo>
                      <a:pt x="241" y="298"/>
                    </a:lnTo>
                    <a:lnTo>
                      <a:pt x="245" y="296"/>
                    </a:lnTo>
                    <a:lnTo>
                      <a:pt x="245" y="293"/>
                    </a:lnTo>
                    <a:lnTo>
                      <a:pt x="245" y="293"/>
                    </a:lnTo>
                    <a:lnTo>
                      <a:pt x="245" y="293"/>
                    </a:lnTo>
                    <a:lnTo>
                      <a:pt x="245" y="293"/>
                    </a:lnTo>
                    <a:lnTo>
                      <a:pt x="245" y="293"/>
                    </a:lnTo>
                    <a:lnTo>
                      <a:pt x="248" y="293"/>
                    </a:lnTo>
                    <a:lnTo>
                      <a:pt x="250" y="293"/>
                    </a:lnTo>
                    <a:lnTo>
                      <a:pt x="250" y="293"/>
                    </a:lnTo>
                    <a:lnTo>
                      <a:pt x="250" y="291"/>
                    </a:lnTo>
                    <a:lnTo>
                      <a:pt x="253" y="291"/>
                    </a:lnTo>
                    <a:lnTo>
                      <a:pt x="253" y="289"/>
                    </a:lnTo>
                    <a:lnTo>
                      <a:pt x="253" y="286"/>
                    </a:lnTo>
                    <a:lnTo>
                      <a:pt x="253" y="284"/>
                    </a:lnTo>
                    <a:lnTo>
                      <a:pt x="255" y="284"/>
                    </a:lnTo>
                    <a:lnTo>
                      <a:pt x="255" y="284"/>
                    </a:lnTo>
                    <a:lnTo>
                      <a:pt x="255" y="282"/>
                    </a:lnTo>
                    <a:lnTo>
                      <a:pt x="257" y="282"/>
                    </a:lnTo>
                    <a:lnTo>
                      <a:pt x="257" y="282"/>
                    </a:lnTo>
                    <a:lnTo>
                      <a:pt x="260" y="282"/>
                    </a:lnTo>
                    <a:lnTo>
                      <a:pt x="262" y="279"/>
                    </a:lnTo>
                    <a:lnTo>
                      <a:pt x="264" y="277"/>
                    </a:lnTo>
                    <a:lnTo>
                      <a:pt x="264" y="279"/>
                    </a:lnTo>
                    <a:lnTo>
                      <a:pt x="264" y="277"/>
                    </a:lnTo>
                    <a:lnTo>
                      <a:pt x="267" y="277"/>
                    </a:lnTo>
                    <a:lnTo>
                      <a:pt x="267" y="277"/>
                    </a:lnTo>
                    <a:lnTo>
                      <a:pt x="269" y="277"/>
                    </a:lnTo>
                    <a:lnTo>
                      <a:pt x="271" y="274"/>
                    </a:lnTo>
                    <a:lnTo>
                      <a:pt x="271" y="274"/>
                    </a:lnTo>
                    <a:lnTo>
                      <a:pt x="274" y="274"/>
                    </a:lnTo>
                    <a:lnTo>
                      <a:pt x="274" y="274"/>
                    </a:lnTo>
                    <a:lnTo>
                      <a:pt x="281" y="267"/>
                    </a:lnTo>
                    <a:lnTo>
                      <a:pt x="281" y="267"/>
                    </a:lnTo>
                    <a:lnTo>
                      <a:pt x="281" y="265"/>
                    </a:lnTo>
                    <a:lnTo>
                      <a:pt x="283" y="263"/>
                    </a:lnTo>
                    <a:lnTo>
                      <a:pt x="283" y="260"/>
                    </a:lnTo>
                    <a:lnTo>
                      <a:pt x="283" y="260"/>
                    </a:lnTo>
                    <a:lnTo>
                      <a:pt x="283" y="260"/>
                    </a:lnTo>
                    <a:lnTo>
                      <a:pt x="286" y="260"/>
                    </a:lnTo>
                    <a:lnTo>
                      <a:pt x="288" y="258"/>
                    </a:lnTo>
                    <a:lnTo>
                      <a:pt x="286" y="258"/>
                    </a:lnTo>
                    <a:lnTo>
                      <a:pt x="288" y="256"/>
                    </a:lnTo>
                    <a:lnTo>
                      <a:pt x="290" y="256"/>
                    </a:lnTo>
                    <a:lnTo>
                      <a:pt x="290" y="253"/>
                    </a:lnTo>
                    <a:lnTo>
                      <a:pt x="293" y="251"/>
                    </a:lnTo>
                    <a:lnTo>
                      <a:pt x="295" y="251"/>
                    </a:lnTo>
                    <a:lnTo>
                      <a:pt x="295" y="248"/>
                    </a:lnTo>
                    <a:lnTo>
                      <a:pt x="293" y="246"/>
                    </a:lnTo>
                    <a:lnTo>
                      <a:pt x="295" y="246"/>
                    </a:lnTo>
                    <a:lnTo>
                      <a:pt x="295" y="246"/>
                    </a:lnTo>
                    <a:lnTo>
                      <a:pt x="295" y="246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97" y="241"/>
                    </a:lnTo>
                    <a:lnTo>
                      <a:pt x="295" y="239"/>
                    </a:lnTo>
                    <a:lnTo>
                      <a:pt x="295" y="237"/>
                    </a:lnTo>
                    <a:lnTo>
                      <a:pt x="293" y="237"/>
                    </a:lnTo>
                    <a:lnTo>
                      <a:pt x="295" y="234"/>
                    </a:lnTo>
                    <a:lnTo>
                      <a:pt x="295" y="232"/>
                    </a:lnTo>
                    <a:lnTo>
                      <a:pt x="297" y="234"/>
                    </a:lnTo>
                    <a:lnTo>
                      <a:pt x="297" y="230"/>
                    </a:lnTo>
                    <a:lnTo>
                      <a:pt x="300" y="227"/>
                    </a:lnTo>
                    <a:lnTo>
                      <a:pt x="300" y="225"/>
                    </a:lnTo>
                    <a:lnTo>
                      <a:pt x="302" y="220"/>
                    </a:lnTo>
                    <a:lnTo>
                      <a:pt x="302" y="220"/>
                    </a:lnTo>
                    <a:lnTo>
                      <a:pt x="305" y="218"/>
                    </a:lnTo>
                    <a:lnTo>
                      <a:pt x="302" y="218"/>
                    </a:lnTo>
                    <a:lnTo>
                      <a:pt x="305" y="215"/>
                    </a:lnTo>
                    <a:lnTo>
                      <a:pt x="307" y="211"/>
                    </a:lnTo>
                    <a:lnTo>
                      <a:pt x="307" y="208"/>
                    </a:lnTo>
                    <a:lnTo>
                      <a:pt x="309" y="204"/>
                    </a:lnTo>
                    <a:lnTo>
                      <a:pt x="312" y="201"/>
                    </a:lnTo>
                    <a:lnTo>
                      <a:pt x="314" y="201"/>
                    </a:lnTo>
                    <a:lnTo>
                      <a:pt x="314" y="201"/>
                    </a:lnTo>
                    <a:lnTo>
                      <a:pt x="316" y="199"/>
                    </a:lnTo>
                    <a:lnTo>
                      <a:pt x="316" y="199"/>
                    </a:lnTo>
                    <a:lnTo>
                      <a:pt x="314" y="199"/>
                    </a:lnTo>
                    <a:lnTo>
                      <a:pt x="314" y="199"/>
                    </a:lnTo>
                    <a:lnTo>
                      <a:pt x="314" y="197"/>
                    </a:lnTo>
                    <a:lnTo>
                      <a:pt x="314" y="194"/>
                    </a:lnTo>
                    <a:lnTo>
                      <a:pt x="314" y="194"/>
                    </a:lnTo>
                    <a:lnTo>
                      <a:pt x="316" y="194"/>
                    </a:lnTo>
                    <a:lnTo>
                      <a:pt x="316" y="189"/>
                    </a:lnTo>
                    <a:lnTo>
                      <a:pt x="316" y="189"/>
                    </a:lnTo>
                    <a:lnTo>
                      <a:pt x="316" y="187"/>
                    </a:lnTo>
                    <a:lnTo>
                      <a:pt x="319" y="185"/>
                    </a:lnTo>
                    <a:lnTo>
                      <a:pt x="319" y="185"/>
                    </a:lnTo>
                    <a:lnTo>
                      <a:pt x="321" y="180"/>
                    </a:lnTo>
                    <a:lnTo>
                      <a:pt x="323" y="178"/>
                    </a:lnTo>
                    <a:lnTo>
                      <a:pt x="319" y="175"/>
                    </a:lnTo>
                    <a:lnTo>
                      <a:pt x="321" y="173"/>
                    </a:lnTo>
                    <a:lnTo>
                      <a:pt x="321" y="173"/>
                    </a:lnTo>
                    <a:lnTo>
                      <a:pt x="321" y="171"/>
                    </a:lnTo>
                    <a:lnTo>
                      <a:pt x="319" y="173"/>
                    </a:lnTo>
                    <a:lnTo>
                      <a:pt x="319" y="171"/>
                    </a:lnTo>
                    <a:lnTo>
                      <a:pt x="319" y="168"/>
                    </a:lnTo>
                    <a:lnTo>
                      <a:pt x="321" y="171"/>
                    </a:lnTo>
                    <a:lnTo>
                      <a:pt x="321" y="168"/>
                    </a:lnTo>
                    <a:lnTo>
                      <a:pt x="321" y="168"/>
                    </a:lnTo>
                    <a:lnTo>
                      <a:pt x="321" y="166"/>
                    </a:lnTo>
                    <a:lnTo>
                      <a:pt x="323" y="166"/>
                    </a:lnTo>
                    <a:lnTo>
                      <a:pt x="323" y="163"/>
                    </a:lnTo>
                    <a:lnTo>
                      <a:pt x="326" y="166"/>
                    </a:lnTo>
                    <a:lnTo>
                      <a:pt x="326" y="161"/>
                    </a:lnTo>
                    <a:lnTo>
                      <a:pt x="326" y="159"/>
                    </a:lnTo>
                    <a:lnTo>
                      <a:pt x="326" y="156"/>
                    </a:lnTo>
                    <a:lnTo>
                      <a:pt x="328" y="156"/>
                    </a:lnTo>
                    <a:lnTo>
                      <a:pt x="331" y="156"/>
                    </a:lnTo>
                    <a:lnTo>
                      <a:pt x="331" y="154"/>
                    </a:lnTo>
                    <a:lnTo>
                      <a:pt x="331" y="154"/>
                    </a:lnTo>
                    <a:lnTo>
                      <a:pt x="333" y="154"/>
                    </a:lnTo>
                    <a:lnTo>
                      <a:pt x="333" y="156"/>
                    </a:lnTo>
                    <a:lnTo>
                      <a:pt x="335" y="156"/>
                    </a:lnTo>
                    <a:lnTo>
                      <a:pt x="335" y="154"/>
                    </a:lnTo>
                    <a:lnTo>
                      <a:pt x="338" y="149"/>
                    </a:lnTo>
                    <a:lnTo>
                      <a:pt x="340" y="149"/>
                    </a:lnTo>
                    <a:lnTo>
                      <a:pt x="340" y="147"/>
                    </a:lnTo>
                    <a:lnTo>
                      <a:pt x="345" y="142"/>
                    </a:lnTo>
                    <a:lnTo>
                      <a:pt x="345" y="140"/>
                    </a:lnTo>
                    <a:lnTo>
                      <a:pt x="349" y="128"/>
                    </a:lnTo>
                    <a:lnTo>
                      <a:pt x="352" y="128"/>
                    </a:lnTo>
                    <a:lnTo>
                      <a:pt x="352" y="123"/>
                    </a:lnTo>
                    <a:lnTo>
                      <a:pt x="354" y="123"/>
                    </a:lnTo>
                    <a:lnTo>
                      <a:pt x="354" y="121"/>
                    </a:lnTo>
                    <a:lnTo>
                      <a:pt x="354" y="121"/>
                    </a:lnTo>
                    <a:lnTo>
                      <a:pt x="357" y="119"/>
                    </a:lnTo>
                    <a:lnTo>
                      <a:pt x="361" y="109"/>
                    </a:lnTo>
                    <a:lnTo>
                      <a:pt x="364" y="107"/>
                    </a:lnTo>
                    <a:lnTo>
                      <a:pt x="364" y="107"/>
                    </a:lnTo>
                    <a:lnTo>
                      <a:pt x="366" y="100"/>
                    </a:lnTo>
                    <a:lnTo>
                      <a:pt x="366" y="100"/>
                    </a:lnTo>
                    <a:lnTo>
                      <a:pt x="366" y="97"/>
                    </a:lnTo>
                    <a:lnTo>
                      <a:pt x="368" y="93"/>
                    </a:lnTo>
                    <a:lnTo>
                      <a:pt x="371" y="93"/>
                    </a:lnTo>
                    <a:lnTo>
                      <a:pt x="373" y="93"/>
                    </a:lnTo>
                    <a:lnTo>
                      <a:pt x="373" y="90"/>
                    </a:lnTo>
                    <a:lnTo>
                      <a:pt x="373" y="85"/>
                    </a:lnTo>
                    <a:lnTo>
                      <a:pt x="373" y="85"/>
                    </a:lnTo>
                    <a:lnTo>
                      <a:pt x="375" y="83"/>
                    </a:lnTo>
                    <a:lnTo>
                      <a:pt x="378" y="83"/>
                    </a:lnTo>
                    <a:lnTo>
                      <a:pt x="378" y="83"/>
                    </a:lnTo>
                    <a:lnTo>
                      <a:pt x="380" y="83"/>
                    </a:lnTo>
                    <a:lnTo>
                      <a:pt x="382" y="81"/>
                    </a:lnTo>
                    <a:lnTo>
                      <a:pt x="382" y="78"/>
                    </a:lnTo>
                    <a:lnTo>
                      <a:pt x="382" y="78"/>
                    </a:lnTo>
                    <a:lnTo>
                      <a:pt x="382" y="76"/>
                    </a:lnTo>
                    <a:lnTo>
                      <a:pt x="387" y="76"/>
                    </a:lnTo>
                    <a:lnTo>
                      <a:pt x="387" y="74"/>
                    </a:lnTo>
                    <a:lnTo>
                      <a:pt x="387" y="74"/>
                    </a:lnTo>
                    <a:lnTo>
                      <a:pt x="390" y="71"/>
                    </a:lnTo>
                    <a:lnTo>
                      <a:pt x="392" y="69"/>
                    </a:lnTo>
                    <a:lnTo>
                      <a:pt x="392" y="67"/>
                    </a:lnTo>
                    <a:lnTo>
                      <a:pt x="392" y="64"/>
                    </a:lnTo>
                    <a:lnTo>
                      <a:pt x="392" y="62"/>
                    </a:lnTo>
                    <a:lnTo>
                      <a:pt x="392" y="62"/>
                    </a:lnTo>
                    <a:lnTo>
                      <a:pt x="397" y="57"/>
                    </a:lnTo>
                    <a:lnTo>
                      <a:pt x="397" y="57"/>
                    </a:lnTo>
                    <a:lnTo>
                      <a:pt x="401" y="57"/>
                    </a:lnTo>
                    <a:lnTo>
                      <a:pt x="401" y="55"/>
                    </a:lnTo>
                    <a:lnTo>
                      <a:pt x="404" y="55"/>
                    </a:lnTo>
                    <a:lnTo>
                      <a:pt x="406" y="52"/>
                    </a:lnTo>
                    <a:lnTo>
                      <a:pt x="408" y="52"/>
                    </a:lnTo>
                    <a:lnTo>
                      <a:pt x="408" y="48"/>
                    </a:lnTo>
                    <a:lnTo>
                      <a:pt x="408" y="48"/>
                    </a:lnTo>
                    <a:lnTo>
                      <a:pt x="411" y="45"/>
                    </a:lnTo>
                    <a:lnTo>
                      <a:pt x="413" y="38"/>
                    </a:lnTo>
                    <a:lnTo>
                      <a:pt x="416" y="36"/>
                    </a:lnTo>
                    <a:lnTo>
                      <a:pt x="416" y="31"/>
                    </a:lnTo>
                    <a:lnTo>
                      <a:pt x="416" y="26"/>
                    </a:lnTo>
                    <a:lnTo>
                      <a:pt x="416" y="26"/>
                    </a:lnTo>
                    <a:lnTo>
                      <a:pt x="418" y="24"/>
                    </a:lnTo>
                    <a:lnTo>
                      <a:pt x="418" y="12"/>
                    </a:lnTo>
                    <a:lnTo>
                      <a:pt x="420" y="3"/>
                    </a:lnTo>
                    <a:lnTo>
                      <a:pt x="420" y="0"/>
                    </a:lnTo>
                    <a:lnTo>
                      <a:pt x="423" y="0"/>
                    </a:lnTo>
                    <a:lnTo>
                      <a:pt x="425" y="0"/>
                    </a:lnTo>
                    <a:lnTo>
                      <a:pt x="427" y="0"/>
                    </a:lnTo>
                    <a:lnTo>
                      <a:pt x="430" y="0"/>
                    </a:lnTo>
                    <a:lnTo>
                      <a:pt x="434" y="5"/>
                    </a:lnTo>
                    <a:lnTo>
                      <a:pt x="437" y="8"/>
                    </a:lnTo>
                    <a:lnTo>
                      <a:pt x="446" y="19"/>
                    </a:lnTo>
                    <a:lnTo>
                      <a:pt x="460" y="31"/>
                    </a:lnTo>
                    <a:lnTo>
                      <a:pt x="460" y="34"/>
                    </a:lnTo>
                    <a:lnTo>
                      <a:pt x="463" y="36"/>
                    </a:lnTo>
                    <a:lnTo>
                      <a:pt x="463" y="38"/>
                    </a:lnTo>
                    <a:lnTo>
                      <a:pt x="465" y="41"/>
                    </a:lnTo>
                    <a:lnTo>
                      <a:pt x="468" y="48"/>
                    </a:lnTo>
                    <a:lnTo>
                      <a:pt x="468" y="50"/>
                    </a:lnTo>
                    <a:lnTo>
                      <a:pt x="468" y="50"/>
                    </a:lnTo>
                    <a:lnTo>
                      <a:pt x="468" y="55"/>
                    </a:lnTo>
                    <a:lnTo>
                      <a:pt x="470" y="57"/>
                    </a:lnTo>
                    <a:lnTo>
                      <a:pt x="470" y="62"/>
                    </a:lnTo>
                    <a:lnTo>
                      <a:pt x="470" y="64"/>
                    </a:lnTo>
                    <a:lnTo>
                      <a:pt x="470" y="64"/>
                    </a:lnTo>
                    <a:lnTo>
                      <a:pt x="475" y="69"/>
                    </a:lnTo>
                    <a:lnTo>
                      <a:pt x="479" y="69"/>
                    </a:lnTo>
                    <a:lnTo>
                      <a:pt x="482" y="71"/>
                    </a:lnTo>
                    <a:lnTo>
                      <a:pt x="482" y="71"/>
                    </a:lnTo>
                    <a:lnTo>
                      <a:pt x="482" y="71"/>
                    </a:lnTo>
                    <a:lnTo>
                      <a:pt x="482" y="76"/>
                    </a:lnTo>
                    <a:lnTo>
                      <a:pt x="482" y="78"/>
                    </a:lnTo>
                    <a:lnTo>
                      <a:pt x="482" y="85"/>
                    </a:lnTo>
                    <a:lnTo>
                      <a:pt x="482" y="85"/>
                    </a:lnTo>
                    <a:lnTo>
                      <a:pt x="482" y="88"/>
                    </a:lnTo>
                    <a:lnTo>
                      <a:pt x="479" y="90"/>
                    </a:lnTo>
                    <a:lnTo>
                      <a:pt x="482" y="93"/>
                    </a:lnTo>
                    <a:lnTo>
                      <a:pt x="479" y="93"/>
                    </a:lnTo>
                    <a:lnTo>
                      <a:pt x="479" y="95"/>
                    </a:lnTo>
                    <a:lnTo>
                      <a:pt x="479" y="100"/>
                    </a:lnTo>
                    <a:lnTo>
                      <a:pt x="482" y="104"/>
                    </a:lnTo>
                    <a:lnTo>
                      <a:pt x="482" y="123"/>
                    </a:lnTo>
                    <a:lnTo>
                      <a:pt x="482" y="128"/>
                    </a:lnTo>
                    <a:lnTo>
                      <a:pt x="482" y="128"/>
                    </a:lnTo>
                    <a:lnTo>
                      <a:pt x="479" y="128"/>
                    </a:lnTo>
                    <a:lnTo>
                      <a:pt x="479" y="128"/>
                    </a:lnTo>
                    <a:lnTo>
                      <a:pt x="479" y="137"/>
                    </a:lnTo>
                    <a:lnTo>
                      <a:pt x="482" y="140"/>
                    </a:lnTo>
                    <a:lnTo>
                      <a:pt x="489" y="161"/>
                    </a:lnTo>
                    <a:lnTo>
                      <a:pt x="489" y="163"/>
                    </a:lnTo>
                    <a:lnTo>
                      <a:pt x="486" y="166"/>
                    </a:lnTo>
                    <a:lnTo>
                      <a:pt x="486" y="168"/>
                    </a:lnTo>
                    <a:lnTo>
                      <a:pt x="486" y="168"/>
                    </a:lnTo>
                    <a:lnTo>
                      <a:pt x="489" y="173"/>
                    </a:lnTo>
                    <a:lnTo>
                      <a:pt x="491" y="175"/>
                    </a:lnTo>
                    <a:lnTo>
                      <a:pt x="491" y="178"/>
                    </a:lnTo>
                    <a:lnTo>
                      <a:pt x="489" y="178"/>
                    </a:lnTo>
                    <a:lnTo>
                      <a:pt x="489" y="182"/>
                    </a:lnTo>
                    <a:lnTo>
                      <a:pt x="491" y="182"/>
                    </a:lnTo>
                    <a:lnTo>
                      <a:pt x="491" y="185"/>
                    </a:lnTo>
                    <a:lnTo>
                      <a:pt x="494" y="187"/>
                    </a:lnTo>
                    <a:lnTo>
                      <a:pt x="494" y="192"/>
                    </a:lnTo>
                    <a:lnTo>
                      <a:pt x="494" y="192"/>
                    </a:lnTo>
                    <a:lnTo>
                      <a:pt x="494" y="197"/>
                    </a:lnTo>
                    <a:lnTo>
                      <a:pt x="494" y="199"/>
                    </a:lnTo>
                    <a:lnTo>
                      <a:pt x="496" y="201"/>
                    </a:lnTo>
                    <a:lnTo>
                      <a:pt x="498" y="204"/>
                    </a:lnTo>
                    <a:lnTo>
                      <a:pt x="498" y="206"/>
                    </a:lnTo>
                    <a:lnTo>
                      <a:pt x="498" y="208"/>
                    </a:lnTo>
                    <a:lnTo>
                      <a:pt x="498" y="211"/>
                    </a:lnTo>
                    <a:lnTo>
                      <a:pt x="498" y="213"/>
                    </a:lnTo>
                    <a:lnTo>
                      <a:pt x="501" y="213"/>
                    </a:lnTo>
                    <a:lnTo>
                      <a:pt x="503" y="213"/>
                    </a:lnTo>
                    <a:lnTo>
                      <a:pt x="503" y="213"/>
                    </a:lnTo>
                    <a:lnTo>
                      <a:pt x="503" y="215"/>
                    </a:lnTo>
                    <a:lnTo>
                      <a:pt x="503" y="218"/>
                    </a:lnTo>
                    <a:lnTo>
                      <a:pt x="503" y="220"/>
                    </a:lnTo>
                    <a:lnTo>
                      <a:pt x="505" y="220"/>
                    </a:lnTo>
                    <a:lnTo>
                      <a:pt x="505" y="222"/>
                    </a:lnTo>
                    <a:lnTo>
                      <a:pt x="505" y="230"/>
                    </a:lnTo>
                    <a:lnTo>
                      <a:pt x="508" y="230"/>
                    </a:lnTo>
                    <a:lnTo>
                      <a:pt x="510" y="232"/>
                    </a:lnTo>
                    <a:lnTo>
                      <a:pt x="510" y="234"/>
                    </a:lnTo>
                    <a:lnTo>
                      <a:pt x="510" y="234"/>
                    </a:lnTo>
                    <a:lnTo>
                      <a:pt x="510" y="239"/>
                    </a:lnTo>
                    <a:lnTo>
                      <a:pt x="510" y="241"/>
                    </a:lnTo>
                    <a:lnTo>
                      <a:pt x="510" y="241"/>
                    </a:lnTo>
                    <a:lnTo>
                      <a:pt x="512" y="244"/>
                    </a:lnTo>
                    <a:lnTo>
                      <a:pt x="512" y="248"/>
                    </a:lnTo>
                    <a:lnTo>
                      <a:pt x="512" y="251"/>
                    </a:lnTo>
                    <a:lnTo>
                      <a:pt x="510" y="253"/>
                    </a:lnTo>
                    <a:lnTo>
                      <a:pt x="510" y="256"/>
                    </a:lnTo>
                    <a:lnTo>
                      <a:pt x="510" y="256"/>
                    </a:lnTo>
                    <a:lnTo>
                      <a:pt x="510" y="253"/>
                    </a:lnTo>
                    <a:lnTo>
                      <a:pt x="510" y="253"/>
                    </a:lnTo>
                    <a:lnTo>
                      <a:pt x="512" y="253"/>
                    </a:lnTo>
                    <a:lnTo>
                      <a:pt x="515" y="251"/>
                    </a:lnTo>
                    <a:lnTo>
                      <a:pt x="517" y="251"/>
                    </a:lnTo>
                    <a:lnTo>
                      <a:pt x="517" y="253"/>
                    </a:lnTo>
                    <a:lnTo>
                      <a:pt x="520" y="256"/>
                    </a:lnTo>
                    <a:lnTo>
                      <a:pt x="520" y="256"/>
                    </a:lnTo>
                    <a:lnTo>
                      <a:pt x="520" y="258"/>
                    </a:lnTo>
                    <a:lnTo>
                      <a:pt x="522" y="260"/>
                    </a:lnTo>
                    <a:lnTo>
                      <a:pt x="522" y="263"/>
                    </a:lnTo>
                    <a:lnTo>
                      <a:pt x="520" y="265"/>
                    </a:lnTo>
                    <a:lnTo>
                      <a:pt x="522" y="267"/>
                    </a:lnTo>
                    <a:lnTo>
                      <a:pt x="522" y="267"/>
                    </a:lnTo>
                    <a:lnTo>
                      <a:pt x="522" y="272"/>
                    </a:lnTo>
                    <a:lnTo>
                      <a:pt x="522" y="272"/>
                    </a:lnTo>
                    <a:lnTo>
                      <a:pt x="524" y="274"/>
                    </a:lnTo>
                    <a:lnTo>
                      <a:pt x="524" y="277"/>
                    </a:lnTo>
                    <a:lnTo>
                      <a:pt x="524" y="279"/>
                    </a:lnTo>
                    <a:lnTo>
                      <a:pt x="527" y="282"/>
                    </a:lnTo>
                    <a:lnTo>
                      <a:pt x="527" y="284"/>
                    </a:lnTo>
                    <a:lnTo>
                      <a:pt x="527" y="286"/>
                    </a:lnTo>
                    <a:lnTo>
                      <a:pt x="527" y="286"/>
                    </a:lnTo>
                    <a:lnTo>
                      <a:pt x="529" y="289"/>
                    </a:lnTo>
                    <a:lnTo>
                      <a:pt x="529" y="291"/>
                    </a:lnTo>
                    <a:lnTo>
                      <a:pt x="531" y="293"/>
                    </a:lnTo>
                    <a:lnTo>
                      <a:pt x="531" y="296"/>
                    </a:lnTo>
                    <a:lnTo>
                      <a:pt x="531" y="298"/>
                    </a:lnTo>
                    <a:lnTo>
                      <a:pt x="531" y="300"/>
                    </a:lnTo>
                    <a:lnTo>
                      <a:pt x="529" y="300"/>
                    </a:lnTo>
                    <a:lnTo>
                      <a:pt x="529" y="300"/>
                    </a:lnTo>
                    <a:lnTo>
                      <a:pt x="534" y="298"/>
                    </a:lnTo>
                    <a:lnTo>
                      <a:pt x="543" y="296"/>
                    </a:lnTo>
                    <a:lnTo>
                      <a:pt x="545" y="293"/>
                    </a:lnTo>
                    <a:lnTo>
                      <a:pt x="553" y="291"/>
                    </a:lnTo>
                    <a:lnTo>
                      <a:pt x="557" y="291"/>
                    </a:lnTo>
                    <a:lnTo>
                      <a:pt x="560" y="291"/>
                    </a:lnTo>
                    <a:lnTo>
                      <a:pt x="562" y="293"/>
                    </a:lnTo>
                    <a:lnTo>
                      <a:pt x="562" y="293"/>
                    </a:lnTo>
                    <a:lnTo>
                      <a:pt x="562" y="293"/>
                    </a:lnTo>
                    <a:lnTo>
                      <a:pt x="564" y="296"/>
                    </a:lnTo>
                    <a:lnTo>
                      <a:pt x="564" y="298"/>
                    </a:lnTo>
                    <a:lnTo>
                      <a:pt x="569" y="303"/>
                    </a:lnTo>
                    <a:lnTo>
                      <a:pt x="569" y="303"/>
                    </a:lnTo>
                    <a:lnTo>
                      <a:pt x="569" y="303"/>
                    </a:lnTo>
                    <a:lnTo>
                      <a:pt x="571" y="305"/>
                    </a:lnTo>
                    <a:lnTo>
                      <a:pt x="571" y="305"/>
                    </a:lnTo>
                    <a:lnTo>
                      <a:pt x="574" y="308"/>
                    </a:lnTo>
                    <a:lnTo>
                      <a:pt x="574" y="308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2"/>
                    </a:lnTo>
                    <a:lnTo>
                      <a:pt x="576" y="315"/>
                    </a:lnTo>
                    <a:lnTo>
                      <a:pt x="576" y="315"/>
                    </a:lnTo>
                    <a:lnTo>
                      <a:pt x="579" y="317"/>
                    </a:lnTo>
                    <a:lnTo>
                      <a:pt x="579" y="322"/>
                    </a:lnTo>
                    <a:lnTo>
                      <a:pt x="579" y="322"/>
                    </a:lnTo>
                    <a:lnTo>
                      <a:pt x="581" y="324"/>
                    </a:lnTo>
                    <a:lnTo>
                      <a:pt x="583" y="334"/>
                    </a:lnTo>
                    <a:lnTo>
                      <a:pt x="588" y="343"/>
                    </a:lnTo>
                    <a:lnTo>
                      <a:pt x="595" y="343"/>
                    </a:lnTo>
                    <a:lnTo>
                      <a:pt x="605" y="345"/>
                    </a:lnTo>
                    <a:lnTo>
                      <a:pt x="607" y="345"/>
                    </a:lnTo>
                    <a:lnTo>
                      <a:pt x="612" y="348"/>
                    </a:lnTo>
                    <a:lnTo>
                      <a:pt x="614" y="348"/>
                    </a:lnTo>
                    <a:lnTo>
                      <a:pt x="619" y="350"/>
                    </a:lnTo>
                    <a:lnTo>
                      <a:pt x="628" y="357"/>
                    </a:lnTo>
                    <a:lnTo>
                      <a:pt x="628" y="357"/>
                    </a:lnTo>
                    <a:lnTo>
                      <a:pt x="628" y="360"/>
                    </a:lnTo>
                    <a:lnTo>
                      <a:pt x="628" y="360"/>
                    </a:lnTo>
                    <a:lnTo>
                      <a:pt x="628" y="362"/>
                    </a:lnTo>
                    <a:lnTo>
                      <a:pt x="631" y="362"/>
                    </a:lnTo>
                    <a:lnTo>
                      <a:pt x="631" y="367"/>
                    </a:lnTo>
                    <a:lnTo>
                      <a:pt x="633" y="378"/>
                    </a:lnTo>
                    <a:lnTo>
                      <a:pt x="633" y="385"/>
                    </a:lnTo>
                    <a:lnTo>
                      <a:pt x="633" y="388"/>
                    </a:lnTo>
                    <a:lnTo>
                      <a:pt x="633" y="390"/>
                    </a:lnTo>
                    <a:lnTo>
                      <a:pt x="633" y="397"/>
                    </a:lnTo>
                    <a:lnTo>
                      <a:pt x="633" y="397"/>
                    </a:lnTo>
                    <a:lnTo>
                      <a:pt x="631" y="407"/>
                    </a:lnTo>
                    <a:lnTo>
                      <a:pt x="628" y="411"/>
                    </a:lnTo>
                    <a:lnTo>
                      <a:pt x="631" y="414"/>
                    </a:lnTo>
                    <a:lnTo>
                      <a:pt x="631" y="419"/>
                    </a:lnTo>
                    <a:lnTo>
                      <a:pt x="631" y="421"/>
                    </a:lnTo>
                    <a:lnTo>
                      <a:pt x="631" y="423"/>
                    </a:lnTo>
                    <a:lnTo>
                      <a:pt x="628" y="428"/>
                    </a:lnTo>
                    <a:lnTo>
                      <a:pt x="628" y="430"/>
                    </a:lnTo>
                    <a:lnTo>
                      <a:pt x="626" y="435"/>
                    </a:lnTo>
                    <a:lnTo>
                      <a:pt x="626" y="435"/>
                    </a:lnTo>
                    <a:lnTo>
                      <a:pt x="626" y="435"/>
                    </a:lnTo>
                    <a:lnTo>
                      <a:pt x="626" y="435"/>
                    </a:lnTo>
                    <a:lnTo>
                      <a:pt x="626" y="445"/>
                    </a:lnTo>
                    <a:lnTo>
                      <a:pt x="626" y="445"/>
                    </a:lnTo>
                    <a:lnTo>
                      <a:pt x="626" y="449"/>
                    </a:lnTo>
                    <a:lnTo>
                      <a:pt x="626" y="449"/>
                    </a:lnTo>
                    <a:lnTo>
                      <a:pt x="626" y="452"/>
                    </a:lnTo>
                    <a:lnTo>
                      <a:pt x="621" y="454"/>
                    </a:lnTo>
                    <a:lnTo>
                      <a:pt x="621" y="454"/>
                    </a:lnTo>
                    <a:lnTo>
                      <a:pt x="619" y="459"/>
                    </a:lnTo>
                    <a:lnTo>
                      <a:pt x="619" y="461"/>
                    </a:lnTo>
                    <a:lnTo>
                      <a:pt x="614" y="466"/>
                    </a:lnTo>
                    <a:lnTo>
                      <a:pt x="612" y="468"/>
                    </a:lnTo>
                    <a:lnTo>
                      <a:pt x="612" y="468"/>
                    </a:lnTo>
                    <a:lnTo>
                      <a:pt x="612" y="468"/>
                    </a:lnTo>
                    <a:lnTo>
                      <a:pt x="612" y="468"/>
                    </a:lnTo>
                    <a:lnTo>
                      <a:pt x="612" y="468"/>
                    </a:lnTo>
                    <a:lnTo>
                      <a:pt x="612" y="471"/>
                    </a:lnTo>
                    <a:lnTo>
                      <a:pt x="612" y="471"/>
                    </a:lnTo>
                    <a:lnTo>
                      <a:pt x="609" y="473"/>
                    </a:lnTo>
                    <a:lnTo>
                      <a:pt x="612" y="473"/>
                    </a:lnTo>
                    <a:lnTo>
                      <a:pt x="612" y="475"/>
                    </a:lnTo>
                    <a:lnTo>
                      <a:pt x="612" y="475"/>
                    </a:lnTo>
                    <a:lnTo>
                      <a:pt x="609" y="475"/>
                    </a:lnTo>
                    <a:lnTo>
                      <a:pt x="609" y="475"/>
                    </a:lnTo>
                    <a:lnTo>
                      <a:pt x="609" y="478"/>
                    </a:lnTo>
                    <a:lnTo>
                      <a:pt x="607" y="478"/>
                    </a:lnTo>
                    <a:lnTo>
                      <a:pt x="607" y="478"/>
                    </a:lnTo>
                    <a:lnTo>
                      <a:pt x="607" y="478"/>
                    </a:lnTo>
                    <a:lnTo>
                      <a:pt x="605" y="487"/>
                    </a:lnTo>
                    <a:lnTo>
                      <a:pt x="597" y="487"/>
                    </a:lnTo>
                    <a:lnTo>
                      <a:pt x="593" y="487"/>
                    </a:lnTo>
                    <a:lnTo>
                      <a:pt x="588" y="489"/>
                    </a:lnTo>
                    <a:lnTo>
                      <a:pt x="586" y="489"/>
                    </a:lnTo>
                    <a:lnTo>
                      <a:pt x="579" y="492"/>
                    </a:lnTo>
                    <a:lnTo>
                      <a:pt x="574" y="494"/>
                    </a:lnTo>
                    <a:lnTo>
                      <a:pt x="567" y="497"/>
                    </a:lnTo>
                    <a:lnTo>
                      <a:pt x="567" y="499"/>
                    </a:lnTo>
                    <a:lnTo>
                      <a:pt x="567" y="499"/>
                    </a:lnTo>
                    <a:lnTo>
                      <a:pt x="562" y="501"/>
                    </a:lnTo>
                    <a:lnTo>
                      <a:pt x="562" y="506"/>
                    </a:lnTo>
                    <a:lnTo>
                      <a:pt x="557" y="511"/>
                    </a:lnTo>
                    <a:lnTo>
                      <a:pt x="557" y="518"/>
                    </a:lnTo>
                    <a:lnTo>
                      <a:pt x="557" y="520"/>
                    </a:lnTo>
                    <a:lnTo>
                      <a:pt x="555" y="522"/>
                    </a:lnTo>
                    <a:lnTo>
                      <a:pt x="553" y="532"/>
                    </a:lnTo>
                    <a:lnTo>
                      <a:pt x="550" y="534"/>
                    </a:lnTo>
                    <a:lnTo>
                      <a:pt x="548" y="539"/>
                    </a:lnTo>
                    <a:lnTo>
                      <a:pt x="545" y="544"/>
                    </a:lnTo>
                    <a:lnTo>
                      <a:pt x="543" y="548"/>
                    </a:lnTo>
                    <a:lnTo>
                      <a:pt x="538" y="551"/>
                    </a:lnTo>
                    <a:lnTo>
                      <a:pt x="536" y="553"/>
                    </a:lnTo>
                    <a:lnTo>
                      <a:pt x="534" y="556"/>
                    </a:lnTo>
                    <a:lnTo>
                      <a:pt x="524" y="563"/>
                    </a:lnTo>
                    <a:lnTo>
                      <a:pt x="520" y="565"/>
                    </a:lnTo>
                    <a:lnTo>
                      <a:pt x="515" y="567"/>
                    </a:lnTo>
                    <a:lnTo>
                      <a:pt x="503" y="570"/>
                    </a:lnTo>
                    <a:lnTo>
                      <a:pt x="501" y="570"/>
                    </a:lnTo>
                    <a:lnTo>
                      <a:pt x="501" y="570"/>
                    </a:lnTo>
                    <a:lnTo>
                      <a:pt x="494" y="574"/>
                    </a:lnTo>
                    <a:lnTo>
                      <a:pt x="494" y="577"/>
                    </a:lnTo>
                    <a:lnTo>
                      <a:pt x="491" y="579"/>
                    </a:lnTo>
                    <a:lnTo>
                      <a:pt x="491" y="579"/>
                    </a:lnTo>
                    <a:lnTo>
                      <a:pt x="491" y="579"/>
                    </a:lnTo>
                    <a:lnTo>
                      <a:pt x="489" y="584"/>
                    </a:lnTo>
                    <a:lnTo>
                      <a:pt x="486" y="584"/>
                    </a:lnTo>
                    <a:lnTo>
                      <a:pt x="484" y="586"/>
                    </a:lnTo>
                    <a:lnTo>
                      <a:pt x="482" y="589"/>
                    </a:lnTo>
                    <a:lnTo>
                      <a:pt x="479" y="591"/>
                    </a:lnTo>
                    <a:lnTo>
                      <a:pt x="479" y="591"/>
                    </a:lnTo>
                    <a:lnTo>
                      <a:pt x="477" y="593"/>
                    </a:lnTo>
                    <a:lnTo>
                      <a:pt x="470" y="593"/>
                    </a:lnTo>
                    <a:lnTo>
                      <a:pt x="463" y="596"/>
                    </a:lnTo>
                    <a:lnTo>
                      <a:pt x="460" y="603"/>
                    </a:lnTo>
                    <a:lnTo>
                      <a:pt x="458" y="605"/>
                    </a:lnTo>
                    <a:lnTo>
                      <a:pt x="453" y="610"/>
                    </a:lnTo>
                    <a:lnTo>
                      <a:pt x="453" y="612"/>
                    </a:lnTo>
                    <a:lnTo>
                      <a:pt x="449" y="615"/>
                    </a:lnTo>
                    <a:lnTo>
                      <a:pt x="449" y="617"/>
                    </a:lnTo>
                    <a:lnTo>
                      <a:pt x="446" y="619"/>
                    </a:lnTo>
                    <a:lnTo>
                      <a:pt x="446" y="622"/>
                    </a:lnTo>
                    <a:lnTo>
                      <a:pt x="446" y="622"/>
                    </a:lnTo>
                    <a:lnTo>
                      <a:pt x="446" y="629"/>
                    </a:lnTo>
                    <a:lnTo>
                      <a:pt x="439" y="634"/>
                    </a:lnTo>
                    <a:lnTo>
                      <a:pt x="437" y="636"/>
                    </a:lnTo>
                    <a:lnTo>
                      <a:pt x="437" y="643"/>
                    </a:lnTo>
                    <a:lnTo>
                      <a:pt x="434" y="648"/>
                    </a:lnTo>
                    <a:lnTo>
                      <a:pt x="430" y="652"/>
                    </a:lnTo>
                    <a:lnTo>
                      <a:pt x="425" y="655"/>
                    </a:lnTo>
                    <a:lnTo>
                      <a:pt x="425" y="655"/>
                    </a:lnTo>
                    <a:lnTo>
                      <a:pt x="418" y="662"/>
                    </a:lnTo>
                    <a:lnTo>
                      <a:pt x="416" y="664"/>
                    </a:lnTo>
                    <a:lnTo>
                      <a:pt x="406" y="681"/>
                    </a:lnTo>
                    <a:lnTo>
                      <a:pt x="406" y="681"/>
                    </a:lnTo>
                    <a:lnTo>
                      <a:pt x="406" y="683"/>
                    </a:lnTo>
                    <a:lnTo>
                      <a:pt x="404" y="683"/>
                    </a:lnTo>
                    <a:lnTo>
                      <a:pt x="404" y="683"/>
                    </a:lnTo>
                    <a:lnTo>
                      <a:pt x="404" y="688"/>
                    </a:lnTo>
                    <a:lnTo>
                      <a:pt x="404" y="697"/>
                    </a:lnTo>
                    <a:lnTo>
                      <a:pt x="404" y="700"/>
                    </a:lnTo>
                    <a:lnTo>
                      <a:pt x="401" y="700"/>
                    </a:lnTo>
                    <a:lnTo>
                      <a:pt x="404" y="709"/>
                    </a:lnTo>
                    <a:lnTo>
                      <a:pt x="404" y="714"/>
                    </a:lnTo>
                    <a:lnTo>
                      <a:pt x="404" y="716"/>
                    </a:lnTo>
                    <a:lnTo>
                      <a:pt x="404" y="716"/>
                    </a:lnTo>
                    <a:lnTo>
                      <a:pt x="401" y="719"/>
                    </a:lnTo>
                    <a:lnTo>
                      <a:pt x="392" y="728"/>
                    </a:lnTo>
                    <a:lnTo>
                      <a:pt x="390" y="733"/>
                    </a:lnTo>
                    <a:lnTo>
                      <a:pt x="378" y="733"/>
                    </a:lnTo>
                    <a:lnTo>
                      <a:pt x="378" y="733"/>
                    </a:lnTo>
                    <a:lnTo>
                      <a:pt x="373" y="728"/>
                    </a:lnTo>
                    <a:lnTo>
                      <a:pt x="373" y="728"/>
                    </a:lnTo>
                    <a:lnTo>
                      <a:pt x="371" y="733"/>
                    </a:lnTo>
                    <a:lnTo>
                      <a:pt x="371" y="733"/>
                    </a:lnTo>
                    <a:lnTo>
                      <a:pt x="371" y="733"/>
                    </a:lnTo>
                    <a:lnTo>
                      <a:pt x="368" y="733"/>
                    </a:lnTo>
                    <a:lnTo>
                      <a:pt x="368" y="733"/>
                    </a:lnTo>
                    <a:lnTo>
                      <a:pt x="368" y="728"/>
                    </a:lnTo>
                    <a:lnTo>
                      <a:pt x="368" y="728"/>
                    </a:lnTo>
                    <a:lnTo>
                      <a:pt x="366" y="726"/>
                    </a:lnTo>
                    <a:lnTo>
                      <a:pt x="366" y="726"/>
                    </a:lnTo>
                    <a:lnTo>
                      <a:pt x="366" y="728"/>
                    </a:lnTo>
                    <a:lnTo>
                      <a:pt x="366" y="733"/>
                    </a:lnTo>
                    <a:lnTo>
                      <a:pt x="366" y="733"/>
                    </a:lnTo>
                    <a:lnTo>
                      <a:pt x="366" y="733"/>
                    </a:lnTo>
                    <a:lnTo>
                      <a:pt x="364" y="733"/>
                    </a:lnTo>
                    <a:lnTo>
                      <a:pt x="359" y="733"/>
                    </a:lnTo>
                    <a:lnTo>
                      <a:pt x="357" y="735"/>
                    </a:lnTo>
                    <a:lnTo>
                      <a:pt x="357" y="735"/>
                    </a:lnTo>
                    <a:lnTo>
                      <a:pt x="357" y="735"/>
                    </a:lnTo>
                    <a:lnTo>
                      <a:pt x="357" y="737"/>
                    </a:lnTo>
                    <a:lnTo>
                      <a:pt x="359" y="737"/>
                    </a:lnTo>
                    <a:lnTo>
                      <a:pt x="359" y="740"/>
                    </a:lnTo>
                    <a:lnTo>
                      <a:pt x="357" y="742"/>
                    </a:lnTo>
                    <a:lnTo>
                      <a:pt x="354" y="742"/>
                    </a:lnTo>
                    <a:lnTo>
                      <a:pt x="352" y="740"/>
                    </a:lnTo>
                    <a:lnTo>
                      <a:pt x="352" y="740"/>
                    </a:lnTo>
                    <a:lnTo>
                      <a:pt x="349" y="740"/>
                    </a:lnTo>
                    <a:lnTo>
                      <a:pt x="349" y="737"/>
                    </a:lnTo>
                    <a:lnTo>
                      <a:pt x="352" y="735"/>
                    </a:lnTo>
                    <a:lnTo>
                      <a:pt x="349" y="730"/>
                    </a:lnTo>
                    <a:lnTo>
                      <a:pt x="349" y="730"/>
                    </a:lnTo>
                    <a:lnTo>
                      <a:pt x="345" y="730"/>
                    </a:lnTo>
                    <a:lnTo>
                      <a:pt x="345" y="728"/>
                    </a:lnTo>
                    <a:lnTo>
                      <a:pt x="342" y="728"/>
                    </a:lnTo>
                    <a:lnTo>
                      <a:pt x="335" y="728"/>
                    </a:lnTo>
                    <a:lnTo>
                      <a:pt x="335" y="728"/>
                    </a:lnTo>
                    <a:lnTo>
                      <a:pt x="328" y="728"/>
                    </a:lnTo>
                    <a:lnTo>
                      <a:pt x="326" y="726"/>
                    </a:lnTo>
                    <a:lnTo>
                      <a:pt x="323" y="726"/>
                    </a:lnTo>
                    <a:lnTo>
                      <a:pt x="319" y="719"/>
                    </a:lnTo>
                    <a:lnTo>
                      <a:pt x="319" y="719"/>
                    </a:lnTo>
                    <a:lnTo>
                      <a:pt x="316" y="719"/>
                    </a:lnTo>
                    <a:lnTo>
                      <a:pt x="314" y="716"/>
                    </a:lnTo>
                    <a:lnTo>
                      <a:pt x="312" y="719"/>
                    </a:lnTo>
                    <a:lnTo>
                      <a:pt x="309" y="716"/>
                    </a:lnTo>
                    <a:lnTo>
                      <a:pt x="309" y="716"/>
                    </a:lnTo>
                    <a:lnTo>
                      <a:pt x="312" y="714"/>
                    </a:lnTo>
                    <a:lnTo>
                      <a:pt x="312" y="711"/>
                    </a:lnTo>
                    <a:lnTo>
                      <a:pt x="312" y="711"/>
                    </a:lnTo>
                    <a:lnTo>
                      <a:pt x="312" y="707"/>
                    </a:lnTo>
                    <a:lnTo>
                      <a:pt x="309" y="704"/>
                    </a:lnTo>
                    <a:lnTo>
                      <a:pt x="309" y="702"/>
                    </a:lnTo>
                    <a:lnTo>
                      <a:pt x="309" y="702"/>
                    </a:lnTo>
                    <a:lnTo>
                      <a:pt x="309" y="700"/>
                    </a:lnTo>
                    <a:lnTo>
                      <a:pt x="309" y="700"/>
                    </a:lnTo>
                    <a:lnTo>
                      <a:pt x="312" y="700"/>
                    </a:lnTo>
                    <a:lnTo>
                      <a:pt x="314" y="700"/>
                    </a:lnTo>
                    <a:lnTo>
                      <a:pt x="314" y="697"/>
                    </a:lnTo>
                    <a:lnTo>
                      <a:pt x="314" y="695"/>
                    </a:lnTo>
                    <a:lnTo>
                      <a:pt x="312" y="693"/>
                    </a:lnTo>
                    <a:lnTo>
                      <a:pt x="309" y="690"/>
                    </a:lnTo>
                    <a:lnTo>
                      <a:pt x="307" y="690"/>
                    </a:lnTo>
                    <a:lnTo>
                      <a:pt x="307" y="688"/>
                    </a:lnTo>
                    <a:lnTo>
                      <a:pt x="305" y="690"/>
                    </a:lnTo>
                    <a:lnTo>
                      <a:pt x="305" y="690"/>
                    </a:lnTo>
                    <a:lnTo>
                      <a:pt x="302" y="690"/>
                    </a:lnTo>
                    <a:lnTo>
                      <a:pt x="300" y="693"/>
                    </a:lnTo>
                    <a:lnTo>
                      <a:pt x="297" y="693"/>
                    </a:lnTo>
                    <a:lnTo>
                      <a:pt x="295" y="693"/>
                    </a:lnTo>
                    <a:lnTo>
                      <a:pt x="297" y="690"/>
                    </a:lnTo>
                    <a:lnTo>
                      <a:pt x="300" y="685"/>
                    </a:lnTo>
                    <a:lnTo>
                      <a:pt x="297" y="685"/>
                    </a:lnTo>
                    <a:lnTo>
                      <a:pt x="297" y="683"/>
                    </a:lnTo>
                    <a:lnTo>
                      <a:pt x="297" y="681"/>
                    </a:lnTo>
                    <a:lnTo>
                      <a:pt x="300" y="678"/>
                    </a:lnTo>
                    <a:lnTo>
                      <a:pt x="300" y="676"/>
                    </a:lnTo>
                    <a:lnTo>
                      <a:pt x="300" y="674"/>
                    </a:lnTo>
                    <a:lnTo>
                      <a:pt x="300" y="674"/>
                    </a:lnTo>
                    <a:lnTo>
                      <a:pt x="300" y="674"/>
                    </a:lnTo>
                    <a:lnTo>
                      <a:pt x="300" y="671"/>
                    </a:lnTo>
                    <a:lnTo>
                      <a:pt x="300" y="669"/>
                    </a:lnTo>
                    <a:lnTo>
                      <a:pt x="300" y="667"/>
                    </a:lnTo>
                    <a:lnTo>
                      <a:pt x="300" y="667"/>
                    </a:lnTo>
                    <a:lnTo>
                      <a:pt x="300" y="664"/>
                    </a:lnTo>
                    <a:lnTo>
                      <a:pt x="300" y="662"/>
                    </a:lnTo>
                    <a:lnTo>
                      <a:pt x="297" y="657"/>
                    </a:lnTo>
                    <a:lnTo>
                      <a:pt x="297" y="655"/>
                    </a:lnTo>
                    <a:lnTo>
                      <a:pt x="293" y="655"/>
                    </a:lnTo>
                    <a:lnTo>
                      <a:pt x="288" y="655"/>
                    </a:lnTo>
                    <a:lnTo>
                      <a:pt x="286" y="657"/>
                    </a:lnTo>
                    <a:lnTo>
                      <a:pt x="283" y="657"/>
                    </a:lnTo>
                    <a:lnTo>
                      <a:pt x="283" y="657"/>
                    </a:lnTo>
                    <a:lnTo>
                      <a:pt x="279" y="652"/>
                    </a:lnTo>
                    <a:lnTo>
                      <a:pt x="279" y="650"/>
                    </a:lnTo>
                    <a:lnTo>
                      <a:pt x="279" y="650"/>
                    </a:lnTo>
                    <a:lnTo>
                      <a:pt x="279" y="648"/>
                    </a:lnTo>
                    <a:lnTo>
                      <a:pt x="276" y="645"/>
                    </a:lnTo>
                    <a:lnTo>
                      <a:pt x="276" y="643"/>
                    </a:lnTo>
                    <a:lnTo>
                      <a:pt x="274" y="641"/>
                    </a:lnTo>
                    <a:lnTo>
                      <a:pt x="279" y="636"/>
                    </a:lnTo>
                    <a:lnTo>
                      <a:pt x="279" y="634"/>
                    </a:lnTo>
                    <a:lnTo>
                      <a:pt x="276" y="631"/>
                    </a:lnTo>
                    <a:lnTo>
                      <a:pt x="276" y="629"/>
                    </a:lnTo>
                    <a:lnTo>
                      <a:pt x="279" y="624"/>
                    </a:lnTo>
                    <a:lnTo>
                      <a:pt x="279" y="622"/>
                    </a:lnTo>
                    <a:lnTo>
                      <a:pt x="276" y="619"/>
                    </a:lnTo>
                    <a:lnTo>
                      <a:pt x="274" y="617"/>
                    </a:lnTo>
                    <a:lnTo>
                      <a:pt x="274" y="617"/>
                    </a:lnTo>
                    <a:lnTo>
                      <a:pt x="271" y="617"/>
                    </a:lnTo>
                    <a:lnTo>
                      <a:pt x="269" y="615"/>
                    </a:lnTo>
                    <a:lnTo>
                      <a:pt x="269" y="612"/>
                    </a:lnTo>
                    <a:lnTo>
                      <a:pt x="260" y="605"/>
                    </a:lnTo>
                    <a:lnTo>
                      <a:pt x="257" y="603"/>
                    </a:lnTo>
                    <a:lnTo>
                      <a:pt x="257" y="600"/>
                    </a:lnTo>
                    <a:lnTo>
                      <a:pt x="255" y="600"/>
                    </a:lnTo>
                    <a:lnTo>
                      <a:pt x="253" y="598"/>
                    </a:lnTo>
                    <a:lnTo>
                      <a:pt x="250" y="600"/>
                    </a:lnTo>
                    <a:lnTo>
                      <a:pt x="245" y="598"/>
                    </a:lnTo>
                    <a:lnTo>
                      <a:pt x="245" y="598"/>
                    </a:lnTo>
                    <a:lnTo>
                      <a:pt x="243" y="589"/>
                    </a:lnTo>
                    <a:lnTo>
                      <a:pt x="241" y="586"/>
                    </a:lnTo>
                    <a:lnTo>
                      <a:pt x="241" y="582"/>
                    </a:lnTo>
                    <a:lnTo>
                      <a:pt x="241" y="577"/>
                    </a:lnTo>
                    <a:lnTo>
                      <a:pt x="241" y="577"/>
                    </a:lnTo>
                    <a:lnTo>
                      <a:pt x="236" y="574"/>
                    </a:lnTo>
                    <a:lnTo>
                      <a:pt x="236" y="572"/>
                    </a:lnTo>
                    <a:lnTo>
                      <a:pt x="236" y="567"/>
                    </a:lnTo>
                    <a:lnTo>
                      <a:pt x="234" y="567"/>
                    </a:lnTo>
                    <a:lnTo>
                      <a:pt x="234" y="565"/>
                    </a:lnTo>
                    <a:lnTo>
                      <a:pt x="234" y="563"/>
                    </a:lnTo>
                    <a:lnTo>
                      <a:pt x="231" y="560"/>
                    </a:lnTo>
                    <a:lnTo>
                      <a:pt x="231" y="560"/>
                    </a:lnTo>
                    <a:lnTo>
                      <a:pt x="229" y="558"/>
                    </a:lnTo>
                    <a:lnTo>
                      <a:pt x="227" y="556"/>
                    </a:lnTo>
                    <a:lnTo>
                      <a:pt x="224" y="553"/>
                    </a:lnTo>
                    <a:lnTo>
                      <a:pt x="224" y="551"/>
                    </a:lnTo>
                    <a:lnTo>
                      <a:pt x="224" y="548"/>
                    </a:lnTo>
                    <a:lnTo>
                      <a:pt x="227" y="546"/>
                    </a:lnTo>
                    <a:lnTo>
                      <a:pt x="224" y="541"/>
                    </a:lnTo>
                    <a:lnTo>
                      <a:pt x="222" y="541"/>
                    </a:lnTo>
                    <a:lnTo>
                      <a:pt x="219" y="537"/>
                    </a:lnTo>
                    <a:lnTo>
                      <a:pt x="219" y="534"/>
                    </a:lnTo>
                    <a:lnTo>
                      <a:pt x="217" y="532"/>
                    </a:lnTo>
                    <a:lnTo>
                      <a:pt x="215" y="530"/>
                    </a:lnTo>
                    <a:lnTo>
                      <a:pt x="217" y="527"/>
                    </a:lnTo>
                    <a:lnTo>
                      <a:pt x="217" y="527"/>
                    </a:lnTo>
                    <a:lnTo>
                      <a:pt x="217" y="525"/>
                    </a:lnTo>
                    <a:lnTo>
                      <a:pt x="217" y="522"/>
                    </a:lnTo>
                    <a:lnTo>
                      <a:pt x="217" y="518"/>
                    </a:lnTo>
                    <a:lnTo>
                      <a:pt x="217" y="515"/>
                    </a:lnTo>
                    <a:lnTo>
                      <a:pt x="215" y="515"/>
                    </a:lnTo>
                    <a:lnTo>
                      <a:pt x="217" y="513"/>
                    </a:lnTo>
                    <a:lnTo>
                      <a:pt x="217" y="513"/>
                    </a:lnTo>
                    <a:lnTo>
                      <a:pt x="217" y="511"/>
                    </a:lnTo>
                    <a:lnTo>
                      <a:pt x="219" y="508"/>
                    </a:lnTo>
                    <a:lnTo>
                      <a:pt x="219" y="508"/>
                    </a:lnTo>
                    <a:lnTo>
                      <a:pt x="217" y="506"/>
                    </a:lnTo>
                    <a:lnTo>
                      <a:pt x="217" y="504"/>
                    </a:lnTo>
                    <a:lnTo>
                      <a:pt x="219" y="501"/>
                    </a:lnTo>
                    <a:lnTo>
                      <a:pt x="222" y="497"/>
                    </a:lnTo>
                    <a:lnTo>
                      <a:pt x="224" y="492"/>
                    </a:lnTo>
                    <a:lnTo>
                      <a:pt x="224" y="492"/>
                    </a:lnTo>
                    <a:lnTo>
                      <a:pt x="224" y="489"/>
                    </a:lnTo>
                    <a:lnTo>
                      <a:pt x="222" y="489"/>
                    </a:lnTo>
                    <a:lnTo>
                      <a:pt x="219" y="489"/>
                    </a:lnTo>
                    <a:lnTo>
                      <a:pt x="219" y="489"/>
                    </a:lnTo>
                    <a:lnTo>
                      <a:pt x="217" y="487"/>
                    </a:lnTo>
                    <a:lnTo>
                      <a:pt x="217" y="485"/>
                    </a:lnTo>
                    <a:lnTo>
                      <a:pt x="215" y="482"/>
                    </a:lnTo>
                    <a:lnTo>
                      <a:pt x="212" y="480"/>
                    </a:lnTo>
                    <a:lnTo>
                      <a:pt x="212" y="478"/>
                    </a:lnTo>
                    <a:lnTo>
                      <a:pt x="212" y="478"/>
                    </a:lnTo>
                    <a:lnTo>
                      <a:pt x="210" y="478"/>
                    </a:lnTo>
                    <a:lnTo>
                      <a:pt x="205" y="475"/>
                    </a:lnTo>
                    <a:lnTo>
                      <a:pt x="203" y="473"/>
                    </a:lnTo>
                    <a:lnTo>
                      <a:pt x="201" y="468"/>
                    </a:lnTo>
                    <a:lnTo>
                      <a:pt x="198" y="468"/>
                    </a:lnTo>
                    <a:lnTo>
                      <a:pt x="191" y="463"/>
                    </a:lnTo>
                    <a:lnTo>
                      <a:pt x="191" y="463"/>
                    </a:lnTo>
                    <a:lnTo>
                      <a:pt x="186" y="459"/>
                    </a:lnTo>
                    <a:lnTo>
                      <a:pt x="184" y="456"/>
                    </a:lnTo>
                    <a:lnTo>
                      <a:pt x="186" y="456"/>
                    </a:lnTo>
                    <a:lnTo>
                      <a:pt x="186" y="452"/>
                    </a:lnTo>
                    <a:lnTo>
                      <a:pt x="184" y="452"/>
                    </a:lnTo>
                    <a:lnTo>
                      <a:pt x="184" y="449"/>
                    </a:lnTo>
                    <a:lnTo>
                      <a:pt x="182" y="447"/>
                    </a:lnTo>
                    <a:lnTo>
                      <a:pt x="182" y="447"/>
                    </a:lnTo>
                    <a:lnTo>
                      <a:pt x="184" y="447"/>
                    </a:lnTo>
                    <a:lnTo>
                      <a:pt x="184" y="445"/>
                    </a:lnTo>
                    <a:lnTo>
                      <a:pt x="182" y="442"/>
                    </a:lnTo>
                    <a:lnTo>
                      <a:pt x="182" y="442"/>
                    </a:lnTo>
                    <a:lnTo>
                      <a:pt x="182" y="442"/>
                    </a:lnTo>
                    <a:lnTo>
                      <a:pt x="179" y="440"/>
                    </a:lnTo>
                    <a:lnTo>
                      <a:pt x="179" y="440"/>
                    </a:lnTo>
                    <a:lnTo>
                      <a:pt x="179" y="435"/>
                    </a:lnTo>
                    <a:lnTo>
                      <a:pt x="179" y="433"/>
                    </a:lnTo>
                    <a:lnTo>
                      <a:pt x="179" y="430"/>
                    </a:lnTo>
                    <a:lnTo>
                      <a:pt x="182" y="430"/>
                    </a:lnTo>
                    <a:lnTo>
                      <a:pt x="182" y="430"/>
                    </a:lnTo>
                    <a:lnTo>
                      <a:pt x="184" y="430"/>
                    </a:lnTo>
                    <a:lnTo>
                      <a:pt x="186" y="430"/>
                    </a:lnTo>
                    <a:lnTo>
                      <a:pt x="186" y="430"/>
                    </a:lnTo>
                    <a:lnTo>
                      <a:pt x="186" y="428"/>
                    </a:lnTo>
                    <a:lnTo>
                      <a:pt x="186" y="426"/>
                    </a:lnTo>
                    <a:lnTo>
                      <a:pt x="186" y="423"/>
                    </a:lnTo>
                    <a:lnTo>
                      <a:pt x="184" y="423"/>
                    </a:lnTo>
                    <a:lnTo>
                      <a:pt x="184" y="421"/>
                    </a:lnTo>
                    <a:lnTo>
                      <a:pt x="184" y="416"/>
                    </a:lnTo>
                    <a:lnTo>
                      <a:pt x="182" y="416"/>
                    </a:lnTo>
                    <a:lnTo>
                      <a:pt x="182" y="419"/>
                    </a:lnTo>
                    <a:lnTo>
                      <a:pt x="182" y="419"/>
                    </a:lnTo>
                    <a:lnTo>
                      <a:pt x="177" y="419"/>
                    </a:lnTo>
                    <a:lnTo>
                      <a:pt x="170" y="421"/>
                    </a:lnTo>
                    <a:lnTo>
                      <a:pt x="170" y="421"/>
                    </a:lnTo>
                    <a:lnTo>
                      <a:pt x="168" y="421"/>
                    </a:lnTo>
                    <a:lnTo>
                      <a:pt x="168" y="419"/>
                    </a:lnTo>
                    <a:lnTo>
                      <a:pt x="170" y="416"/>
                    </a:lnTo>
                    <a:lnTo>
                      <a:pt x="170" y="414"/>
                    </a:lnTo>
                    <a:lnTo>
                      <a:pt x="170" y="414"/>
                    </a:lnTo>
                    <a:lnTo>
                      <a:pt x="168" y="411"/>
                    </a:lnTo>
                    <a:lnTo>
                      <a:pt x="168" y="411"/>
                    </a:lnTo>
                    <a:lnTo>
                      <a:pt x="168" y="409"/>
                    </a:lnTo>
                    <a:lnTo>
                      <a:pt x="168" y="407"/>
                    </a:lnTo>
                    <a:lnTo>
                      <a:pt x="170" y="407"/>
                    </a:lnTo>
                    <a:lnTo>
                      <a:pt x="170" y="404"/>
                    </a:lnTo>
                    <a:lnTo>
                      <a:pt x="168" y="404"/>
                    </a:lnTo>
                    <a:lnTo>
                      <a:pt x="165" y="404"/>
                    </a:lnTo>
                    <a:lnTo>
                      <a:pt x="165" y="404"/>
                    </a:lnTo>
                    <a:lnTo>
                      <a:pt x="165" y="404"/>
                    </a:lnTo>
                    <a:lnTo>
                      <a:pt x="163" y="402"/>
                    </a:lnTo>
                    <a:lnTo>
                      <a:pt x="158" y="404"/>
                    </a:lnTo>
                    <a:lnTo>
                      <a:pt x="156" y="404"/>
                    </a:lnTo>
                    <a:lnTo>
                      <a:pt x="153" y="404"/>
                    </a:lnTo>
                    <a:lnTo>
                      <a:pt x="153" y="404"/>
                    </a:lnTo>
                    <a:lnTo>
                      <a:pt x="156" y="402"/>
                    </a:lnTo>
                    <a:lnTo>
                      <a:pt x="156" y="402"/>
                    </a:lnTo>
                    <a:lnTo>
                      <a:pt x="156" y="400"/>
                    </a:lnTo>
                    <a:lnTo>
                      <a:pt x="156" y="397"/>
                    </a:lnTo>
                    <a:lnTo>
                      <a:pt x="156" y="395"/>
                    </a:lnTo>
                    <a:lnTo>
                      <a:pt x="153" y="397"/>
                    </a:lnTo>
                    <a:lnTo>
                      <a:pt x="153" y="400"/>
                    </a:lnTo>
                    <a:lnTo>
                      <a:pt x="151" y="400"/>
                    </a:lnTo>
                    <a:lnTo>
                      <a:pt x="151" y="400"/>
                    </a:lnTo>
                    <a:lnTo>
                      <a:pt x="151" y="397"/>
                    </a:lnTo>
                    <a:lnTo>
                      <a:pt x="149" y="400"/>
                    </a:lnTo>
                    <a:lnTo>
                      <a:pt x="149" y="400"/>
                    </a:lnTo>
                    <a:lnTo>
                      <a:pt x="146" y="397"/>
                    </a:lnTo>
                    <a:lnTo>
                      <a:pt x="149" y="395"/>
                    </a:lnTo>
                    <a:lnTo>
                      <a:pt x="149" y="395"/>
                    </a:lnTo>
                    <a:lnTo>
                      <a:pt x="146" y="393"/>
                    </a:lnTo>
                    <a:lnTo>
                      <a:pt x="146" y="393"/>
                    </a:lnTo>
                    <a:lnTo>
                      <a:pt x="146" y="395"/>
                    </a:lnTo>
                    <a:lnTo>
                      <a:pt x="146" y="395"/>
                    </a:lnTo>
                    <a:lnTo>
                      <a:pt x="144" y="397"/>
                    </a:lnTo>
                    <a:lnTo>
                      <a:pt x="144" y="397"/>
                    </a:lnTo>
                    <a:lnTo>
                      <a:pt x="142" y="397"/>
                    </a:lnTo>
                    <a:lnTo>
                      <a:pt x="142" y="395"/>
                    </a:lnTo>
                    <a:lnTo>
                      <a:pt x="139" y="397"/>
                    </a:lnTo>
                    <a:lnTo>
                      <a:pt x="139" y="397"/>
                    </a:lnTo>
                    <a:lnTo>
                      <a:pt x="139" y="397"/>
                    </a:lnTo>
                    <a:lnTo>
                      <a:pt x="137" y="395"/>
                    </a:lnTo>
                    <a:lnTo>
                      <a:pt x="134" y="395"/>
                    </a:lnTo>
                    <a:lnTo>
                      <a:pt x="134" y="395"/>
                    </a:lnTo>
                    <a:lnTo>
                      <a:pt x="132" y="395"/>
                    </a:lnTo>
                    <a:lnTo>
                      <a:pt x="134" y="397"/>
                    </a:lnTo>
                    <a:lnTo>
                      <a:pt x="134" y="397"/>
                    </a:lnTo>
                    <a:lnTo>
                      <a:pt x="134" y="397"/>
                    </a:lnTo>
                    <a:lnTo>
                      <a:pt x="132" y="397"/>
                    </a:lnTo>
                    <a:lnTo>
                      <a:pt x="132" y="397"/>
                    </a:lnTo>
                    <a:lnTo>
                      <a:pt x="130" y="397"/>
                    </a:lnTo>
                    <a:lnTo>
                      <a:pt x="130" y="397"/>
                    </a:lnTo>
                    <a:lnTo>
                      <a:pt x="130" y="397"/>
                    </a:lnTo>
                    <a:lnTo>
                      <a:pt x="130" y="395"/>
                    </a:lnTo>
                    <a:lnTo>
                      <a:pt x="130" y="397"/>
                    </a:lnTo>
                    <a:lnTo>
                      <a:pt x="125" y="395"/>
                    </a:lnTo>
                    <a:lnTo>
                      <a:pt x="125" y="397"/>
                    </a:lnTo>
                    <a:lnTo>
                      <a:pt x="125" y="395"/>
                    </a:lnTo>
                    <a:lnTo>
                      <a:pt x="125" y="393"/>
                    </a:lnTo>
                    <a:lnTo>
                      <a:pt x="125" y="393"/>
                    </a:lnTo>
                    <a:lnTo>
                      <a:pt x="125" y="393"/>
                    </a:lnTo>
                    <a:lnTo>
                      <a:pt x="123" y="390"/>
                    </a:lnTo>
                    <a:lnTo>
                      <a:pt x="120" y="390"/>
                    </a:lnTo>
                    <a:lnTo>
                      <a:pt x="120" y="393"/>
                    </a:lnTo>
                    <a:lnTo>
                      <a:pt x="120" y="393"/>
                    </a:lnTo>
                    <a:lnTo>
                      <a:pt x="118" y="393"/>
                    </a:lnTo>
                    <a:lnTo>
                      <a:pt x="118" y="393"/>
                    </a:lnTo>
                    <a:lnTo>
                      <a:pt x="120" y="390"/>
                    </a:lnTo>
                    <a:lnTo>
                      <a:pt x="120" y="390"/>
                    </a:lnTo>
                    <a:lnTo>
                      <a:pt x="120" y="388"/>
                    </a:lnTo>
                    <a:lnTo>
                      <a:pt x="120" y="388"/>
                    </a:lnTo>
                    <a:lnTo>
                      <a:pt x="118" y="388"/>
                    </a:lnTo>
                    <a:lnTo>
                      <a:pt x="116" y="388"/>
                    </a:lnTo>
                    <a:lnTo>
                      <a:pt x="116" y="385"/>
                    </a:lnTo>
                    <a:lnTo>
                      <a:pt x="116" y="385"/>
                    </a:lnTo>
                    <a:lnTo>
                      <a:pt x="113" y="388"/>
                    </a:lnTo>
                    <a:lnTo>
                      <a:pt x="113" y="385"/>
                    </a:lnTo>
                    <a:lnTo>
                      <a:pt x="111" y="388"/>
                    </a:lnTo>
                    <a:lnTo>
                      <a:pt x="111" y="385"/>
                    </a:lnTo>
                    <a:lnTo>
                      <a:pt x="111" y="383"/>
                    </a:lnTo>
                    <a:lnTo>
                      <a:pt x="108" y="381"/>
                    </a:lnTo>
                    <a:lnTo>
                      <a:pt x="108" y="383"/>
                    </a:lnTo>
                    <a:lnTo>
                      <a:pt x="106" y="383"/>
                    </a:lnTo>
                    <a:lnTo>
                      <a:pt x="108" y="383"/>
                    </a:lnTo>
                    <a:lnTo>
                      <a:pt x="106" y="383"/>
                    </a:lnTo>
                    <a:lnTo>
                      <a:pt x="106" y="383"/>
                    </a:lnTo>
                    <a:lnTo>
                      <a:pt x="104" y="385"/>
                    </a:lnTo>
                    <a:lnTo>
                      <a:pt x="104" y="385"/>
                    </a:lnTo>
                    <a:lnTo>
                      <a:pt x="101" y="383"/>
                    </a:lnTo>
                    <a:lnTo>
                      <a:pt x="99" y="385"/>
                    </a:lnTo>
                    <a:lnTo>
                      <a:pt x="101" y="385"/>
                    </a:lnTo>
                    <a:lnTo>
                      <a:pt x="99" y="385"/>
                    </a:lnTo>
                    <a:lnTo>
                      <a:pt x="99" y="385"/>
                    </a:lnTo>
                    <a:lnTo>
                      <a:pt x="99" y="383"/>
                    </a:lnTo>
                    <a:lnTo>
                      <a:pt x="99" y="383"/>
                    </a:lnTo>
                    <a:lnTo>
                      <a:pt x="99" y="381"/>
                    </a:lnTo>
                    <a:lnTo>
                      <a:pt x="99" y="376"/>
                    </a:lnTo>
                    <a:lnTo>
                      <a:pt x="97" y="376"/>
                    </a:lnTo>
                    <a:lnTo>
                      <a:pt x="97" y="376"/>
                    </a:lnTo>
                    <a:lnTo>
                      <a:pt x="97" y="374"/>
                    </a:lnTo>
                    <a:lnTo>
                      <a:pt x="97" y="374"/>
                    </a:lnTo>
                    <a:lnTo>
                      <a:pt x="97" y="371"/>
                    </a:lnTo>
                    <a:lnTo>
                      <a:pt x="97" y="374"/>
                    </a:lnTo>
                    <a:lnTo>
                      <a:pt x="97" y="374"/>
                    </a:lnTo>
                    <a:lnTo>
                      <a:pt x="94" y="371"/>
                    </a:lnTo>
                    <a:lnTo>
                      <a:pt x="94" y="371"/>
                    </a:lnTo>
                    <a:lnTo>
                      <a:pt x="94" y="371"/>
                    </a:lnTo>
                    <a:lnTo>
                      <a:pt x="94" y="371"/>
                    </a:lnTo>
                    <a:lnTo>
                      <a:pt x="94" y="369"/>
                    </a:lnTo>
                    <a:lnTo>
                      <a:pt x="94" y="369"/>
                    </a:lnTo>
                    <a:lnTo>
                      <a:pt x="94" y="367"/>
                    </a:lnTo>
                    <a:lnTo>
                      <a:pt x="92" y="367"/>
                    </a:lnTo>
                    <a:lnTo>
                      <a:pt x="92" y="367"/>
                    </a:lnTo>
                    <a:lnTo>
                      <a:pt x="92" y="364"/>
                    </a:lnTo>
                    <a:lnTo>
                      <a:pt x="92" y="367"/>
                    </a:lnTo>
                    <a:lnTo>
                      <a:pt x="90" y="364"/>
                    </a:lnTo>
                    <a:lnTo>
                      <a:pt x="90" y="364"/>
                    </a:lnTo>
                    <a:lnTo>
                      <a:pt x="87" y="364"/>
                    </a:lnTo>
                    <a:lnTo>
                      <a:pt x="87" y="364"/>
                    </a:lnTo>
                    <a:lnTo>
                      <a:pt x="87" y="364"/>
                    </a:lnTo>
                    <a:lnTo>
                      <a:pt x="87" y="364"/>
                    </a:lnTo>
                    <a:lnTo>
                      <a:pt x="87" y="367"/>
                    </a:lnTo>
                    <a:lnTo>
                      <a:pt x="85" y="367"/>
                    </a:lnTo>
                    <a:lnTo>
                      <a:pt x="85" y="364"/>
                    </a:lnTo>
                    <a:lnTo>
                      <a:pt x="82" y="364"/>
                    </a:lnTo>
                    <a:lnTo>
                      <a:pt x="80" y="362"/>
                    </a:lnTo>
                    <a:lnTo>
                      <a:pt x="80" y="360"/>
                    </a:lnTo>
                    <a:lnTo>
                      <a:pt x="80" y="360"/>
                    </a:lnTo>
                    <a:lnTo>
                      <a:pt x="78" y="360"/>
                    </a:lnTo>
                    <a:lnTo>
                      <a:pt x="78" y="360"/>
                    </a:lnTo>
                    <a:lnTo>
                      <a:pt x="78" y="360"/>
                    </a:lnTo>
                    <a:lnTo>
                      <a:pt x="75" y="360"/>
                    </a:lnTo>
                    <a:lnTo>
                      <a:pt x="78" y="357"/>
                    </a:lnTo>
                    <a:lnTo>
                      <a:pt x="75" y="357"/>
                    </a:lnTo>
                    <a:lnTo>
                      <a:pt x="78" y="357"/>
                    </a:lnTo>
                    <a:lnTo>
                      <a:pt x="75" y="357"/>
                    </a:lnTo>
                    <a:lnTo>
                      <a:pt x="75" y="357"/>
                    </a:lnTo>
                    <a:lnTo>
                      <a:pt x="73" y="357"/>
                    </a:lnTo>
                    <a:lnTo>
                      <a:pt x="75" y="355"/>
                    </a:lnTo>
                    <a:lnTo>
                      <a:pt x="75" y="355"/>
                    </a:lnTo>
                    <a:lnTo>
                      <a:pt x="73" y="355"/>
                    </a:lnTo>
                    <a:lnTo>
                      <a:pt x="73" y="355"/>
                    </a:lnTo>
                    <a:lnTo>
                      <a:pt x="73" y="355"/>
                    </a:lnTo>
                    <a:lnTo>
                      <a:pt x="71" y="355"/>
                    </a:lnTo>
                    <a:lnTo>
                      <a:pt x="71" y="355"/>
                    </a:lnTo>
                    <a:lnTo>
                      <a:pt x="71" y="352"/>
                    </a:lnTo>
                    <a:lnTo>
                      <a:pt x="71" y="352"/>
                    </a:lnTo>
                    <a:lnTo>
                      <a:pt x="68" y="352"/>
                    </a:lnTo>
                    <a:lnTo>
                      <a:pt x="68" y="352"/>
                    </a:lnTo>
                    <a:lnTo>
                      <a:pt x="68" y="352"/>
                    </a:lnTo>
                    <a:lnTo>
                      <a:pt x="66" y="352"/>
                    </a:lnTo>
                    <a:lnTo>
                      <a:pt x="66" y="352"/>
                    </a:lnTo>
                    <a:lnTo>
                      <a:pt x="66" y="352"/>
                    </a:lnTo>
                    <a:lnTo>
                      <a:pt x="66" y="350"/>
                    </a:lnTo>
                    <a:lnTo>
                      <a:pt x="61" y="350"/>
                    </a:lnTo>
                    <a:lnTo>
                      <a:pt x="61" y="352"/>
                    </a:lnTo>
                    <a:lnTo>
                      <a:pt x="59" y="350"/>
                    </a:lnTo>
                    <a:lnTo>
                      <a:pt x="59" y="350"/>
                    </a:lnTo>
                    <a:lnTo>
                      <a:pt x="56" y="350"/>
                    </a:lnTo>
                    <a:lnTo>
                      <a:pt x="56" y="350"/>
                    </a:lnTo>
                    <a:lnTo>
                      <a:pt x="52" y="350"/>
                    </a:lnTo>
                    <a:lnTo>
                      <a:pt x="52" y="350"/>
                    </a:lnTo>
                    <a:lnTo>
                      <a:pt x="52" y="350"/>
                    </a:lnTo>
                    <a:lnTo>
                      <a:pt x="49" y="350"/>
                    </a:lnTo>
                    <a:lnTo>
                      <a:pt x="49" y="350"/>
                    </a:lnTo>
                    <a:lnTo>
                      <a:pt x="47" y="352"/>
                    </a:lnTo>
                    <a:lnTo>
                      <a:pt x="47" y="350"/>
                    </a:lnTo>
                    <a:lnTo>
                      <a:pt x="47" y="350"/>
                    </a:lnTo>
                    <a:lnTo>
                      <a:pt x="45" y="350"/>
                    </a:lnTo>
                    <a:lnTo>
                      <a:pt x="42" y="350"/>
                    </a:lnTo>
                    <a:lnTo>
                      <a:pt x="42" y="348"/>
                    </a:lnTo>
                    <a:lnTo>
                      <a:pt x="38" y="348"/>
                    </a:lnTo>
                    <a:lnTo>
                      <a:pt x="38" y="348"/>
                    </a:lnTo>
                    <a:lnTo>
                      <a:pt x="38" y="348"/>
                    </a:lnTo>
                    <a:lnTo>
                      <a:pt x="33" y="348"/>
                    </a:lnTo>
                    <a:lnTo>
                      <a:pt x="33" y="348"/>
                    </a:lnTo>
                    <a:lnTo>
                      <a:pt x="31" y="348"/>
                    </a:lnTo>
                    <a:lnTo>
                      <a:pt x="28" y="348"/>
                    </a:lnTo>
                    <a:lnTo>
                      <a:pt x="28" y="348"/>
                    </a:lnTo>
                    <a:lnTo>
                      <a:pt x="26" y="350"/>
                    </a:lnTo>
                    <a:lnTo>
                      <a:pt x="23" y="348"/>
                    </a:lnTo>
                    <a:lnTo>
                      <a:pt x="23" y="348"/>
                    </a:lnTo>
                    <a:lnTo>
                      <a:pt x="21" y="348"/>
                    </a:lnTo>
                    <a:lnTo>
                      <a:pt x="21" y="348"/>
                    </a:lnTo>
                    <a:lnTo>
                      <a:pt x="19" y="348"/>
                    </a:lnTo>
                    <a:lnTo>
                      <a:pt x="16" y="348"/>
                    </a:lnTo>
                    <a:lnTo>
                      <a:pt x="16" y="348"/>
                    </a:lnTo>
                    <a:lnTo>
                      <a:pt x="14" y="345"/>
                    </a:lnTo>
                    <a:lnTo>
                      <a:pt x="14" y="345"/>
                    </a:lnTo>
                    <a:lnTo>
                      <a:pt x="16" y="343"/>
                    </a:lnTo>
                    <a:lnTo>
                      <a:pt x="14" y="343"/>
                    </a:lnTo>
                    <a:lnTo>
                      <a:pt x="16" y="341"/>
                    </a:lnTo>
                    <a:lnTo>
                      <a:pt x="16" y="341"/>
                    </a:lnTo>
                    <a:lnTo>
                      <a:pt x="16" y="341"/>
                    </a:lnTo>
                    <a:lnTo>
                      <a:pt x="16" y="338"/>
                    </a:lnTo>
                    <a:lnTo>
                      <a:pt x="14" y="338"/>
                    </a:lnTo>
                    <a:lnTo>
                      <a:pt x="14" y="334"/>
                    </a:lnTo>
                    <a:lnTo>
                      <a:pt x="14" y="334"/>
                    </a:lnTo>
                    <a:lnTo>
                      <a:pt x="14" y="331"/>
                    </a:lnTo>
                    <a:lnTo>
                      <a:pt x="14" y="331"/>
                    </a:lnTo>
                    <a:lnTo>
                      <a:pt x="14" y="331"/>
                    </a:lnTo>
                    <a:lnTo>
                      <a:pt x="12" y="326"/>
                    </a:lnTo>
                    <a:lnTo>
                      <a:pt x="14" y="326"/>
                    </a:lnTo>
                    <a:lnTo>
                      <a:pt x="14" y="324"/>
                    </a:lnTo>
                    <a:lnTo>
                      <a:pt x="14" y="324"/>
                    </a:lnTo>
                    <a:lnTo>
                      <a:pt x="14" y="324"/>
                    </a:lnTo>
                    <a:lnTo>
                      <a:pt x="14" y="322"/>
                    </a:lnTo>
                    <a:lnTo>
                      <a:pt x="14" y="322"/>
                    </a:lnTo>
                    <a:lnTo>
                      <a:pt x="14" y="322"/>
                    </a:lnTo>
                    <a:lnTo>
                      <a:pt x="12" y="322"/>
                    </a:lnTo>
                    <a:lnTo>
                      <a:pt x="14" y="319"/>
                    </a:lnTo>
                    <a:lnTo>
                      <a:pt x="12" y="319"/>
                    </a:lnTo>
                    <a:lnTo>
                      <a:pt x="12" y="317"/>
                    </a:lnTo>
                    <a:lnTo>
                      <a:pt x="9" y="317"/>
                    </a:lnTo>
                    <a:lnTo>
                      <a:pt x="9" y="315"/>
                    </a:lnTo>
                    <a:lnTo>
                      <a:pt x="7" y="312"/>
                    </a:lnTo>
                    <a:lnTo>
                      <a:pt x="7" y="312"/>
                    </a:lnTo>
                    <a:lnTo>
                      <a:pt x="7" y="310"/>
                    </a:lnTo>
                    <a:lnTo>
                      <a:pt x="7" y="310"/>
                    </a:lnTo>
                    <a:lnTo>
                      <a:pt x="7" y="310"/>
                    </a:lnTo>
                    <a:lnTo>
                      <a:pt x="7" y="305"/>
                    </a:lnTo>
                    <a:lnTo>
                      <a:pt x="9" y="305"/>
                    </a:lnTo>
                    <a:lnTo>
                      <a:pt x="7" y="303"/>
                    </a:lnTo>
                    <a:lnTo>
                      <a:pt x="9" y="300"/>
                    </a:lnTo>
                    <a:lnTo>
                      <a:pt x="7" y="300"/>
                    </a:lnTo>
                    <a:lnTo>
                      <a:pt x="9" y="300"/>
                    </a:lnTo>
                    <a:lnTo>
                      <a:pt x="9" y="298"/>
                    </a:lnTo>
                    <a:lnTo>
                      <a:pt x="12" y="298"/>
                    </a:lnTo>
                    <a:lnTo>
                      <a:pt x="12" y="296"/>
                    </a:lnTo>
                    <a:lnTo>
                      <a:pt x="12" y="296"/>
                    </a:lnTo>
                    <a:lnTo>
                      <a:pt x="14" y="296"/>
                    </a:lnTo>
                    <a:lnTo>
                      <a:pt x="14" y="293"/>
                    </a:lnTo>
                    <a:lnTo>
                      <a:pt x="14" y="293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2" y="291"/>
                    </a:lnTo>
                    <a:lnTo>
                      <a:pt x="12" y="289"/>
                    </a:lnTo>
                    <a:lnTo>
                      <a:pt x="9" y="286"/>
                    </a:lnTo>
                    <a:lnTo>
                      <a:pt x="7" y="284"/>
                    </a:lnTo>
                    <a:lnTo>
                      <a:pt x="7" y="282"/>
                    </a:lnTo>
                    <a:lnTo>
                      <a:pt x="9" y="282"/>
                    </a:lnTo>
                    <a:lnTo>
                      <a:pt x="7" y="279"/>
                    </a:lnTo>
                    <a:lnTo>
                      <a:pt x="9" y="277"/>
                    </a:lnTo>
                    <a:lnTo>
                      <a:pt x="9" y="277"/>
                    </a:lnTo>
                    <a:lnTo>
                      <a:pt x="9" y="274"/>
                    </a:lnTo>
                    <a:lnTo>
                      <a:pt x="7" y="274"/>
                    </a:lnTo>
                    <a:lnTo>
                      <a:pt x="2" y="265"/>
                    </a:lnTo>
                    <a:lnTo>
                      <a:pt x="0" y="265"/>
                    </a:lnTo>
                    <a:lnTo>
                      <a:pt x="0" y="265"/>
                    </a:lnTo>
                    <a:lnTo>
                      <a:pt x="0" y="263"/>
                    </a:lnTo>
                    <a:lnTo>
                      <a:pt x="0" y="260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16" name="Freeform 14"/>
              <p:cNvSpPr>
                <a:spLocks/>
              </p:cNvSpPr>
              <p:nvPr/>
            </p:nvSpPr>
            <p:spPr bwMode="auto">
              <a:xfrm>
                <a:off x="6518374" y="1522513"/>
                <a:ext cx="2387625" cy="1676756"/>
              </a:xfrm>
              <a:custGeom>
                <a:avLst/>
                <a:gdLst/>
                <a:ahLst/>
                <a:cxnLst>
                  <a:cxn ang="0">
                    <a:pos x="64" y="1155"/>
                  </a:cxn>
                  <a:cxn ang="0">
                    <a:pos x="76" y="1106"/>
                  </a:cxn>
                  <a:cxn ang="0">
                    <a:pos x="102" y="1040"/>
                  </a:cxn>
                  <a:cxn ang="0">
                    <a:pos x="121" y="978"/>
                  </a:cxn>
                  <a:cxn ang="0">
                    <a:pos x="154" y="948"/>
                  </a:cxn>
                  <a:cxn ang="0">
                    <a:pos x="194" y="919"/>
                  </a:cxn>
                  <a:cxn ang="0">
                    <a:pos x="241" y="888"/>
                  </a:cxn>
                  <a:cxn ang="0">
                    <a:pos x="289" y="879"/>
                  </a:cxn>
                  <a:cxn ang="0">
                    <a:pos x="329" y="867"/>
                  </a:cxn>
                  <a:cxn ang="0">
                    <a:pos x="369" y="860"/>
                  </a:cxn>
                  <a:cxn ang="0">
                    <a:pos x="414" y="834"/>
                  </a:cxn>
                  <a:cxn ang="0">
                    <a:pos x="459" y="865"/>
                  </a:cxn>
                  <a:cxn ang="0">
                    <a:pos x="555" y="475"/>
                  </a:cxn>
                  <a:cxn ang="0">
                    <a:pos x="532" y="392"/>
                  </a:cxn>
                  <a:cxn ang="0">
                    <a:pos x="492" y="336"/>
                  </a:cxn>
                  <a:cxn ang="0">
                    <a:pos x="520" y="211"/>
                  </a:cxn>
                  <a:cxn ang="0">
                    <a:pos x="577" y="215"/>
                  </a:cxn>
                  <a:cxn ang="0">
                    <a:pos x="586" y="163"/>
                  </a:cxn>
                  <a:cxn ang="0">
                    <a:pos x="506" y="69"/>
                  </a:cxn>
                  <a:cxn ang="0">
                    <a:pos x="709" y="62"/>
                  </a:cxn>
                  <a:cxn ang="0">
                    <a:pos x="787" y="29"/>
                  </a:cxn>
                  <a:cxn ang="0">
                    <a:pos x="971" y="196"/>
                  </a:cxn>
                  <a:cxn ang="0">
                    <a:pos x="1030" y="163"/>
                  </a:cxn>
                  <a:cxn ang="0">
                    <a:pos x="1049" y="208"/>
                  </a:cxn>
                  <a:cxn ang="0">
                    <a:pos x="1096" y="170"/>
                  </a:cxn>
                  <a:cxn ang="0">
                    <a:pos x="1137" y="128"/>
                  </a:cxn>
                  <a:cxn ang="0">
                    <a:pos x="1196" y="95"/>
                  </a:cxn>
                  <a:cxn ang="0">
                    <a:pos x="1229" y="88"/>
                  </a:cxn>
                  <a:cxn ang="0">
                    <a:pos x="1264" y="36"/>
                  </a:cxn>
                  <a:cxn ang="0">
                    <a:pos x="1319" y="14"/>
                  </a:cxn>
                  <a:cxn ang="0">
                    <a:pos x="1396" y="88"/>
                  </a:cxn>
                  <a:cxn ang="0">
                    <a:pos x="1432" y="222"/>
                  </a:cxn>
                  <a:cxn ang="0">
                    <a:pos x="1467" y="326"/>
                  </a:cxn>
                  <a:cxn ang="0">
                    <a:pos x="1463" y="378"/>
                  </a:cxn>
                  <a:cxn ang="0">
                    <a:pos x="1448" y="402"/>
                  </a:cxn>
                  <a:cxn ang="0">
                    <a:pos x="1512" y="477"/>
                  </a:cxn>
                  <a:cxn ang="0">
                    <a:pos x="1552" y="447"/>
                  </a:cxn>
                  <a:cxn ang="0">
                    <a:pos x="1585" y="373"/>
                  </a:cxn>
                  <a:cxn ang="0">
                    <a:pos x="1649" y="385"/>
                  </a:cxn>
                  <a:cxn ang="0">
                    <a:pos x="1689" y="397"/>
                  </a:cxn>
                  <a:cxn ang="0">
                    <a:pos x="1708" y="348"/>
                  </a:cxn>
                  <a:cxn ang="0">
                    <a:pos x="1737" y="277"/>
                  </a:cxn>
                  <a:cxn ang="0">
                    <a:pos x="1914" y="369"/>
                  </a:cxn>
                  <a:cxn ang="0">
                    <a:pos x="1954" y="423"/>
                  </a:cxn>
                  <a:cxn ang="0">
                    <a:pos x="2011" y="456"/>
                  </a:cxn>
                  <a:cxn ang="0">
                    <a:pos x="2051" y="501"/>
                  </a:cxn>
                  <a:cxn ang="0">
                    <a:pos x="2103" y="520"/>
                  </a:cxn>
                  <a:cxn ang="0">
                    <a:pos x="2169" y="565"/>
                  </a:cxn>
                  <a:cxn ang="0">
                    <a:pos x="2233" y="562"/>
                  </a:cxn>
                  <a:cxn ang="0">
                    <a:pos x="1973" y="1139"/>
                  </a:cxn>
                  <a:cxn ang="0">
                    <a:pos x="1980" y="1285"/>
                  </a:cxn>
                  <a:cxn ang="0">
                    <a:pos x="1954" y="1408"/>
                  </a:cxn>
                  <a:cxn ang="0">
                    <a:pos x="1533" y="1432"/>
                  </a:cxn>
                  <a:cxn ang="0">
                    <a:pos x="1477" y="1425"/>
                  </a:cxn>
                  <a:cxn ang="0">
                    <a:pos x="1430" y="1387"/>
                  </a:cxn>
                  <a:cxn ang="0">
                    <a:pos x="1293" y="1344"/>
                  </a:cxn>
                  <a:cxn ang="0">
                    <a:pos x="1248" y="1415"/>
                  </a:cxn>
                  <a:cxn ang="0">
                    <a:pos x="1177" y="1467"/>
                  </a:cxn>
                  <a:cxn ang="0">
                    <a:pos x="1122" y="1510"/>
                  </a:cxn>
                  <a:cxn ang="0">
                    <a:pos x="1063" y="1512"/>
                  </a:cxn>
                  <a:cxn ang="0">
                    <a:pos x="1011" y="1540"/>
                  </a:cxn>
                  <a:cxn ang="0">
                    <a:pos x="941" y="1529"/>
                  </a:cxn>
                  <a:cxn ang="0">
                    <a:pos x="411" y="1351"/>
                  </a:cxn>
                </a:cxnLst>
                <a:rect l="0" t="0" r="r" b="b"/>
                <a:pathLst>
                  <a:path w="2247" h="1578">
                    <a:moveTo>
                      <a:pt x="0" y="1224"/>
                    </a:moveTo>
                    <a:lnTo>
                      <a:pt x="3" y="1224"/>
                    </a:lnTo>
                    <a:lnTo>
                      <a:pt x="5" y="1222"/>
                    </a:lnTo>
                    <a:lnTo>
                      <a:pt x="10" y="1214"/>
                    </a:lnTo>
                    <a:lnTo>
                      <a:pt x="10" y="1212"/>
                    </a:lnTo>
                    <a:lnTo>
                      <a:pt x="10" y="1210"/>
                    </a:lnTo>
                    <a:lnTo>
                      <a:pt x="10" y="1210"/>
                    </a:lnTo>
                    <a:lnTo>
                      <a:pt x="10" y="1207"/>
                    </a:lnTo>
                    <a:lnTo>
                      <a:pt x="10" y="1205"/>
                    </a:lnTo>
                    <a:lnTo>
                      <a:pt x="7" y="1203"/>
                    </a:lnTo>
                    <a:lnTo>
                      <a:pt x="7" y="1200"/>
                    </a:lnTo>
                    <a:lnTo>
                      <a:pt x="10" y="1198"/>
                    </a:lnTo>
                    <a:lnTo>
                      <a:pt x="12" y="1196"/>
                    </a:lnTo>
                    <a:lnTo>
                      <a:pt x="12" y="1193"/>
                    </a:lnTo>
                    <a:lnTo>
                      <a:pt x="12" y="1191"/>
                    </a:lnTo>
                    <a:lnTo>
                      <a:pt x="15" y="1188"/>
                    </a:lnTo>
                    <a:lnTo>
                      <a:pt x="15" y="1188"/>
                    </a:lnTo>
                    <a:lnTo>
                      <a:pt x="15" y="1188"/>
                    </a:lnTo>
                    <a:lnTo>
                      <a:pt x="17" y="1186"/>
                    </a:lnTo>
                    <a:lnTo>
                      <a:pt x="19" y="1184"/>
                    </a:lnTo>
                    <a:lnTo>
                      <a:pt x="22" y="1181"/>
                    </a:lnTo>
                    <a:lnTo>
                      <a:pt x="22" y="1179"/>
                    </a:lnTo>
                    <a:lnTo>
                      <a:pt x="26" y="1177"/>
                    </a:lnTo>
                    <a:lnTo>
                      <a:pt x="26" y="1174"/>
                    </a:lnTo>
                    <a:lnTo>
                      <a:pt x="29" y="1174"/>
                    </a:lnTo>
                    <a:lnTo>
                      <a:pt x="29" y="1174"/>
                    </a:lnTo>
                    <a:lnTo>
                      <a:pt x="33" y="1174"/>
                    </a:lnTo>
                    <a:lnTo>
                      <a:pt x="33" y="1170"/>
                    </a:lnTo>
                    <a:lnTo>
                      <a:pt x="38" y="1167"/>
                    </a:lnTo>
                    <a:lnTo>
                      <a:pt x="41" y="1167"/>
                    </a:lnTo>
                    <a:lnTo>
                      <a:pt x="43" y="1167"/>
                    </a:lnTo>
                    <a:lnTo>
                      <a:pt x="43" y="1165"/>
                    </a:lnTo>
                    <a:lnTo>
                      <a:pt x="45" y="1165"/>
                    </a:lnTo>
                    <a:lnTo>
                      <a:pt x="48" y="1165"/>
                    </a:lnTo>
                    <a:lnTo>
                      <a:pt x="50" y="1165"/>
                    </a:lnTo>
                    <a:lnTo>
                      <a:pt x="50" y="1162"/>
                    </a:lnTo>
                    <a:lnTo>
                      <a:pt x="52" y="1162"/>
                    </a:lnTo>
                    <a:lnTo>
                      <a:pt x="55" y="1162"/>
                    </a:lnTo>
                    <a:lnTo>
                      <a:pt x="55" y="1160"/>
                    </a:lnTo>
                    <a:lnTo>
                      <a:pt x="55" y="1158"/>
                    </a:lnTo>
                    <a:lnTo>
                      <a:pt x="57" y="1158"/>
                    </a:lnTo>
                    <a:lnTo>
                      <a:pt x="59" y="1155"/>
                    </a:lnTo>
                    <a:lnTo>
                      <a:pt x="59" y="1155"/>
                    </a:lnTo>
                    <a:lnTo>
                      <a:pt x="62" y="1158"/>
                    </a:lnTo>
                    <a:lnTo>
                      <a:pt x="62" y="1155"/>
                    </a:lnTo>
                    <a:lnTo>
                      <a:pt x="64" y="1155"/>
                    </a:lnTo>
                    <a:lnTo>
                      <a:pt x="64" y="1155"/>
                    </a:lnTo>
                    <a:lnTo>
                      <a:pt x="69" y="1155"/>
                    </a:lnTo>
                    <a:lnTo>
                      <a:pt x="71" y="1155"/>
                    </a:lnTo>
                    <a:lnTo>
                      <a:pt x="74" y="1155"/>
                    </a:lnTo>
                    <a:lnTo>
                      <a:pt x="74" y="1153"/>
                    </a:lnTo>
                    <a:lnTo>
                      <a:pt x="76" y="1153"/>
                    </a:lnTo>
                    <a:lnTo>
                      <a:pt x="76" y="1153"/>
                    </a:lnTo>
                    <a:lnTo>
                      <a:pt x="76" y="1155"/>
                    </a:lnTo>
                    <a:lnTo>
                      <a:pt x="78" y="1153"/>
                    </a:lnTo>
                    <a:lnTo>
                      <a:pt x="78" y="1151"/>
                    </a:lnTo>
                    <a:lnTo>
                      <a:pt x="78" y="1151"/>
                    </a:lnTo>
                    <a:lnTo>
                      <a:pt x="78" y="1151"/>
                    </a:lnTo>
                    <a:lnTo>
                      <a:pt x="78" y="1151"/>
                    </a:lnTo>
                    <a:lnTo>
                      <a:pt x="81" y="1148"/>
                    </a:lnTo>
                    <a:lnTo>
                      <a:pt x="81" y="1148"/>
                    </a:lnTo>
                    <a:lnTo>
                      <a:pt x="81" y="1146"/>
                    </a:lnTo>
                    <a:lnTo>
                      <a:pt x="83" y="1148"/>
                    </a:lnTo>
                    <a:lnTo>
                      <a:pt x="83" y="1148"/>
                    </a:lnTo>
                    <a:lnTo>
                      <a:pt x="85" y="1146"/>
                    </a:lnTo>
                    <a:lnTo>
                      <a:pt x="85" y="1144"/>
                    </a:lnTo>
                    <a:lnTo>
                      <a:pt x="85" y="1144"/>
                    </a:lnTo>
                    <a:lnTo>
                      <a:pt x="85" y="1141"/>
                    </a:lnTo>
                    <a:lnTo>
                      <a:pt x="88" y="1139"/>
                    </a:lnTo>
                    <a:lnTo>
                      <a:pt x="88" y="1139"/>
                    </a:lnTo>
                    <a:lnTo>
                      <a:pt x="88" y="1139"/>
                    </a:lnTo>
                    <a:lnTo>
                      <a:pt x="88" y="1136"/>
                    </a:lnTo>
                    <a:lnTo>
                      <a:pt x="88" y="1134"/>
                    </a:lnTo>
                    <a:lnTo>
                      <a:pt x="88" y="1134"/>
                    </a:lnTo>
                    <a:lnTo>
                      <a:pt x="90" y="1134"/>
                    </a:lnTo>
                    <a:lnTo>
                      <a:pt x="90" y="1132"/>
                    </a:lnTo>
                    <a:lnTo>
                      <a:pt x="88" y="1129"/>
                    </a:lnTo>
                    <a:lnTo>
                      <a:pt x="88" y="1129"/>
                    </a:lnTo>
                    <a:lnTo>
                      <a:pt x="85" y="1127"/>
                    </a:lnTo>
                    <a:lnTo>
                      <a:pt x="85" y="1125"/>
                    </a:lnTo>
                    <a:lnTo>
                      <a:pt x="83" y="1120"/>
                    </a:lnTo>
                    <a:lnTo>
                      <a:pt x="83" y="1122"/>
                    </a:lnTo>
                    <a:lnTo>
                      <a:pt x="83" y="1120"/>
                    </a:lnTo>
                    <a:lnTo>
                      <a:pt x="83" y="1118"/>
                    </a:lnTo>
                    <a:lnTo>
                      <a:pt x="83" y="1118"/>
                    </a:lnTo>
                    <a:lnTo>
                      <a:pt x="83" y="1115"/>
                    </a:lnTo>
                    <a:lnTo>
                      <a:pt x="83" y="1115"/>
                    </a:lnTo>
                    <a:lnTo>
                      <a:pt x="81" y="1113"/>
                    </a:lnTo>
                    <a:lnTo>
                      <a:pt x="78" y="1113"/>
                    </a:lnTo>
                    <a:lnTo>
                      <a:pt x="78" y="1110"/>
                    </a:lnTo>
                    <a:lnTo>
                      <a:pt x="76" y="1108"/>
                    </a:lnTo>
                    <a:lnTo>
                      <a:pt x="76" y="1108"/>
                    </a:lnTo>
                    <a:lnTo>
                      <a:pt x="76" y="1106"/>
                    </a:lnTo>
                    <a:lnTo>
                      <a:pt x="76" y="1106"/>
                    </a:lnTo>
                    <a:lnTo>
                      <a:pt x="76" y="1101"/>
                    </a:lnTo>
                    <a:lnTo>
                      <a:pt x="71" y="1099"/>
                    </a:lnTo>
                    <a:lnTo>
                      <a:pt x="71" y="1096"/>
                    </a:lnTo>
                    <a:lnTo>
                      <a:pt x="71" y="1092"/>
                    </a:lnTo>
                    <a:lnTo>
                      <a:pt x="74" y="1089"/>
                    </a:lnTo>
                    <a:lnTo>
                      <a:pt x="74" y="1089"/>
                    </a:lnTo>
                    <a:lnTo>
                      <a:pt x="74" y="1087"/>
                    </a:lnTo>
                    <a:lnTo>
                      <a:pt x="74" y="1082"/>
                    </a:lnTo>
                    <a:lnTo>
                      <a:pt x="74" y="1082"/>
                    </a:lnTo>
                    <a:lnTo>
                      <a:pt x="76" y="1082"/>
                    </a:lnTo>
                    <a:lnTo>
                      <a:pt x="76" y="1080"/>
                    </a:lnTo>
                    <a:lnTo>
                      <a:pt x="76" y="1080"/>
                    </a:lnTo>
                    <a:lnTo>
                      <a:pt x="78" y="1080"/>
                    </a:lnTo>
                    <a:lnTo>
                      <a:pt x="78" y="1077"/>
                    </a:lnTo>
                    <a:lnTo>
                      <a:pt x="78" y="1077"/>
                    </a:lnTo>
                    <a:lnTo>
                      <a:pt x="81" y="1073"/>
                    </a:lnTo>
                    <a:lnTo>
                      <a:pt x="81" y="1073"/>
                    </a:lnTo>
                    <a:lnTo>
                      <a:pt x="81" y="1070"/>
                    </a:lnTo>
                    <a:lnTo>
                      <a:pt x="81" y="1070"/>
                    </a:lnTo>
                    <a:lnTo>
                      <a:pt x="81" y="1068"/>
                    </a:lnTo>
                    <a:lnTo>
                      <a:pt x="81" y="1068"/>
                    </a:lnTo>
                    <a:lnTo>
                      <a:pt x="81" y="1068"/>
                    </a:lnTo>
                    <a:lnTo>
                      <a:pt x="81" y="1066"/>
                    </a:lnTo>
                    <a:lnTo>
                      <a:pt x="81" y="1066"/>
                    </a:lnTo>
                    <a:lnTo>
                      <a:pt x="83" y="1063"/>
                    </a:lnTo>
                    <a:lnTo>
                      <a:pt x="83" y="1063"/>
                    </a:lnTo>
                    <a:lnTo>
                      <a:pt x="83" y="1061"/>
                    </a:lnTo>
                    <a:lnTo>
                      <a:pt x="83" y="1061"/>
                    </a:lnTo>
                    <a:lnTo>
                      <a:pt x="85" y="1061"/>
                    </a:lnTo>
                    <a:lnTo>
                      <a:pt x="85" y="1061"/>
                    </a:lnTo>
                    <a:lnTo>
                      <a:pt x="88" y="1059"/>
                    </a:lnTo>
                    <a:lnTo>
                      <a:pt x="88" y="1056"/>
                    </a:lnTo>
                    <a:lnTo>
                      <a:pt x="90" y="1056"/>
                    </a:lnTo>
                    <a:lnTo>
                      <a:pt x="90" y="1056"/>
                    </a:lnTo>
                    <a:lnTo>
                      <a:pt x="90" y="1054"/>
                    </a:lnTo>
                    <a:lnTo>
                      <a:pt x="92" y="1054"/>
                    </a:lnTo>
                    <a:lnTo>
                      <a:pt x="95" y="1051"/>
                    </a:lnTo>
                    <a:lnTo>
                      <a:pt x="97" y="1051"/>
                    </a:lnTo>
                    <a:lnTo>
                      <a:pt x="97" y="1049"/>
                    </a:lnTo>
                    <a:lnTo>
                      <a:pt x="97" y="1049"/>
                    </a:lnTo>
                    <a:lnTo>
                      <a:pt x="97" y="1047"/>
                    </a:lnTo>
                    <a:lnTo>
                      <a:pt x="100" y="1047"/>
                    </a:lnTo>
                    <a:lnTo>
                      <a:pt x="100" y="1044"/>
                    </a:lnTo>
                    <a:lnTo>
                      <a:pt x="100" y="1044"/>
                    </a:lnTo>
                    <a:lnTo>
                      <a:pt x="102" y="1042"/>
                    </a:lnTo>
                    <a:lnTo>
                      <a:pt x="102" y="1042"/>
                    </a:lnTo>
                    <a:lnTo>
                      <a:pt x="102" y="1040"/>
                    </a:lnTo>
                    <a:lnTo>
                      <a:pt x="104" y="1040"/>
                    </a:lnTo>
                    <a:lnTo>
                      <a:pt x="104" y="1040"/>
                    </a:lnTo>
                    <a:lnTo>
                      <a:pt x="104" y="1040"/>
                    </a:lnTo>
                    <a:lnTo>
                      <a:pt x="104" y="1037"/>
                    </a:lnTo>
                    <a:lnTo>
                      <a:pt x="104" y="1037"/>
                    </a:lnTo>
                    <a:lnTo>
                      <a:pt x="104" y="1035"/>
                    </a:lnTo>
                    <a:lnTo>
                      <a:pt x="104" y="1035"/>
                    </a:lnTo>
                    <a:lnTo>
                      <a:pt x="107" y="1035"/>
                    </a:lnTo>
                    <a:lnTo>
                      <a:pt x="107" y="1035"/>
                    </a:lnTo>
                    <a:lnTo>
                      <a:pt x="109" y="1035"/>
                    </a:lnTo>
                    <a:lnTo>
                      <a:pt x="107" y="1033"/>
                    </a:lnTo>
                    <a:lnTo>
                      <a:pt x="107" y="1030"/>
                    </a:lnTo>
                    <a:lnTo>
                      <a:pt x="107" y="1030"/>
                    </a:lnTo>
                    <a:lnTo>
                      <a:pt x="107" y="1028"/>
                    </a:lnTo>
                    <a:lnTo>
                      <a:pt x="107" y="1025"/>
                    </a:lnTo>
                    <a:lnTo>
                      <a:pt x="109" y="1025"/>
                    </a:lnTo>
                    <a:lnTo>
                      <a:pt x="109" y="1023"/>
                    </a:lnTo>
                    <a:lnTo>
                      <a:pt x="109" y="1021"/>
                    </a:lnTo>
                    <a:lnTo>
                      <a:pt x="109" y="1021"/>
                    </a:lnTo>
                    <a:lnTo>
                      <a:pt x="109" y="1018"/>
                    </a:lnTo>
                    <a:lnTo>
                      <a:pt x="109" y="1016"/>
                    </a:lnTo>
                    <a:lnTo>
                      <a:pt x="109" y="1014"/>
                    </a:lnTo>
                    <a:lnTo>
                      <a:pt x="109" y="1011"/>
                    </a:lnTo>
                    <a:lnTo>
                      <a:pt x="109" y="1009"/>
                    </a:lnTo>
                    <a:lnTo>
                      <a:pt x="109" y="1007"/>
                    </a:lnTo>
                    <a:lnTo>
                      <a:pt x="109" y="1007"/>
                    </a:lnTo>
                    <a:lnTo>
                      <a:pt x="111" y="1007"/>
                    </a:lnTo>
                    <a:lnTo>
                      <a:pt x="111" y="1002"/>
                    </a:lnTo>
                    <a:lnTo>
                      <a:pt x="111" y="1002"/>
                    </a:lnTo>
                    <a:lnTo>
                      <a:pt x="111" y="1002"/>
                    </a:lnTo>
                    <a:lnTo>
                      <a:pt x="114" y="999"/>
                    </a:lnTo>
                    <a:lnTo>
                      <a:pt x="114" y="997"/>
                    </a:lnTo>
                    <a:lnTo>
                      <a:pt x="116" y="997"/>
                    </a:lnTo>
                    <a:lnTo>
                      <a:pt x="116" y="995"/>
                    </a:lnTo>
                    <a:lnTo>
                      <a:pt x="116" y="992"/>
                    </a:lnTo>
                    <a:lnTo>
                      <a:pt x="116" y="992"/>
                    </a:lnTo>
                    <a:lnTo>
                      <a:pt x="118" y="990"/>
                    </a:lnTo>
                    <a:lnTo>
                      <a:pt x="118" y="990"/>
                    </a:lnTo>
                    <a:lnTo>
                      <a:pt x="118" y="988"/>
                    </a:lnTo>
                    <a:lnTo>
                      <a:pt x="118" y="988"/>
                    </a:lnTo>
                    <a:lnTo>
                      <a:pt x="118" y="985"/>
                    </a:lnTo>
                    <a:lnTo>
                      <a:pt x="121" y="985"/>
                    </a:lnTo>
                    <a:lnTo>
                      <a:pt x="121" y="983"/>
                    </a:lnTo>
                    <a:lnTo>
                      <a:pt x="121" y="983"/>
                    </a:lnTo>
                    <a:lnTo>
                      <a:pt x="118" y="981"/>
                    </a:lnTo>
                    <a:lnTo>
                      <a:pt x="121" y="981"/>
                    </a:lnTo>
                    <a:lnTo>
                      <a:pt x="121" y="978"/>
                    </a:lnTo>
                    <a:lnTo>
                      <a:pt x="121" y="976"/>
                    </a:lnTo>
                    <a:lnTo>
                      <a:pt x="121" y="976"/>
                    </a:lnTo>
                    <a:lnTo>
                      <a:pt x="118" y="976"/>
                    </a:lnTo>
                    <a:lnTo>
                      <a:pt x="121" y="973"/>
                    </a:lnTo>
                    <a:lnTo>
                      <a:pt x="118" y="971"/>
                    </a:lnTo>
                    <a:lnTo>
                      <a:pt x="118" y="971"/>
                    </a:lnTo>
                    <a:lnTo>
                      <a:pt x="118" y="971"/>
                    </a:lnTo>
                    <a:lnTo>
                      <a:pt x="118" y="971"/>
                    </a:lnTo>
                    <a:lnTo>
                      <a:pt x="118" y="969"/>
                    </a:lnTo>
                    <a:lnTo>
                      <a:pt x="118" y="969"/>
                    </a:lnTo>
                    <a:lnTo>
                      <a:pt x="121" y="969"/>
                    </a:lnTo>
                    <a:lnTo>
                      <a:pt x="121" y="966"/>
                    </a:lnTo>
                    <a:lnTo>
                      <a:pt x="123" y="966"/>
                    </a:lnTo>
                    <a:lnTo>
                      <a:pt x="123" y="966"/>
                    </a:lnTo>
                    <a:lnTo>
                      <a:pt x="126" y="966"/>
                    </a:lnTo>
                    <a:lnTo>
                      <a:pt x="126" y="966"/>
                    </a:lnTo>
                    <a:lnTo>
                      <a:pt x="128" y="962"/>
                    </a:lnTo>
                    <a:lnTo>
                      <a:pt x="128" y="964"/>
                    </a:lnTo>
                    <a:lnTo>
                      <a:pt x="130" y="962"/>
                    </a:lnTo>
                    <a:lnTo>
                      <a:pt x="130" y="962"/>
                    </a:lnTo>
                    <a:lnTo>
                      <a:pt x="133" y="962"/>
                    </a:lnTo>
                    <a:lnTo>
                      <a:pt x="133" y="962"/>
                    </a:lnTo>
                    <a:lnTo>
                      <a:pt x="135" y="962"/>
                    </a:lnTo>
                    <a:lnTo>
                      <a:pt x="135" y="959"/>
                    </a:lnTo>
                    <a:lnTo>
                      <a:pt x="137" y="959"/>
                    </a:lnTo>
                    <a:lnTo>
                      <a:pt x="137" y="959"/>
                    </a:lnTo>
                    <a:lnTo>
                      <a:pt x="137" y="957"/>
                    </a:lnTo>
                    <a:lnTo>
                      <a:pt x="137" y="957"/>
                    </a:lnTo>
                    <a:lnTo>
                      <a:pt x="137" y="957"/>
                    </a:lnTo>
                    <a:lnTo>
                      <a:pt x="137" y="957"/>
                    </a:lnTo>
                    <a:lnTo>
                      <a:pt x="137" y="955"/>
                    </a:lnTo>
                    <a:lnTo>
                      <a:pt x="140" y="955"/>
                    </a:lnTo>
                    <a:lnTo>
                      <a:pt x="140" y="955"/>
                    </a:lnTo>
                    <a:lnTo>
                      <a:pt x="142" y="957"/>
                    </a:lnTo>
                    <a:lnTo>
                      <a:pt x="144" y="955"/>
                    </a:lnTo>
                    <a:lnTo>
                      <a:pt x="144" y="955"/>
                    </a:lnTo>
                    <a:lnTo>
                      <a:pt x="147" y="957"/>
                    </a:lnTo>
                    <a:lnTo>
                      <a:pt x="147" y="955"/>
                    </a:lnTo>
                    <a:lnTo>
                      <a:pt x="149" y="955"/>
                    </a:lnTo>
                    <a:lnTo>
                      <a:pt x="149" y="955"/>
                    </a:lnTo>
                    <a:lnTo>
                      <a:pt x="152" y="955"/>
                    </a:lnTo>
                    <a:lnTo>
                      <a:pt x="154" y="952"/>
                    </a:lnTo>
                    <a:lnTo>
                      <a:pt x="154" y="950"/>
                    </a:lnTo>
                    <a:lnTo>
                      <a:pt x="154" y="950"/>
                    </a:lnTo>
                    <a:lnTo>
                      <a:pt x="154" y="948"/>
                    </a:lnTo>
                    <a:lnTo>
                      <a:pt x="154" y="948"/>
                    </a:lnTo>
                    <a:lnTo>
                      <a:pt x="154" y="948"/>
                    </a:lnTo>
                    <a:lnTo>
                      <a:pt x="156" y="945"/>
                    </a:lnTo>
                    <a:lnTo>
                      <a:pt x="156" y="945"/>
                    </a:lnTo>
                    <a:lnTo>
                      <a:pt x="159" y="945"/>
                    </a:lnTo>
                    <a:lnTo>
                      <a:pt x="161" y="943"/>
                    </a:lnTo>
                    <a:lnTo>
                      <a:pt x="161" y="943"/>
                    </a:lnTo>
                    <a:lnTo>
                      <a:pt x="163" y="943"/>
                    </a:lnTo>
                    <a:lnTo>
                      <a:pt x="163" y="940"/>
                    </a:lnTo>
                    <a:lnTo>
                      <a:pt x="166" y="940"/>
                    </a:lnTo>
                    <a:lnTo>
                      <a:pt x="166" y="943"/>
                    </a:lnTo>
                    <a:lnTo>
                      <a:pt x="166" y="943"/>
                    </a:lnTo>
                    <a:lnTo>
                      <a:pt x="168" y="940"/>
                    </a:lnTo>
                    <a:lnTo>
                      <a:pt x="168" y="940"/>
                    </a:lnTo>
                    <a:lnTo>
                      <a:pt x="168" y="943"/>
                    </a:lnTo>
                    <a:lnTo>
                      <a:pt x="170" y="943"/>
                    </a:lnTo>
                    <a:lnTo>
                      <a:pt x="170" y="940"/>
                    </a:lnTo>
                    <a:lnTo>
                      <a:pt x="170" y="938"/>
                    </a:lnTo>
                    <a:lnTo>
                      <a:pt x="173" y="938"/>
                    </a:lnTo>
                    <a:lnTo>
                      <a:pt x="173" y="936"/>
                    </a:lnTo>
                    <a:lnTo>
                      <a:pt x="170" y="936"/>
                    </a:lnTo>
                    <a:lnTo>
                      <a:pt x="170" y="936"/>
                    </a:lnTo>
                    <a:lnTo>
                      <a:pt x="173" y="933"/>
                    </a:lnTo>
                    <a:lnTo>
                      <a:pt x="173" y="936"/>
                    </a:lnTo>
                    <a:lnTo>
                      <a:pt x="173" y="936"/>
                    </a:lnTo>
                    <a:lnTo>
                      <a:pt x="175" y="936"/>
                    </a:lnTo>
                    <a:lnTo>
                      <a:pt x="175" y="936"/>
                    </a:lnTo>
                    <a:lnTo>
                      <a:pt x="175" y="936"/>
                    </a:lnTo>
                    <a:lnTo>
                      <a:pt x="178" y="936"/>
                    </a:lnTo>
                    <a:lnTo>
                      <a:pt x="178" y="933"/>
                    </a:lnTo>
                    <a:lnTo>
                      <a:pt x="175" y="933"/>
                    </a:lnTo>
                    <a:lnTo>
                      <a:pt x="178" y="933"/>
                    </a:lnTo>
                    <a:lnTo>
                      <a:pt x="178" y="933"/>
                    </a:lnTo>
                    <a:lnTo>
                      <a:pt x="180" y="931"/>
                    </a:lnTo>
                    <a:lnTo>
                      <a:pt x="182" y="931"/>
                    </a:lnTo>
                    <a:lnTo>
                      <a:pt x="182" y="929"/>
                    </a:lnTo>
                    <a:lnTo>
                      <a:pt x="182" y="929"/>
                    </a:lnTo>
                    <a:lnTo>
                      <a:pt x="182" y="926"/>
                    </a:lnTo>
                    <a:lnTo>
                      <a:pt x="182" y="926"/>
                    </a:lnTo>
                    <a:lnTo>
                      <a:pt x="182" y="924"/>
                    </a:lnTo>
                    <a:lnTo>
                      <a:pt x="185" y="924"/>
                    </a:lnTo>
                    <a:lnTo>
                      <a:pt x="187" y="922"/>
                    </a:lnTo>
                    <a:lnTo>
                      <a:pt x="189" y="922"/>
                    </a:lnTo>
                    <a:lnTo>
                      <a:pt x="189" y="919"/>
                    </a:lnTo>
                    <a:lnTo>
                      <a:pt x="189" y="919"/>
                    </a:lnTo>
                    <a:lnTo>
                      <a:pt x="189" y="919"/>
                    </a:lnTo>
                    <a:lnTo>
                      <a:pt x="192" y="919"/>
                    </a:lnTo>
                    <a:lnTo>
                      <a:pt x="192" y="919"/>
                    </a:lnTo>
                    <a:lnTo>
                      <a:pt x="194" y="919"/>
                    </a:lnTo>
                    <a:lnTo>
                      <a:pt x="194" y="919"/>
                    </a:lnTo>
                    <a:lnTo>
                      <a:pt x="194" y="922"/>
                    </a:lnTo>
                    <a:lnTo>
                      <a:pt x="196" y="922"/>
                    </a:lnTo>
                    <a:lnTo>
                      <a:pt x="199" y="917"/>
                    </a:lnTo>
                    <a:lnTo>
                      <a:pt x="199" y="919"/>
                    </a:lnTo>
                    <a:lnTo>
                      <a:pt x="201" y="919"/>
                    </a:lnTo>
                    <a:lnTo>
                      <a:pt x="204" y="917"/>
                    </a:lnTo>
                    <a:lnTo>
                      <a:pt x="204" y="917"/>
                    </a:lnTo>
                    <a:lnTo>
                      <a:pt x="204" y="914"/>
                    </a:lnTo>
                    <a:lnTo>
                      <a:pt x="206" y="917"/>
                    </a:lnTo>
                    <a:lnTo>
                      <a:pt x="206" y="917"/>
                    </a:lnTo>
                    <a:lnTo>
                      <a:pt x="206" y="914"/>
                    </a:lnTo>
                    <a:lnTo>
                      <a:pt x="208" y="912"/>
                    </a:lnTo>
                    <a:lnTo>
                      <a:pt x="211" y="912"/>
                    </a:lnTo>
                    <a:lnTo>
                      <a:pt x="211" y="912"/>
                    </a:lnTo>
                    <a:lnTo>
                      <a:pt x="211" y="912"/>
                    </a:lnTo>
                    <a:lnTo>
                      <a:pt x="213" y="910"/>
                    </a:lnTo>
                    <a:lnTo>
                      <a:pt x="213" y="912"/>
                    </a:lnTo>
                    <a:lnTo>
                      <a:pt x="218" y="910"/>
                    </a:lnTo>
                    <a:lnTo>
                      <a:pt x="218" y="907"/>
                    </a:lnTo>
                    <a:lnTo>
                      <a:pt x="220" y="907"/>
                    </a:lnTo>
                    <a:lnTo>
                      <a:pt x="220" y="905"/>
                    </a:lnTo>
                    <a:lnTo>
                      <a:pt x="222" y="903"/>
                    </a:lnTo>
                    <a:lnTo>
                      <a:pt x="225" y="903"/>
                    </a:lnTo>
                    <a:lnTo>
                      <a:pt x="225" y="900"/>
                    </a:lnTo>
                    <a:lnTo>
                      <a:pt x="225" y="898"/>
                    </a:lnTo>
                    <a:lnTo>
                      <a:pt x="227" y="900"/>
                    </a:lnTo>
                    <a:lnTo>
                      <a:pt x="230" y="900"/>
                    </a:lnTo>
                    <a:lnTo>
                      <a:pt x="230" y="900"/>
                    </a:lnTo>
                    <a:lnTo>
                      <a:pt x="230" y="900"/>
                    </a:lnTo>
                    <a:lnTo>
                      <a:pt x="230" y="898"/>
                    </a:lnTo>
                    <a:lnTo>
                      <a:pt x="232" y="898"/>
                    </a:lnTo>
                    <a:lnTo>
                      <a:pt x="234" y="898"/>
                    </a:lnTo>
                    <a:lnTo>
                      <a:pt x="234" y="896"/>
                    </a:lnTo>
                    <a:lnTo>
                      <a:pt x="234" y="898"/>
                    </a:lnTo>
                    <a:lnTo>
                      <a:pt x="237" y="896"/>
                    </a:lnTo>
                    <a:lnTo>
                      <a:pt x="237" y="896"/>
                    </a:lnTo>
                    <a:lnTo>
                      <a:pt x="237" y="893"/>
                    </a:lnTo>
                    <a:lnTo>
                      <a:pt x="237" y="893"/>
                    </a:lnTo>
                    <a:lnTo>
                      <a:pt x="237" y="893"/>
                    </a:lnTo>
                    <a:lnTo>
                      <a:pt x="239" y="893"/>
                    </a:lnTo>
                    <a:lnTo>
                      <a:pt x="239" y="891"/>
                    </a:lnTo>
                    <a:lnTo>
                      <a:pt x="239" y="891"/>
                    </a:lnTo>
                    <a:lnTo>
                      <a:pt x="239" y="891"/>
                    </a:lnTo>
                    <a:lnTo>
                      <a:pt x="239" y="891"/>
                    </a:lnTo>
                    <a:lnTo>
                      <a:pt x="239" y="888"/>
                    </a:lnTo>
                    <a:lnTo>
                      <a:pt x="241" y="888"/>
                    </a:lnTo>
                    <a:lnTo>
                      <a:pt x="241" y="888"/>
                    </a:lnTo>
                    <a:lnTo>
                      <a:pt x="244" y="888"/>
                    </a:lnTo>
                    <a:lnTo>
                      <a:pt x="244" y="886"/>
                    </a:lnTo>
                    <a:lnTo>
                      <a:pt x="244" y="888"/>
                    </a:lnTo>
                    <a:lnTo>
                      <a:pt x="244" y="886"/>
                    </a:lnTo>
                    <a:lnTo>
                      <a:pt x="244" y="886"/>
                    </a:lnTo>
                    <a:lnTo>
                      <a:pt x="246" y="884"/>
                    </a:lnTo>
                    <a:lnTo>
                      <a:pt x="246" y="886"/>
                    </a:lnTo>
                    <a:lnTo>
                      <a:pt x="248" y="884"/>
                    </a:lnTo>
                    <a:lnTo>
                      <a:pt x="251" y="884"/>
                    </a:lnTo>
                    <a:lnTo>
                      <a:pt x="253" y="881"/>
                    </a:lnTo>
                    <a:lnTo>
                      <a:pt x="255" y="881"/>
                    </a:lnTo>
                    <a:lnTo>
                      <a:pt x="258" y="881"/>
                    </a:lnTo>
                    <a:lnTo>
                      <a:pt x="258" y="881"/>
                    </a:lnTo>
                    <a:lnTo>
                      <a:pt x="258" y="881"/>
                    </a:lnTo>
                    <a:lnTo>
                      <a:pt x="258" y="884"/>
                    </a:lnTo>
                    <a:lnTo>
                      <a:pt x="260" y="884"/>
                    </a:lnTo>
                    <a:lnTo>
                      <a:pt x="263" y="881"/>
                    </a:lnTo>
                    <a:lnTo>
                      <a:pt x="263" y="881"/>
                    </a:lnTo>
                    <a:lnTo>
                      <a:pt x="263" y="879"/>
                    </a:lnTo>
                    <a:lnTo>
                      <a:pt x="263" y="879"/>
                    </a:lnTo>
                    <a:lnTo>
                      <a:pt x="263" y="881"/>
                    </a:lnTo>
                    <a:lnTo>
                      <a:pt x="263" y="881"/>
                    </a:lnTo>
                    <a:lnTo>
                      <a:pt x="265" y="881"/>
                    </a:lnTo>
                    <a:lnTo>
                      <a:pt x="267" y="884"/>
                    </a:lnTo>
                    <a:lnTo>
                      <a:pt x="267" y="884"/>
                    </a:lnTo>
                    <a:lnTo>
                      <a:pt x="270" y="884"/>
                    </a:lnTo>
                    <a:lnTo>
                      <a:pt x="272" y="884"/>
                    </a:lnTo>
                    <a:lnTo>
                      <a:pt x="274" y="881"/>
                    </a:lnTo>
                    <a:lnTo>
                      <a:pt x="274" y="884"/>
                    </a:lnTo>
                    <a:lnTo>
                      <a:pt x="277" y="881"/>
                    </a:lnTo>
                    <a:lnTo>
                      <a:pt x="277" y="881"/>
                    </a:lnTo>
                    <a:lnTo>
                      <a:pt x="277" y="879"/>
                    </a:lnTo>
                    <a:lnTo>
                      <a:pt x="279" y="879"/>
                    </a:lnTo>
                    <a:lnTo>
                      <a:pt x="279" y="879"/>
                    </a:lnTo>
                    <a:lnTo>
                      <a:pt x="279" y="881"/>
                    </a:lnTo>
                    <a:lnTo>
                      <a:pt x="277" y="884"/>
                    </a:lnTo>
                    <a:lnTo>
                      <a:pt x="277" y="884"/>
                    </a:lnTo>
                    <a:lnTo>
                      <a:pt x="277" y="884"/>
                    </a:lnTo>
                    <a:lnTo>
                      <a:pt x="277" y="886"/>
                    </a:lnTo>
                    <a:lnTo>
                      <a:pt x="279" y="886"/>
                    </a:lnTo>
                    <a:lnTo>
                      <a:pt x="281" y="886"/>
                    </a:lnTo>
                    <a:lnTo>
                      <a:pt x="284" y="884"/>
                    </a:lnTo>
                    <a:lnTo>
                      <a:pt x="284" y="884"/>
                    </a:lnTo>
                    <a:lnTo>
                      <a:pt x="286" y="879"/>
                    </a:lnTo>
                    <a:lnTo>
                      <a:pt x="289" y="881"/>
                    </a:lnTo>
                    <a:lnTo>
                      <a:pt x="289" y="879"/>
                    </a:lnTo>
                    <a:lnTo>
                      <a:pt x="289" y="879"/>
                    </a:lnTo>
                    <a:lnTo>
                      <a:pt x="291" y="879"/>
                    </a:lnTo>
                    <a:lnTo>
                      <a:pt x="293" y="881"/>
                    </a:lnTo>
                    <a:lnTo>
                      <a:pt x="293" y="881"/>
                    </a:lnTo>
                    <a:lnTo>
                      <a:pt x="293" y="879"/>
                    </a:lnTo>
                    <a:lnTo>
                      <a:pt x="293" y="879"/>
                    </a:lnTo>
                    <a:lnTo>
                      <a:pt x="293" y="874"/>
                    </a:lnTo>
                    <a:lnTo>
                      <a:pt x="293" y="877"/>
                    </a:lnTo>
                    <a:lnTo>
                      <a:pt x="296" y="877"/>
                    </a:lnTo>
                    <a:lnTo>
                      <a:pt x="296" y="877"/>
                    </a:lnTo>
                    <a:lnTo>
                      <a:pt x="296" y="874"/>
                    </a:lnTo>
                    <a:lnTo>
                      <a:pt x="296" y="874"/>
                    </a:lnTo>
                    <a:lnTo>
                      <a:pt x="298" y="874"/>
                    </a:lnTo>
                    <a:lnTo>
                      <a:pt x="300" y="877"/>
                    </a:lnTo>
                    <a:lnTo>
                      <a:pt x="300" y="877"/>
                    </a:lnTo>
                    <a:lnTo>
                      <a:pt x="303" y="877"/>
                    </a:lnTo>
                    <a:lnTo>
                      <a:pt x="303" y="879"/>
                    </a:lnTo>
                    <a:lnTo>
                      <a:pt x="303" y="879"/>
                    </a:lnTo>
                    <a:lnTo>
                      <a:pt x="307" y="874"/>
                    </a:lnTo>
                    <a:lnTo>
                      <a:pt x="307" y="872"/>
                    </a:lnTo>
                    <a:lnTo>
                      <a:pt x="310" y="874"/>
                    </a:lnTo>
                    <a:lnTo>
                      <a:pt x="312" y="874"/>
                    </a:lnTo>
                    <a:lnTo>
                      <a:pt x="312" y="872"/>
                    </a:lnTo>
                    <a:lnTo>
                      <a:pt x="312" y="874"/>
                    </a:lnTo>
                    <a:lnTo>
                      <a:pt x="312" y="874"/>
                    </a:lnTo>
                    <a:lnTo>
                      <a:pt x="315" y="874"/>
                    </a:lnTo>
                    <a:lnTo>
                      <a:pt x="317" y="874"/>
                    </a:lnTo>
                    <a:lnTo>
                      <a:pt x="317" y="877"/>
                    </a:lnTo>
                    <a:lnTo>
                      <a:pt x="317" y="877"/>
                    </a:lnTo>
                    <a:lnTo>
                      <a:pt x="319" y="877"/>
                    </a:lnTo>
                    <a:lnTo>
                      <a:pt x="319" y="874"/>
                    </a:lnTo>
                    <a:lnTo>
                      <a:pt x="317" y="874"/>
                    </a:lnTo>
                    <a:lnTo>
                      <a:pt x="317" y="872"/>
                    </a:lnTo>
                    <a:lnTo>
                      <a:pt x="317" y="872"/>
                    </a:lnTo>
                    <a:lnTo>
                      <a:pt x="319" y="874"/>
                    </a:lnTo>
                    <a:lnTo>
                      <a:pt x="322" y="874"/>
                    </a:lnTo>
                    <a:lnTo>
                      <a:pt x="322" y="874"/>
                    </a:lnTo>
                    <a:lnTo>
                      <a:pt x="324" y="872"/>
                    </a:lnTo>
                    <a:lnTo>
                      <a:pt x="322" y="870"/>
                    </a:lnTo>
                    <a:lnTo>
                      <a:pt x="322" y="867"/>
                    </a:lnTo>
                    <a:lnTo>
                      <a:pt x="322" y="867"/>
                    </a:lnTo>
                    <a:lnTo>
                      <a:pt x="326" y="870"/>
                    </a:lnTo>
                    <a:lnTo>
                      <a:pt x="326" y="867"/>
                    </a:lnTo>
                    <a:lnTo>
                      <a:pt x="329" y="867"/>
                    </a:lnTo>
                    <a:lnTo>
                      <a:pt x="329" y="870"/>
                    </a:lnTo>
                    <a:lnTo>
                      <a:pt x="329" y="870"/>
                    </a:lnTo>
                    <a:lnTo>
                      <a:pt x="329" y="867"/>
                    </a:lnTo>
                    <a:lnTo>
                      <a:pt x="331" y="867"/>
                    </a:lnTo>
                    <a:lnTo>
                      <a:pt x="331" y="867"/>
                    </a:lnTo>
                    <a:lnTo>
                      <a:pt x="331" y="870"/>
                    </a:lnTo>
                    <a:lnTo>
                      <a:pt x="331" y="872"/>
                    </a:lnTo>
                    <a:lnTo>
                      <a:pt x="333" y="872"/>
                    </a:lnTo>
                    <a:lnTo>
                      <a:pt x="333" y="870"/>
                    </a:lnTo>
                    <a:lnTo>
                      <a:pt x="333" y="870"/>
                    </a:lnTo>
                    <a:lnTo>
                      <a:pt x="336" y="870"/>
                    </a:lnTo>
                    <a:lnTo>
                      <a:pt x="336" y="870"/>
                    </a:lnTo>
                    <a:lnTo>
                      <a:pt x="336" y="870"/>
                    </a:lnTo>
                    <a:lnTo>
                      <a:pt x="336" y="870"/>
                    </a:lnTo>
                    <a:lnTo>
                      <a:pt x="338" y="870"/>
                    </a:lnTo>
                    <a:lnTo>
                      <a:pt x="338" y="867"/>
                    </a:lnTo>
                    <a:lnTo>
                      <a:pt x="341" y="867"/>
                    </a:lnTo>
                    <a:lnTo>
                      <a:pt x="343" y="872"/>
                    </a:lnTo>
                    <a:lnTo>
                      <a:pt x="343" y="870"/>
                    </a:lnTo>
                    <a:lnTo>
                      <a:pt x="343" y="867"/>
                    </a:lnTo>
                    <a:lnTo>
                      <a:pt x="345" y="867"/>
                    </a:lnTo>
                    <a:lnTo>
                      <a:pt x="345" y="865"/>
                    </a:lnTo>
                    <a:lnTo>
                      <a:pt x="348" y="867"/>
                    </a:lnTo>
                    <a:lnTo>
                      <a:pt x="345" y="870"/>
                    </a:lnTo>
                    <a:lnTo>
                      <a:pt x="348" y="870"/>
                    </a:lnTo>
                    <a:lnTo>
                      <a:pt x="350" y="867"/>
                    </a:lnTo>
                    <a:lnTo>
                      <a:pt x="350" y="865"/>
                    </a:lnTo>
                    <a:lnTo>
                      <a:pt x="350" y="865"/>
                    </a:lnTo>
                    <a:lnTo>
                      <a:pt x="350" y="870"/>
                    </a:lnTo>
                    <a:lnTo>
                      <a:pt x="352" y="870"/>
                    </a:lnTo>
                    <a:lnTo>
                      <a:pt x="352" y="870"/>
                    </a:lnTo>
                    <a:lnTo>
                      <a:pt x="355" y="867"/>
                    </a:lnTo>
                    <a:lnTo>
                      <a:pt x="355" y="867"/>
                    </a:lnTo>
                    <a:lnTo>
                      <a:pt x="357" y="867"/>
                    </a:lnTo>
                    <a:lnTo>
                      <a:pt x="357" y="867"/>
                    </a:lnTo>
                    <a:lnTo>
                      <a:pt x="359" y="865"/>
                    </a:lnTo>
                    <a:lnTo>
                      <a:pt x="357" y="865"/>
                    </a:lnTo>
                    <a:lnTo>
                      <a:pt x="357" y="862"/>
                    </a:lnTo>
                    <a:lnTo>
                      <a:pt x="357" y="862"/>
                    </a:lnTo>
                    <a:lnTo>
                      <a:pt x="359" y="862"/>
                    </a:lnTo>
                    <a:lnTo>
                      <a:pt x="359" y="865"/>
                    </a:lnTo>
                    <a:lnTo>
                      <a:pt x="359" y="865"/>
                    </a:lnTo>
                    <a:lnTo>
                      <a:pt x="364" y="867"/>
                    </a:lnTo>
                    <a:lnTo>
                      <a:pt x="364" y="867"/>
                    </a:lnTo>
                    <a:lnTo>
                      <a:pt x="364" y="865"/>
                    </a:lnTo>
                    <a:lnTo>
                      <a:pt x="364" y="865"/>
                    </a:lnTo>
                    <a:lnTo>
                      <a:pt x="367" y="865"/>
                    </a:lnTo>
                    <a:lnTo>
                      <a:pt x="367" y="865"/>
                    </a:lnTo>
                    <a:lnTo>
                      <a:pt x="367" y="862"/>
                    </a:lnTo>
                    <a:lnTo>
                      <a:pt x="369" y="860"/>
                    </a:lnTo>
                    <a:lnTo>
                      <a:pt x="369" y="860"/>
                    </a:lnTo>
                    <a:lnTo>
                      <a:pt x="374" y="860"/>
                    </a:lnTo>
                    <a:lnTo>
                      <a:pt x="371" y="855"/>
                    </a:lnTo>
                    <a:lnTo>
                      <a:pt x="374" y="855"/>
                    </a:lnTo>
                    <a:lnTo>
                      <a:pt x="376" y="853"/>
                    </a:lnTo>
                    <a:lnTo>
                      <a:pt x="374" y="851"/>
                    </a:lnTo>
                    <a:lnTo>
                      <a:pt x="374" y="851"/>
                    </a:lnTo>
                    <a:lnTo>
                      <a:pt x="376" y="851"/>
                    </a:lnTo>
                    <a:lnTo>
                      <a:pt x="376" y="851"/>
                    </a:lnTo>
                    <a:lnTo>
                      <a:pt x="378" y="851"/>
                    </a:lnTo>
                    <a:lnTo>
                      <a:pt x="378" y="848"/>
                    </a:lnTo>
                    <a:lnTo>
                      <a:pt x="378" y="848"/>
                    </a:lnTo>
                    <a:lnTo>
                      <a:pt x="378" y="846"/>
                    </a:lnTo>
                    <a:lnTo>
                      <a:pt x="378" y="844"/>
                    </a:lnTo>
                    <a:lnTo>
                      <a:pt x="381" y="844"/>
                    </a:lnTo>
                    <a:lnTo>
                      <a:pt x="381" y="841"/>
                    </a:lnTo>
                    <a:lnTo>
                      <a:pt x="383" y="841"/>
                    </a:lnTo>
                    <a:lnTo>
                      <a:pt x="385" y="839"/>
                    </a:lnTo>
                    <a:lnTo>
                      <a:pt x="385" y="839"/>
                    </a:lnTo>
                    <a:lnTo>
                      <a:pt x="388" y="839"/>
                    </a:lnTo>
                    <a:lnTo>
                      <a:pt x="390" y="839"/>
                    </a:lnTo>
                    <a:lnTo>
                      <a:pt x="393" y="841"/>
                    </a:lnTo>
                    <a:lnTo>
                      <a:pt x="395" y="841"/>
                    </a:lnTo>
                    <a:lnTo>
                      <a:pt x="395" y="841"/>
                    </a:lnTo>
                    <a:lnTo>
                      <a:pt x="395" y="844"/>
                    </a:lnTo>
                    <a:lnTo>
                      <a:pt x="397" y="844"/>
                    </a:lnTo>
                    <a:lnTo>
                      <a:pt x="400" y="841"/>
                    </a:lnTo>
                    <a:lnTo>
                      <a:pt x="400" y="839"/>
                    </a:lnTo>
                    <a:lnTo>
                      <a:pt x="400" y="836"/>
                    </a:lnTo>
                    <a:lnTo>
                      <a:pt x="400" y="836"/>
                    </a:lnTo>
                    <a:lnTo>
                      <a:pt x="400" y="836"/>
                    </a:lnTo>
                    <a:lnTo>
                      <a:pt x="402" y="839"/>
                    </a:lnTo>
                    <a:lnTo>
                      <a:pt x="402" y="834"/>
                    </a:lnTo>
                    <a:lnTo>
                      <a:pt x="404" y="834"/>
                    </a:lnTo>
                    <a:lnTo>
                      <a:pt x="404" y="834"/>
                    </a:lnTo>
                    <a:lnTo>
                      <a:pt x="404" y="836"/>
                    </a:lnTo>
                    <a:lnTo>
                      <a:pt x="402" y="839"/>
                    </a:lnTo>
                    <a:lnTo>
                      <a:pt x="402" y="841"/>
                    </a:lnTo>
                    <a:lnTo>
                      <a:pt x="404" y="841"/>
                    </a:lnTo>
                    <a:lnTo>
                      <a:pt x="404" y="844"/>
                    </a:lnTo>
                    <a:lnTo>
                      <a:pt x="407" y="841"/>
                    </a:lnTo>
                    <a:lnTo>
                      <a:pt x="409" y="841"/>
                    </a:lnTo>
                    <a:lnTo>
                      <a:pt x="411" y="841"/>
                    </a:lnTo>
                    <a:lnTo>
                      <a:pt x="411" y="839"/>
                    </a:lnTo>
                    <a:lnTo>
                      <a:pt x="414" y="839"/>
                    </a:lnTo>
                    <a:lnTo>
                      <a:pt x="414" y="836"/>
                    </a:lnTo>
                    <a:lnTo>
                      <a:pt x="414" y="834"/>
                    </a:lnTo>
                    <a:lnTo>
                      <a:pt x="418" y="836"/>
                    </a:lnTo>
                    <a:lnTo>
                      <a:pt x="418" y="839"/>
                    </a:lnTo>
                    <a:lnTo>
                      <a:pt x="418" y="841"/>
                    </a:lnTo>
                    <a:lnTo>
                      <a:pt x="418" y="844"/>
                    </a:lnTo>
                    <a:lnTo>
                      <a:pt x="421" y="844"/>
                    </a:lnTo>
                    <a:lnTo>
                      <a:pt x="421" y="839"/>
                    </a:lnTo>
                    <a:lnTo>
                      <a:pt x="421" y="839"/>
                    </a:lnTo>
                    <a:lnTo>
                      <a:pt x="423" y="841"/>
                    </a:lnTo>
                    <a:lnTo>
                      <a:pt x="426" y="841"/>
                    </a:lnTo>
                    <a:lnTo>
                      <a:pt x="426" y="839"/>
                    </a:lnTo>
                    <a:lnTo>
                      <a:pt x="428" y="839"/>
                    </a:lnTo>
                    <a:lnTo>
                      <a:pt x="428" y="836"/>
                    </a:lnTo>
                    <a:lnTo>
                      <a:pt x="428" y="836"/>
                    </a:lnTo>
                    <a:lnTo>
                      <a:pt x="428" y="834"/>
                    </a:lnTo>
                    <a:lnTo>
                      <a:pt x="430" y="836"/>
                    </a:lnTo>
                    <a:lnTo>
                      <a:pt x="433" y="836"/>
                    </a:lnTo>
                    <a:lnTo>
                      <a:pt x="435" y="834"/>
                    </a:lnTo>
                    <a:lnTo>
                      <a:pt x="437" y="836"/>
                    </a:lnTo>
                    <a:lnTo>
                      <a:pt x="437" y="839"/>
                    </a:lnTo>
                    <a:lnTo>
                      <a:pt x="440" y="841"/>
                    </a:lnTo>
                    <a:lnTo>
                      <a:pt x="440" y="841"/>
                    </a:lnTo>
                    <a:lnTo>
                      <a:pt x="442" y="841"/>
                    </a:lnTo>
                    <a:lnTo>
                      <a:pt x="442" y="839"/>
                    </a:lnTo>
                    <a:lnTo>
                      <a:pt x="442" y="836"/>
                    </a:lnTo>
                    <a:lnTo>
                      <a:pt x="442" y="836"/>
                    </a:lnTo>
                    <a:lnTo>
                      <a:pt x="444" y="839"/>
                    </a:lnTo>
                    <a:lnTo>
                      <a:pt x="447" y="839"/>
                    </a:lnTo>
                    <a:lnTo>
                      <a:pt x="447" y="841"/>
                    </a:lnTo>
                    <a:lnTo>
                      <a:pt x="447" y="844"/>
                    </a:lnTo>
                    <a:lnTo>
                      <a:pt x="447" y="848"/>
                    </a:lnTo>
                    <a:lnTo>
                      <a:pt x="447" y="848"/>
                    </a:lnTo>
                    <a:lnTo>
                      <a:pt x="444" y="851"/>
                    </a:lnTo>
                    <a:lnTo>
                      <a:pt x="444" y="851"/>
                    </a:lnTo>
                    <a:lnTo>
                      <a:pt x="447" y="853"/>
                    </a:lnTo>
                    <a:lnTo>
                      <a:pt x="447" y="855"/>
                    </a:lnTo>
                    <a:lnTo>
                      <a:pt x="447" y="855"/>
                    </a:lnTo>
                    <a:lnTo>
                      <a:pt x="452" y="853"/>
                    </a:lnTo>
                    <a:lnTo>
                      <a:pt x="452" y="855"/>
                    </a:lnTo>
                    <a:lnTo>
                      <a:pt x="452" y="855"/>
                    </a:lnTo>
                    <a:lnTo>
                      <a:pt x="449" y="855"/>
                    </a:lnTo>
                    <a:lnTo>
                      <a:pt x="449" y="858"/>
                    </a:lnTo>
                    <a:lnTo>
                      <a:pt x="452" y="860"/>
                    </a:lnTo>
                    <a:lnTo>
                      <a:pt x="454" y="860"/>
                    </a:lnTo>
                    <a:lnTo>
                      <a:pt x="456" y="860"/>
                    </a:lnTo>
                    <a:lnTo>
                      <a:pt x="456" y="860"/>
                    </a:lnTo>
                    <a:lnTo>
                      <a:pt x="456" y="860"/>
                    </a:lnTo>
                    <a:lnTo>
                      <a:pt x="459" y="865"/>
                    </a:lnTo>
                    <a:lnTo>
                      <a:pt x="459" y="865"/>
                    </a:lnTo>
                    <a:lnTo>
                      <a:pt x="459" y="865"/>
                    </a:lnTo>
                    <a:lnTo>
                      <a:pt x="461" y="865"/>
                    </a:lnTo>
                    <a:lnTo>
                      <a:pt x="461" y="862"/>
                    </a:lnTo>
                    <a:lnTo>
                      <a:pt x="461" y="862"/>
                    </a:lnTo>
                    <a:lnTo>
                      <a:pt x="466" y="860"/>
                    </a:lnTo>
                    <a:lnTo>
                      <a:pt x="466" y="860"/>
                    </a:lnTo>
                    <a:lnTo>
                      <a:pt x="461" y="858"/>
                    </a:lnTo>
                    <a:lnTo>
                      <a:pt x="463" y="855"/>
                    </a:lnTo>
                    <a:lnTo>
                      <a:pt x="466" y="853"/>
                    </a:lnTo>
                    <a:lnTo>
                      <a:pt x="466" y="855"/>
                    </a:lnTo>
                    <a:lnTo>
                      <a:pt x="468" y="855"/>
                    </a:lnTo>
                    <a:lnTo>
                      <a:pt x="468" y="855"/>
                    </a:lnTo>
                    <a:lnTo>
                      <a:pt x="470" y="853"/>
                    </a:lnTo>
                    <a:lnTo>
                      <a:pt x="470" y="853"/>
                    </a:lnTo>
                    <a:lnTo>
                      <a:pt x="470" y="853"/>
                    </a:lnTo>
                    <a:lnTo>
                      <a:pt x="470" y="855"/>
                    </a:lnTo>
                    <a:lnTo>
                      <a:pt x="473" y="855"/>
                    </a:lnTo>
                    <a:lnTo>
                      <a:pt x="473" y="855"/>
                    </a:lnTo>
                    <a:lnTo>
                      <a:pt x="475" y="855"/>
                    </a:lnTo>
                    <a:lnTo>
                      <a:pt x="473" y="858"/>
                    </a:lnTo>
                    <a:lnTo>
                      <a:pt x="475" y="860"/>
                    </a:lnTo>
                    <a:lnTo>
                      <a:pt x="475" y="860"/>
                    </a:lnTo>
                    <a:lnTo>
                      <a:pt x="478" y="860"/>
                    </a:lnTo>
                    <a:lnTo>
                      <a:pt x="478" y="862"/>
                    </a:lnTo>
                    <a:lnTo>
                      <a:pt x="478" y="862"/>
                    </a:lnTo>
                    <a:lnTo>
                      <a:pt x="480" y="862"/>
                    </a:lnTo>
                    <a:lnTo>
                      <a:pt x="482" y="862"/>
                    </a:lnTo>
                    <a:lnTo>
                      <a:pt x="487" y="860"/>
                    </a:lnTo>
                    <a:lnTo>
                      <a:pt x="489" y="855"/>
                    </a:lnTo>
                    <a:lnTo>
                      <a:pt x="489" y="853"/>
                    </a:lnTo>
                    <a:lnTo>
                      <a:pt x="489" y="846"/>
                    </a:lnTo>
                    <a:lnTo>
                      <a:pt x="492" y="846"/>
                    </a:lnTo>
                    <a:lnTo>
                      <a:pt x="492" y="846"/>
                    </a:lnTo>
                    <a:lnTo>
                      <a:pt x="499" y="810"/>
                    </a:lnTo>
                    <a:lnTo>
                      <a:pt x="504" y="777"/>
                    </a:lnTo>
                    <a:lnTo>
                      <a:pt x="522" y="669"/>
                    </a:lnTo>
                    <a:lnTo>
                      <a:pt x="532" y="614"/>
                    </a:lnTo>
                    <a:lnTo>
                      <a:pt x="544" y="541"/>
                    </a:lnTo>
                    <a:lnTo>
                      <a:pt x="553" y="494"/>
                    </a:lnTo>
                    <a:lnTo>
                      <a:pt x="553" y="489"/>
                    </a:lnTo>
                    <a:lnTo>
                      <a:pt x="553" y="487"/>
                    </a:lnTo>
                    <a:lnTo>
                      <a:pt x="555" y="487"/>
                    </a:lnTo>
                    <a:lnTo>
                      <a:pt x="555" y="485"/>
                    </a:lnTo>
                    <a:lnTo>
                      <a:pt x="555" y="480"/>
                    </a:lnTo>
                    <a:lnTo>
                      <a:pt x="555" y="477"/>
                    </a:lnTo>
                    <a:lnTo>
                      <a:pt x="555" y="475"/>
                    </a:lnTo>
                    <a:lnTo>
                      <a:pt x="558" y="475"/>
                    </a:lnTo>
                    <a:lnTo>
                      <a:pt x="560" y="473"/>
                    </a:lnTo>
                    <a:lnTo>
                      <a:pt x="560" y="470"/>
                    </a:lnTo>
                    <a:lnTo>
                      <a:pt x="558" y="468"/>
                    </a:lnTo>
                    <a:lnTo>
                      <a:pt x="558" y="463"/>
                    </a:lnTo>
                    <a:lnTo>
                      <a:pt x="558" y="461"/>
                    </a:lnTo>
                    <a:lnTo>
                      <a:pt x="558" y="459"/>
                    </a:lnTo>
                    <a:lnTo>
                      <a:pt x="555" y="456"/>
                    </a:lnTo>
                    <a:lnTo>
                      <a:pt x="558" y="451"/>
                    </a:lnTo>
                    <a:lnTo>
                      <a:pt x="558" y="449"/>
                    </a:lnTo>
                    <a:lnTo>
                      <a:pt x="558" y="447"/>
                    </a:lnTo>
                    <a:lnTo>
                      <a:pt x="560" y="444"/>
                    </a:lnTo>
                    <a:lnTo>
                      <a:pt x="560" y="442"/>
                    </a:lnTo>
                    <a:lnTo>
                      <a:pt x="560" y="440"/>
                    </a:lnTo>
                    <a:lnTo>
                      <a:pt x="558" y="435"/>
                    </a:lnTo>
                    <a:lnTo>
                      <a:pt x="555" y="435"/>
                    </a:lnTo>
                    <a:lnTo>
                      <a:pt x="558" y="430"/>
                    </a:lnTo>
                    <a:lnTo>
                      <a:pt x="555" y="430"/>
                    </a:lnTo>
                    <a:lnTo>
                      <a:pt x="555" y="430"/>
                    </a:lnTo>
                    <a:lnTo>
                      <a:pt x="555" y="428"/>
                    </a:lnTo>
                    <a:lnTo>
                      <a:pt x="555" y="428"/>
                    </a:lnTo>
                    <a:lnTo>
                      <a:pt x="555" y="428"/>
                    </a:lnTo>
                    <a:lnTo>
                      <a:pt x="558" y="428"/>
                    </a:lnTo>
                    <a:lnTo>
                      <a:pt x="558" y="425"/>
                    </a:lnTo>
                    <a:lnTo>
                      <a:pt x="555" y="423"/>
                    </a:lnTo>
                    <a:lnTo>
                      <a:pt x="553" y="425"/>
                    </a:lnTo>
                    <a:lnTo>
                      <a:pt x="551" y="423"/>
                    </a:lnTo>
                    <a:lnTo>
                      <a:pt x="551" y="421"/>
                    </a:lnTo>
                    <a:lnTo>
                      <a:pt x="548" y="418"/>
                    </a:lnTo>
                    <a:lnTo>
                      <a:pt x="548" y="418"/>
                    </a:lnTo>
                    <a:lnTo>
                      <a:pt x="546" y="416"/>
                    </a:lnTo>
                    <a:lnTo>
                      <a:pt x="544" y="416"/>
                    </a:lnTo>
                    <a:lnTo>
                      <a:pt x="544" y="416"/>
                    </a:lnTo>
                    <a:lnTo>
                      <a:pt x="544" y="414"/>
                    </a:lnTo>
                    <a:lnTo>
                      <a:pt x="544" y="411"/>
                    </a:lnTo>
                    <a:lnTo>
                      <a:pt x="544" y="409"/>
                    </a:lnTo>
                    <a:lnTo>
                      <a:pt x="541" y="407"/>
                    </a:lnTo>
                    <a:lnTo>
                      <a:pt x="541" y="407"/>
                    </a:lnTo>
                    <a:lnTo>
                      <a:pt x="539" y="404"/>
                    </a:lnTo>
                    <a:lnTo>
                      <a:pt x="539" y="402"/>
                    </a:lnTo>
                    <a:lnTo>
                      <a:pt x="539" y="399"/>
                    </a:lnTo>
                    <a:lnTo>
                      <a:pt x="539" y="399"/>
                    </a:lnTo>
                    <a:lnTo>
                      <a:pt x="537" y="399"/>
                    </a:lnTo>
                    <a:lnTo>
                      <a:pt x="537" y="397"/>
                    </a:lnTo>
                    <a:lnTo>
                      <a:pt x="532" y="395"/>
                    </a:lnTo>
                    <a:lnTo>
                      <a:pt x="534" y="395"/>
                    </a:lnTo>
                    <a:lnTo>
                      <a:pt x="532" y="392"/>
                    </a:lnTo>
                    <a:lnTo>
                      <a:pt x="532" y="392"/>
                    </a:lnTo>
                    <a:lnTo>
                      <a:pt x="532" y="392"/>
                    </a:lnTo>
                    <a:lnTo>
                      <a:pt x="532" y="390"/>
                    </a:lnTo>
                    <a:lnTo>
                      <a:pt x="532" y="390"/>
                    </a:lnTo>
                    <a:lnTo>
                      <a:pt x="532" y="388"/>
                    </a:lnTo>
                    <a:lnTo>
                      <a:pt x="534" y="388"/>
                    </a:lnTo>
                    <a:lnTo>
                      <a:pt x="534" y="388"/>
                    </a:lnTo>
                    <a:lnTo>
                      <a:pt x="534" y="385"/>
                    </a:lnTo>
                    <a:lnTo>
                      <a:pt x="537" y="383"/>
                    </a:lnTo>
                    <a:lnTo>
                      <a:pt x="537" y="381"/>
                    </a:lnTo>
                    <a:lnTo>
                      <a:pt x="539" y="378"/>
                    </a:lnTo>
                    <a:lnTo>
                      <a:pt x="539" y="378"/>
                    </a:lnTo>
                    <a:lnTo>
                      <a:pt x="539" y="378"/>
                    </a:lnTo>
                    <a:lnTo>
                      <a:pt x="539" y="376"/>
                    </a:lnTo>
                    <a:lnTo>
                      <a:pt x="537" y="376"/>
                    </a:lnTo>
                    <a:lnTo>
                      <a:pt x="537" y="376"/>
                    </a:lnTo>
                    <a:lnTo>
                      <a:pt x="534" y="373"/>
                    </a:lnTo>
                    <a:lnTo>
                      <a:pt x="534" y="373"/>
                    </a:lnTo>
                    <a:lnTo>
                      <a:pt x="534" y="371"/>
                    </a:lnTo>
                    <a:lnTo>
                      <a:pt x="534" y="369"/>
                    </a:lnTo>
                    <a:lnTo>
                      <a:pt x="534" y="366"/>
                    </a:lnTo>
                    <a:lnTo>
                      <a:pt x="532" y="364"/>
                    </a:lnTo>
                    <a:lnTo>
                      <a:pt x="534" y="362"/>
                    </a:lnTo>
                    <a:lnTo>
                      <a:pt x="532" y="359"/>
                    </a:lnTo>
                    <a:lnTo>
                      <a:pt x="530" y="359"/>
                    </a:lnTo>
                    <a:lnTo>
                      <a:pt x="530" y="359"/>
                    </a:lnTo>
                    <a:lnTo>
                      <a:pt x="530" y="357"/>
                    </a:lnTo>
                    <a:lnTo>
                      <a:pt x="525" y="357"/>
                    </a:lnTo>
                    <a:lnTo>
                      <a:pt x="522" y="355"/>
                    </a:lnTo>
                    <a:lnTo>
                      <a:pt x="522" y="355"/>
                    </a:lnTo>
                    <a:lnTo>
                      <a:pt x="520" y="355"/>
                    </a:lnTo>
                    <a:lnTo>
                      <a:pt x="518" y="352"/>
                    </a:lnTo>
                    <a:lnTo>
                      <a:pt x="518" y="352"/>
                    </a:lnTo>
                    <a:lnTo>
                      <a:pt x="515" y="350"/>
                    </a:lnTo>
                    <a:lnTo>
                      <a:pt x="515" y="350"/>
                    </a:lnTo>
                    <a:lnTo>
                      <a:pt x="513" y="348"/>
                    </a:lnTo>
                    <a:lnTo>
                      <a:pt x="513" y="348"/>
                    </a:lnTo>
                    <a:lnTo>
                      <a:pt x="511" y="348"/>
                    </a:lnTo>
                    <a:lnTo>
                      <a:pt x="511" y="345"/>
                    </a:lnTo>
                    <a:lnTo>
                      <a:pt x="508" y="345"/>
                    </a:lnTo>
                    <a:lnTo>
                      <a:pt x="506" y="345"/>
                    </a:lnTo>
                    <a:lnTo>
                      <a:pt x="504" y="338"/>
                    </a:lnTo>
                    <a:lnTo>
                      <a:pt x="501" y="340"/>
                    </a:lnTo>
                    <a:lnTo>
                      <a:pt x="499" y="338"/>
                    </a:lnTo>
                    <a:lnTo>
                      <a:pt x="496" y="340"/>
                    </a:lnTo>
                    <a:lnTo>
                      <a:pt x="494" y="338"/>
                    </a:lnTo>
                    <a:lnTo>
                      <a:pt x="492" y="336"/>
                    </a:lnTo>
                    <a:lnTo>
                      <a:pt x="492" y="333"/>
                    </a:lnTo>
                    <a:lnTo>
                      <a:pt x="492" y="333"/>
                    </a:lnTo>
                    <a:lnTo>
                      <a:pt x="489" y="331"/>
                    </a:lnTo>
                    <a:lnTo>
                      <a:pt x="489" y="331"/>
                    </a:lnTo>
                    <a:lnTo>
                      <a:pt x="487" y="329"/>
                    </a:lnTo>
                    <a:lnTo>
                      <a:pt x="485" y="326"/>
                    </a:lnTo>
                    <a:lnTo>
                      <a:pt x="485" y="326"/>
                    </a:lnTo>
                    <a:lnTo>
                      <a:pt x="478" y="319"/>
                    </a:lnTo>
                    <a:lnTo>
                      <a:pt x="478" y="319"/>
                    </a:lnTo>
                    <a:lnTo>
                      <a:pt x="478" y="314"/>
                    </a:lnTo>
                    <a:lnTo>
                      <a:pt x="478" y="312"/>
                    </a:lnTo>
                    <a:lnTo>
                      <a:pt x="478" y="310"/>
                    </a:lnTo>
                    <a:lnTo>
                      <a:pt x="478" y="296"/>
                    </a:lnTo>
                    <a:lnTo>
                      <a:pt x="478" y="286"/>
                    </a:lnTo>
                    <a:lnTo>
                      <a:pt x="478" y="262"/>
                    </a:lnTo>
                    <a:lnTo>
                      <a:pt x="478" y="232"/>
                    </a:lnTo>
                    <a:lnTo>
                      <a:pt x="478" y="220"/>
                    </a:lnTo>
                    <a:lnTo>
                      <a:pt x="480" y="220"/>
                    </a:lnTo>
                    <a:lnTo>
                      <a:pt x="480" y="220"/>
                    </a:lnTo>
                    <a:lnTo>
                      <a:pt x="482" y="222"/>
                    </a:lnTo>
                    <a:lnTo>
                      <a:pt x="482" y="222"/>
                    </a:lnTo>
                    <a:lnTo>
                      <a:pt x="485" y="222"/>
                    </a:lnTo>
                    <a:lnTo>
                      <a:pt x="485" y="222"/>
                    </a:lnTo>
                    <a:lnTo>
                      <a:pt x="485" y="220"/>
                    </a:lnTo>
                    <a:lnTo>
                      <a:pt x="485" y="220"/>
                    </a:lnTo>
                    <a:lnTo>
                      <a:pt x="487" y="220"/>
                    </a:lnTo>
                    <a:lnTo>
                      <a:pt x="487" y="220"/>
                    </a:lnTo>
                    <a:lnTo>
                      <a:pt x="492" y="222"/>
                    </a:lnTo>
                    <a:lnTo>
                      <a:pt x="494" y="220"/>
                    </a:lnTo>
                    <a:lnTo>
                      <a:pt x="494" y="218"/>
                    </a:lnTo>
                    <a:lnTo>
                      <a:pt x="496" y="218"/>
                    </a:lnTo>
                    <a:lnTo>
                      <a:pt x="496" y="218"/>
                    </a:lnTo>
                    <a:lnTo>
                      <a:pt x="499" y="220"/>
                    </a:lnTo>
                    <a:lnTo>
                      <a:pt x="501" y="218"/>
                    </a:lnTo>
                    <a:lnTo>
                      <a:pt x="504" y="218"/>
                    </a:lnTo>
                    <a:lnTo>
                      <a:pt x="504" y="218"/>
                    </a:lnTo>
                    <a:lnTo>
                      <a:pt x="506" y="218"/>
                    </a:lnTo>
                    <a:lnTo>
                      <a:pt x="506" y="218"/>
                    </a:lnTo>
                    <a:lnTo>
                      <a:pt x="508" y="218"/>
                    </a:lnTo>
                    <a:lnTo>
                      <a:pt x="508" y="220"/>
                    </a:lnTo>
                    <a:lnTo>
                      <a:pt x="511" y="218"/>
                    </a:lnTo>
                    <a:lnTo>
                      <a:pt x="511" y="215"/>
                    </a:lnTo>
                    <a:lnTo>
                      <a:pt x="513" y="215"/>
                    </a:lnTo>
                    <a:lnTo>
                      <a:pt x="515" y="213"/>
                    </a:lnTo>
                    <a:lnTo>
                      <a:pt x="518" y="213"/>
                    </a:lnTo>
                    <a:lnTo>
                      <a:pt x="520" y="213"/>
                    </a:lnTo>
                    <a:lnTo>
                      <a:pt x="520" y="211"/>
                    </a:lnTo>
                    <a:lnTo>
                      <a:pt x="522" y="208"/>
                    </a:lnTo>
                    <a:lnTo>
                      <a:pt x="522" y="208"/>
                    </a:lnTo>
                    <a:lnTo>
                      <a:pt x="522" y="208"/>
                    </a:lnTo>
                    <a:lnTo>
                      <a:pt x="525" y="206"/>
                    </a:lnTo>
                    <a:lnTo>
                      <a:pt x="527" y="208"/>
                    </a:lnTo>
                    <a:lnTo>
                      <a:pt x="530" y="208"/>
                    </a:lnTo>
                    <a:lnTo>
                      <a:pt x="530" y="211"/>
                    </a:lnTo>
                    <a:lnTo>
                      <a:pt x="532" y="211"/>
                    </a:lnTo>
                    <a:lnTo>
                      <a:pt x="532" y="211"/>
                    </a:lnTo>
                    <a:lnTo>
                      <a:pt x="534" y="211"/>
                    </a:lnTo>
                    <a:lnTo>
                      <a:pt x="534" y="211"/>
                    </a:lnTo>
                    <a:lnTo>
                      <a:pt x="534" y="211"/>
                    </a:lnTo>
                    <a:lnTo>
                      <a:pt x="534" y="208"/>
                    </a:lnTo>
                    <a:lnTo>
                      <a:pt x="539" y="206"/>
                    </a:lnTo>
                    <a:lnTo>
                      <a:pt x="539" y="203"/>
                    </a:lnTo>
                    <a:lnTo>
                      <a:pt x="541" y="203"/>
                    </a:lnTo>
                    <a:lnTo>
                      <a:pt x="544" y="203"/>
                    </a:lnTo>
                    <a:lnTo>
                      <a:pt x="544" y="203"/>
                    </a:lnTo>
                    <a:lnTo>
                      <a:pt x="544" y="201"/>
                    </a:lnTo>
                    <a:lnTo>
                      <a:pt x="544" y="201"/>
                    </a:lnTo>
                    <a:lnTo>
                      <a:pt x="546" y="201"/>
                    </a:lnTo>
                    <a:lnTo>
                      <a:pt x="546" y="199"/>
                    </a:lnTo>
                    <a:lnTo>
                      <a:pt x="548" y="199"/>
                    </a:lnTo>
                    <a:lnTo>
                      <a:pt x="551" y="199"/>
                    </a:lnTo>
                    <a:lnTo>
                      <a:pt x="551" y="199"/>
                    </a:lnTo>
                    <a:lnTo>
                      <a:pt x="551" y="199"/>
                    </a:lnTo>
                    <a:lnTo>
                      <a:pt x="553" y="201"/>
                    </a:lnTo>
                    <a:lnTo>
                      <a:pt x="555" y="201"/>
                    </a:lnTo>
                    <a:lnTo>
                      <a:pt x="555" y="201"/>
                    </a:lnTo>
                    <a:lnTo>
                      <a:pt x="555" y="203"/>
                    </a:lnTo>
                    <a:lnTo>
                      <a:pt x="555" y="203"/>
                    </a:lnTo>
                    <a:lnTo>
                      <a:pt x="558" y="206"/>
                    </a:lnTo>
                    <a:lnTo>
                      <a:pt x="558" y="208"/>
                    </a:lnTo>
                    <a:lnTo>
                      <a:pt x="565" y="213"/>
                    </a:lnTo>
                    <a:lnTo>
                      <a:pt x="565" y="213"/>
                    </a:lnTo>
                    <a:lnTo>
                      <a:pt x="567" y="213"/>
                    </a:lnTo>
                    <a:lnTo>
                      <a:pt x="567" y="213"/>
                    </a:lnTo>
                    <a:lnTo>
                      <a:pt x="567" y="211"/>
                    </a:lnTo>
                    <a:lnTo>
                      <a:pt x="570" y="211"/>
                    </a:lnTo>
                    <a:lnTo>
                      <a:pt x="572" y="211"/>
                    </a:lnTo>
                    <a:lnTo>
                      <a:pt x="572" y="208"/>
                    </a:lnTo>
                    <a:lnTo>
                      <a:pt x="574" y="211"/>
                    </a:lnTo>
                    <a:lnTo>
                      <a:pt x="574" y="211"/>
                    </a:lnTo>
                    <a:lnTo>
                      <a:pt x="574" y="213"/>
                    </a:lnTo>
                    <a:lnTo>
                      <a:pt x="574" y="215"/>
                    </a:lnTo>
                    <a:lnTo>
                      <a:pt x="577" y="215"/>
                    </a:lnTo>
                    <a:lnTo>
                      <a:pt x="577" y="215"/>
                    </a:lnTo>
                    <a:lnTo>
                      <a:pt x="579" y="215"/>
                    </a:lnTo>
                    <a:lnTo>
                      <a:pt x="579" y="213"/>
                    </a:lnTo>
                    <a:lnTo>
                      <a:pt x="579" y="215"/>
                    </a:lnTo>
                    <a:lnTo>
                      <a:pt x="584" y="213"/>
                    </a:lnTo>
                    <a:lnTo>
                      <a:pt x="586" y="215"/>
                    </a:lnTo>
                    <a:lnTo>
                      <a:pt x="586" y="213"/>
                    </a:lnTo>
                    <a:lnTo>
                      <a:pt x="586" y="211"/>
                    </a:lnTo>
                    <a:lnTo>
                      <a:pt x="586" y="211"/>
                    </a:lnTo>
                    <a:lnTo>
                      <a:pt x="586" y="208"/>
                    </a:lnTo>
                    <a:lnTo>
                      <a:pt x="589" y="208"/>
                    </a:lnTo>
                    <a:lnTo>
                      <a:pt x="589" y="208"/>
                    </a:lnTo>
                    <a:lnTo>
                      <a:pt x="591" y="208"/>
                    </a:lnTo>
                    <a:lnTo>
                      <a:pt x="593" y="211"/>
                    </a:lnTo>
                    <a:lnTo>
                      <a:pt x="593" y="211"/>
                    </a:lnTo>
                    <a:lnTo>
                      <a:pt x="596" y="211"/>
                    </a:lnTo>
                    <a:lnTo>
                      <a:pt x="596" y="211"/>
                    </a:lnTo>
                    <a:lnTo>
                      <a:pt x="596" y="208"/>
                    </a:lnTo>
                    <a:lnTo>
                      <a:pt x="593" y="201"/>
                    </a:lnTo>
                    <a:lnTo>
                      <a:pt x="589" y="201"/>
                    </a:lnTo>
                    <a:lnTo>
                      <a:pt x="589" y="199"/>
                    </a:lnTo>
                    <a:lnTo>
                      <a:pt x="586" y="199"/>
                    </a:lnTo>
                    <a:lnTo>
                      <a:pt x="586" y="196"/>
                    </a:lnTo>
                    <a:lnTo>
                      <a:pt x="589" y="194"/>
                    </a:lnTo>
                    <a:lnTo>
                      <a:pt x="591" y="194"/>
                    </a:lnTo>
                    <a:lnTo>
                      <a:pt x="591" y="194"/>
                    </a:lnTo>
                    <a:lnTo>
                      <a:pt x="593" y="192"/>
                    </a:lnTo>
                    <a:lnTo>
                      <a:pt x="591" y="189"/>
                    </a:lnTo>
                    <a:lnTo>
                      <a:pt x="591" y="187"/>
                    </a:lnTo>
                    <a:lnTo>
                      <a:pt x="589" y="185"/>
                    </a:lnTo>
                    <a:lnTo>
                      <a:pt x="589" y="182"/>
                    </a:lnTo>
                    <a:lnTo>
                      <a:pt x="591" y="182"/>
                    </a:lnTo>
                    <a:lnTo>
                      <a:pt x="593" y="182"/>
                    </a:lnTo>
                    <a:lnTo>
                      <a:pt x="593" y="182"/>
                    </a:lnTo>
                    <a:lnTo>
                      <a:pt x="593" y="180"/>
                    </a:lnTo>
                    <a:lnTo>
                      <a:pt x="593" y="177"/>
                    </a:lnTo>
                    <a:lnTo>
                      <a:pt x="591" y="177"/>
                    </a:lnTo>
                    <a:lnTo>
                      <a:pt x="589" y="175"/>
                    </a:lnTo>
                    <a:lnTo>
                      <a:pt x="586" y="175"/>
                    </a:lnTo>
                    <a:lnTo>
                      <a:pt x="586" y="175"/>
                    </a:lnTo>
                    <a:lnTo>
                      <a:pt x="586" y="173"/>
                    </a:lnTo>
                    <a:lnTo>
                      <a:pt x="586" y="173"/>
                    </a:lnTo>
                    <a:lnTo>
                      <a:pt x="586" y="170"/>
                    </a:lnTo>
                    <a:lnTo>
                      <a:pt x="589" y="170"/>
                    </a:lnTo>
                    <a:lnTo>
                      <a:pt x="589" y="168"/>
                    </a:lnTo>
                    <a:lnTo>
                      <a:pt x="584" y="166"/>
                    </a:lnTo>
                    <a:lnTo>
                      <a:pt x="584" y="166"/>
                    </a:lnTo>
                    <a:lnTo>
                      <a:pt x="586" y="163"/>
                    </a:lnTo>
                    <a:lnTo>
                      <a:pt x="584" y="161"/>
                    </a:lnTo>
                    <a:lnTo>
                      <a:pt x="584" y="161"/>
                    </a:lnTo>
                    <a:lnTo>
                      <a:pt x="577" y="154"/>
                    </a:lnTo>
                    <a:lnTo>
                      <a:pt x="577" y="154"/>
                    </a:lnTo>
                    <a:lnTo>
                      <a:pt x="574" y="156"/>
                    </a:lnTo>
                    <a:lnTo>
                      <a:pt x="574" y="154"/>
                    </a:lnTo>
                    <a:lnTo>
                      <a:pt x="572" y="154"/>
                    </a:lnTo>
                    <a:lnTo>
                      <a:pt x="572" y="154"/>
                    </a:lnTo>
                    <a:lnTo>
                      <a:pt x="570" y="151"/>
                    </a:lnTo>
                    <a:lnTo>
                      <a:pt x="567" y="151"/>
                    </a:lnTo>
                    <a:lnTo>
                      <a:pt x="565" y="151"/>
                    </a:lnTo>
                    <a:lnTo>
                      <a:pt x="563" y="151"/>
                    </a:lnTo>
                    <a:lnTo>
                      <a:pt x="563" y="151"/>
                    </a:lnTo>
                    <a:lnTo>
                      <a:pt x="558" y="156"/>
                    </a:lnTo>
                    <a:lnTo>
                      <a:pt x="555" y="156"/>
                    </a:lnTo>
                    <a:lnTo>
                      <a:pt x="555" y="154"/>
                    </a:lnTo>
                    <a:lnTo>
                      <a:pt x="555" y="154"/>
                    </a:lnTo>
                    <a:lnTo>
                      <a:pt x="555" y="151"/>
                    </a:lnTo>
                    <a:lnTo>
                      <a:pt x="553" y="154"/>
                    </a:lnTo>
                    <a:lnTo>
                      <a:pt x="548" y="151"/>
                    </a:lnTo>
                    <a:lnTo>
                      <a:pt x="544" y="154"/>
                    </a:lnTo>
                    <a:lnTo>
                      <a:pt x="539" y="154"/>
                    </a:lnTo>
                    <a:lnTo>
                      <a:pt x="537" y="151"/>
                    </a:lnTo>
                    <a:lnTo>
                      <a:pt x="534" y="149"/>
                    </a:lnTo>
                    <a:lnTo>
                      <a:pt x="532" y="149"/>
                    </a:lnTo>
                    <a:lnTo>
                      <a:pt x="532" y="151"/>
                    </a:lnTo>
                    <a:lnTo>
                      <a:pt x="530" y="151"/>
                    </a:lnTo>
                    <a:lnTo>
                      <a:pt x="525" y="151"/>
                    </a:lnTo>
                    <a:lnTo>
                      <a:pt x="525" y="154"/>
                    </a:lnTo>
                    <a:lnTo>
                      <a:pt x="522" y="151"/>
                    </a:lnTo>
                    <a:lnTo>
                      <a:pt x="522" y="154"/>
                    </a:lnTo>
                    <a:lnTo>
                      <a:pt x="520" y="151"/>
                    </a:lnTo>
                    <a:lnTo>
                      <a:pt x="520" y="149"/>
                    </a:lnTo>
                    <a:lnTo>
                      <a:pt x="520" y="147"/>
                    </a:lnTo>
                    <a:lnTo>
                      <a:pt x="518" y="147"/>
                    </a:lnTo>
                    <a:lnTo>
                      <a:pt x="518" y="147"/>
                    </a:lnTo>
                    <a:lnTo>
                      <a:pt x="515" y="147"/>
                    </a:lnTo>
                    <a:lnTo>
                      <a:pt x="511" y="151"/>
                    </a:lnTo>
                    <a:lnTo>
                      <a:pt x="511" y="151"/>
                    </a:lnTo>
                    <a:lnTo>
                      <a:pt x="508" y="154"/>
                    </a:lnTo>
                    <a:lnTo>
                      <a:pt x="508" y="154"/>
                    </a:lnTo>
                    <a:lnTo>
                      <a:pt x="506" y="154"/>
                    </a:lnTo>
                    <a:lnTo>
                      <a:pt x="504" y="151"/>
                    </a:lnTo>
                    <a:lnTo>
                      <a:pt x="504" y="125"/>
                    </a:lnTo>
                    <a:lnTo>
                      <a:pt x="504" y="88"/>
                    </a:lnTo>
                    <a:lnTo>
                      <a:pt x="504" y="69"/>
                    </a:lnTo>
                    <a:lnTo>
                      <a:pt x="506" y="69"/>
                    </a:lnTo>
                    <a:lnTo>
                      <a:pt x="506" y="71"/>
                    </a:lnTo>
                    <a:lnTo>
                      <a:pt x="506" y="71"/>
                    </a:lnTo>
                    <a:lnTo>
                      <a:pt x="511" y="71"/>
                    </a:lnTo>
                    <a:lnTo>
                      <a:pt x="511" y="71"/>
                    </a:lnTo>
                    <a:lnTo>
                      <a:pt x="511" y="71"/>
                    </a:lnTo>
                    <a:lnTo>
                      <a:pt x="513" y="69"/>
                    </a:lnTo>
                    <a:lnTo>
                      <a:pt x="513" y="69"/>
                    </a:lnTo>
                    <a:lnTo>
                      <a:pt x="515" y="66"/>
                    </a:lnTo>
                    <a:lnTo>
                      <a:pt x="518" y="66"/>
                    </a:lnTo>
                    <a:lnTo>
                      <a:pt x="520" y="66"/>
                    </a:lnTo>
                    <a:lnTo>
                      <a:pt x="520" y="64"/>
                    </a:lnTo>
                    <a:lnTo>
                      <a:pt x="522" y="66"/>
                    </a:lnTo>
                    <a:lnTo>
                      <a:pt x="525" y="66"/>
                    </a:lnTo>
                    <a:lnTo>
                      <a:pt x="525" y="66"/>
                    </a:lnTo>
                    <a:lnTo>
                      <a:pt x="525" y="66"/>
                    </a:lnTo>
                    <a:lnTo>
                      <a:pt x="527" y="66"/>
                    </a:lnTo>
                    <a:lnTo>
                      <a:pt x="530" y="66"/>
                    </a:lnTo>
                    <a:lnTo>
                      <a:pt x="530" y="66"/>
                    </a:lnTo>
                    <a:lnTo>
                      <a:pt x="532" y="64"/>
                    </a:lnTo>
                    <a:lnTo>
                      <a:pt x="532" y="64"/>
                    </a:lnTo>
                    <a:lnTo>
                      <a:pt x="534" y="64"/>
                    </a:lnTo>
                    <a:lnTo>
                      <a:pt x="539" y="62"/>
                    </a:lnTo>
                    <a:lnTo>
                      <a:pt x="541" y="59"/>
                    </a:lnTo>
                    <a:lnTo>
                      <a:pt x="548" y="64"/>
                    </a:lnTo>
                    <a:lnTo>
                      <a:pt x="548" y="62"/>
                    </a:lnTo>
                    <a:lnTo>
                      <a:pt x="548" y="64"/>
                    </a:lnTo>
                    <a:lnTo>
                      <a:pt x="551" y="64"/>
                    </a:lnTo>
                    <a:lnTo>
                      <a:pt x="551" y="62"/>
                    </a:lnTo>
                    <a:lnTo>
                      <a:pt x="551" y="64"/>
                    </a:lnTo>
                    <a:lnTo>
                      <a:pt x="553" y="64"/>
                    </a:lnTo>
                    <a:lnTo>
                      <a:pt x="553" y="64"/>
                    </a:lnTo>
                    <a:lnTo>
                      <a:pt x="558" y="64"/>
                    </a:lnTo>
                    <a:lnTo>
                      <a:pt x="560" y="66"/>
                    </a:lnTo>
                    <a:lnTo>
                      <a:pt x="560" y="69"/>
                    </a:lnTo>
                    <a:lnTo>
                      <a:pt x="563" y="69"/>
                    </a:lnTo>
                    <a:lnTo>
                      <a:pt x="589" y="69"/>
                    </a:lnTo>
                    <a:lnTo>
                      <a:pt x="650" y="69"/>
                    </a:lnTo>
                    <a:lnTo>
                      <a:pt x="716" y="69"/>
                    </a:lnTo>
                    <a:lnTo>
                      <a:pt x="718" y="69"/>
                    </a:lnTo>
                    <a:lnTo>
                      <a:pt x="718" y="66"/>
                    </a:lnTo>
                    <a:lnTo>
                      <a:pt x="716" y="64"/>
                    </a:lnTo>
                    <a:lnTo>
                      <a:pt x="714" y="64"/>
                    </a:lnTo>
                    <a:lnTo>
                      <a:pt x="716" y="62"/>
                    </a:lnTo>
                    <a:lnTo>
                      <a:pt x="714" y="62"/>
                    </a:lnTo>
                    <a:lnTo>
                      <a:pt x="711" y="62"/>
                    </a:lnTo>
                    <a:lnTo>
                      <a:pt x="711" y="62"/>
                    </a:lnTo>
                    <a:lnTo>
                      <a:pt x="709" y="62"/>
                    </a:lnTo>
                    <a:lnTo>
                      <a:pt x="707" y="62"/>
                    </a:lnTo>
                    <a:lnTo>
                      <a:pt x="707" y="59"/>
                    </a:lnTo>
                    <a:lnTo>
                      <a:pt x="707" y="55"/>
                    </a:lnTo>
                    <a:lnTo>
                      <a:pt x="707" y="55"/>
                    </a:lnTo>
                    <a:lnTo>
                      <a:pt x="704" y="55"/>
                    </a:lnTo>
                    <a:lnTo>
                      <a:pt x="704" y="52"/>
                    </a:lnTo>
                    <a:lnTo>
                      <a:pt x="704" y="50"/>
                    </a:lnTo>
                    <a:lnTo>
                      <a:pt x="707" y="48"/>
                    </a:lnTo>
                    <a:lnTo>
                      <a:pt x="707" y="43"/>
                    </a:lnTo>
                    <a:lnTo>
                      <a:pt x="707" y="40"/>
                    </a:lnTo>
                    <a:lnTo>
                      <a:pt x="709" y="38"/>
                    </a:lnTo>
                    <a:lnTo>
                      <a:pt x="711" y="38"/>
                    </a:lnTo>
                    <a:lnTo>
                      <a:pt x="714" y="38"/>
                    </a:lnTo>
                    <a:lnTo>
                      <a:pt x="714" y="36"/>
                    </a:lnTo>
                    <a:lnTo>
                      <a:pt x="716" y="33"/>
                    </a:lnTo>
                    <a:lnTo>
                      <a:pt x="718" y="36"/>
                    </a:lnTo>
                    <a:lnTo>
                      <a:pt x="718" y="36"/>
                    </a:lnTo>
                    <a:lnTo>
                      <a:pt x="721" y="36"/>
                    </a:lnTo>
                    <a:lnTo>
                      <a:pt x="723" y="36"/>
                    </a:lnTo>
                    <a:lnTo>
                      <a:pt x="723" y="40"/>
                    </a:lnTo>
                    <a:lnTo>
                      <a:pt x="726" y="40"/>
                    </a:lnTo>
                    <a:lnTo>
                      <a:pt x="726" y="45"/>
                    </a:lnTo>
                    <a:lnTo>
                      <a:pt x="726" y="45"/>
                    </a:lnTo>
                    <a:lnTo>
                      <a:pt x="728" y="45"/>
                    </a:lnTo>
                    <a:lnTo>
                      <a:pt x="730" y="45"/>
                    </a:lnTo>
                    <a:lnTo>
                      <a:pt x="733" y="45"/>
                    </a:lnTo>
                    <a:lnTo>
                      <a:pt x="735" y="48"/>
                    </a:lnTo>
                    <a:lnTo>
                      <a:pt x="737" y="50"/>
                    </a:lnTo>
                    <a:lnTo>
                      <a:pt x="742" y="55"/>
                    </a:lnTo>
                    <a:lnTo>
                      <a:pt x="744" y="55"/>
                    </a:lnTo>
                    <a:lnTo>
                      <a:pt x="747" y="55"/>
                    </a:lnTo>
                    <a:lnTo>
                      <a:pt x="747" y="52"/>
                    </a:lnTo>
                    <a:lnTo>
                      <a:pt x="749" y="52"/>
                    </a:lnTo>
                    <a:lnTo>
                      <a:pt x="749" y="50"/>
                    </a:lnTo>
                    <a:lnTo>
                      <a:pt x="749" y="45"/>
                    </a:lnTo>
                    <a:lnTo>
                      <a:pt x="752" y="45"/>
                    </a:lnTo>
                    <a:lnTo>
                      <a:pt x="756" y="43"/>
                    </a:lnTo>
                    <a:lnTo>
                      <a:pt x="759" y="38"/>
                    </a:lnTo>
                    <a:lnTo>
                      <a:pt x="759" y="38"/>
                    </a:lnTo>
                    <a:lnTo>
                      <a:pt x="761" y="36"/>
                    </a:lnTo>
                    <a:lnTo>
                      <a:pt x="766" y="29"/>
                    </a:lnTo>
                    <a:lnTo>
                      <a:pt x="768" y="26"/>
                    </a:lnTo>
                    <a:lnTo>
                      <a:pt x="770" y="26"/>
                    </a:lnTo>
                    <a:lnTo>
                      <a:pt x="775" y="29"/>
                    </a:lnTo>
                    <a:lnTo>
                      <a:pt x="782" y="29"/>
                    </a:lnTo>
                    <a:lnTo>
                      <a:pt x="787" y="29"/>
                    </a:lnTo>
                    <a:lnTo>
                      <a:pt x="787" y="29"/>
                    </a:lnTo>
                    <a:lnTo>
                      <a:pt x="789" y="22"/>
                    </a:lnTo>
                    <a:lnTo>
                      <a:pt x="794" y="19"/>
                    </a:lnTo>
                    <a:lnTo>
                      <a:pt x="794" y="14"/>
                    </a:lnTo>
                    <a:lnTo>
                      <a:pt x="796" y="12"/>
                    </a:lnTo>
                    <a:lnTo>
                      <a:pt x="799" y="10"/>
                    </a:lnTo>
                    <a:lnTo>
                      <a:pt x="808" y="5"/>
                    </a:lnTo>
                    <a:lnTo>
                      <a:pt x="808" y="3"/>
                    </a:lnTo>
                    <a:lnTo>
                      <a:pt x="811" y="0"/>
                    </a:lnTo>
                    <a:lnTo>
                      <a:pt x="813" y="0"/>
                    </a:lnTo>
                    <a:lnTo>
                      <a:pt x="815" y="0"/>
                    </a:lnTo>
                    <a:lnTo>
                      <a:pt x="818" y="3"/>
                    </a:lnTo>
                    <a:lnTo>
                      <a:pt x="822" y="5"/>
                    </a:lnTo>
                    <a:lnTo>
                      <a:pt x="822" y="19"/>
                    </a:lnTo>
                    <a:lnTo>
                      <a:pt x="822" y="22"/>
                    </a:lnTo>
                    <a:lnTo>
                      <a:pt x="822" y="29"/>
                    </a:lnTo>
                    <a:lnTo>
                      <a:pt x="827" y="43"/>
                    </a:lnTo>
                    <a:lnTo>
                      <a:pt x="827" y="48"/>
                    </a:lnTo>
                    <a:lnTo>
                      <a:pt x="830" y="48"/>
                    </a:lnTo>
                    <a:lnTo>
                      <a:pt x="834" y="52"/>
                    </a:lnTo>
                    <a:lnTo>
                      <a:pt x="834" y="50"/>
                    </a:lnTo>
                    <a:lnTo>
                      <a:pt x="841" y="52"/>
                    </a:lnTo>
                    <a:lnTo>
                      <a:pt x="844" y="52"/>
                    </a:lnTo>
                    <a:lnTo>
                      <a:pt x="846" y="55"/>
                    </a:lnTo>
                    <a:lnTo>
                      <a:pt x="848" y="59"/>
                    </a:lnTo>
                    <a:lnTo>
                      <a:pt x="851" y="62"/>
                    </a:lnTo>
                    <a:lnTo>
                      <a:pt x="853" y="69"/>
                    </a:lnTo>
                    <a:lnTo>
                      <a:pt x="851" y="71"/>
                    </a:lnTo>
                    <a:lnTo>
                      <a:pt x="853" y="74"/>
                    </a:lnTo>
                    <a:lnTo>
                      <a:pt x="853" y="78"/>
                    </a:lnTo>
                    <a:lnTo>
                      <a:pt x="853" y="81"/>
                    </a:lnTo>
                    <a:lnTo>
                      <a:pt x="856" y="97"/>
                    </a:lnTo>
                    <a:lnTo>
                      <a:pt x="856" y="102"/>
                    </a:lnTo>
                    <a:lnTo>
                      <a:pt x="856" y="107"/>
                    </a:lnTo>
                    <a:lnTo>
                      <a:pt x="853" y="111"/>
                    </a:lnTo>
                    <a:lnTo>
                      <a:pt x="853" y="121"/>
                    </a:lnTo>
                    <a:lnTo>
                      <a:pt x="853" y="133"/>
                    </a:lnTo>
                    <a:lnTo>
                      <a:pt x="853" y="137"/>
                    </a:lnTo>
                    <a:lnTo>
                      <a:pt x="853" y="142"/>
                    </a:lnTo>
                    <a:lnTo>
                      <a:pt x="881" y="133"/>
                    </a:lnTo>
                    <a:lnTo>
                      <a:pt x="915" y="163"/>
                    </a:lnTo>
                    <a:lnTo>
                      <a:pt x="952" y="194"/>
                    </a:lnTo>
                    <a:lnTo>
                      <a:pt x="964" y="192"/>
                    </a:lnTo>
                    <a:lnTo>
                      <a:pt x="967" y="192"/>
                    </a:lnTo>
                    <a:lnTo>
                      <a:pt x="969" y="194"/>
                    </a:lnTo>
                    <a:lnTo>
                      <a:pt x="971" y="194"/>
                    </a:lnTo>
                    <a:lnTo>
                      <a:pt x="971" y="196"/>
                    </a:lnTo>
                    <a:lnTo>
                      <a:pt x="971" y="196"/>
                    </a:lnTo>
                    <a:lnTo>
                      <a:pt x="976" y="196"/>
                    </a:lnTo>
                    <a:lnTo>
                      <a:pt x="976" y="194"/>
                    </a:lnTo>
                    <a:lnTo>
                      <a:pt x="978" y="194"/>
                    </a:lnTo>
                    <a:lnTo>
                      <a:pt x="981" y="194"/>
                    </a:lnTo>
                    <a:lnTo>
                      <a:pt x="981" y="194"/>
                    </a:lnTo>
                    <a:lnTo>
                      <a:pt x="981" y="192"/>
                    </a:lnTo>
                    <a:lnTo>
                      <a:pt x="983" y="189"/>
                    </a:lnTo>
                    <a:lnTo>
                      <a:pt x="983" y="189"/>
                    </a:lnTo>
                    <a:lnTo>
                      <a:pt x="983" y="189"/>
                    </a:lnTo>
                    <a:lnTo>
                      <a:pt x="988" y="189"/>
                    </a:lnTo>
                    <a:lnTo>
                      <a:pt x="990" y="189"/>
                    </a:lnTo>
                    <a:lnTo>
                      <a:pt x="990" y="189"/>
                    </a:lnTo>
                    <a:lnTo>
                      <a:pt x="993" y="189"/>
                    </a:lnTo>
                    <a:lnTo>
                      <a:pt x="993" y="189"/>
                    </a:lnTo>
                    <a:lnTo>
                      <a:pt x="995" y="189"/>
                    </a:lnTo>
                    <a:lnTo>
                      <a:pt x="995" y="189"/>
                    </a:lnTo>
                    <a:lnTo>
                      <a:pt x="997" y="189"/>
                    </a:lnTo>
                    <a:lnTo>
                      <a:pt x="997" y="187"/>
                    </a:lnTo>
                    <a:lnTo>
                      <a:pt x="997" y="185"/>
                    </a:lnTo>
                    <a:lnTo>
                      <a:pt x="997" y="182"/>
                    </a:lnTo>
                    <a:lnTo>
                      <a:pt x="1000" y="182"/>
                    </a:lnTo>
                    <a:lnTo>
                      <a:pt x="1000" y="180"/>
                    </a:lnTo>
                    <a:lnTo>
                      <a:pt x="1000" y="177"/>
                    </a:lnTo>
                    <a:lnTo>
                      <a:pt x="1002" y="177"/>
                    </a:lnTo>
                    <a:lnTo>
                      <a:pt x="1004" y="180"/>
                    </a:lnTo>
                    <a:lnTo>
                      <a:pt x="1004" y="177"/>
                    </a:lnTo>
                    <a:lnTo>
                      <a:pt x="1007" y="175"/>
                    </a:lnTo>
                    <a:lnTo>
                      <a:pt x="1007" y="173"/>
                    </a:lnTo>
                    <a:lnTo>
                      <a:pt x="1007" y="173"/>
                    </a:lnTo>
                    <a:lnTo>
                      <a:pt x="1009" y="173"/>
                    </a:lnTo>
                    <a:lnTo>
                      <a:pt x="1011" y="170"/>
                    </a:lnTo>
                    <a:lnTo>
                      <a:pt x="1016" y="170"/>
                    </a:lnTo>
                    <a:lnTo>
                      <a:pt x="1016" y="170"/>
                    </a:lnTo>
                    <a:lnTo>
                      <a:pt x="1019" y="170"/>
                    </a:lnTo>
                    <a:lnTo>
                      <a:pt x="1019" y="168"/>
                    </a:lnTo>
                    <a:lnTo>
                      <a:pt x="1019" y="168"/>
                    </a:lnTo>
                    <a:lnTo>
                      <a:pt x="1021" y="168"/>
                    </a:lnTo>
                    <a:lnTo>
                      <a:pt x="1021" y="168"/>
                    </a:lnTo>
                    <a:lnTo>
                      <a:pt x="1021" y="166"/>
                    </a:lnTo>
                    <a:lnTo>
                      <a:pt x="1023" y="166"/>
                    </a:lnTo>
                    <a:lnTo>
                      <a:pt x="1026" y="163"/>
                    </a:lnTo>
                    <a:lnTo>
                      <a:pt x="1026" y="163"/>
                    </a:lnTo>
                    <a:lnTo>
                      <a:pt x="1028" y="163"/>
                    </a:lnTo>
                    <a:lnTo>
                      <a:pt x="1028" y="163"/>
                    </a:lnTo>
                    <a:lnTo>
                      <a:pt x="1030" y="163"/>
                    </a:lnTo>
                    <a:lnTo>
                      <a:pt x="1030" y="163"/>
                    </a:lnTo>
                    <a:lnTo>
                      <a:pt x="1030" y="163"/>
                    </a:lnTo>
                    <a:lnTo>
                      <a:pt x="1033" y="166"/>
                    </a:lnTo>
                    <a:lnTo>
                      <a:pt x="1033" y="163"/>
                    </a:lnTo>
                    <a:lnTo>
                      <a:pt x="1035" y="161"/>
                    </a:lnTo>
                    <a:lnTo>
                      <a:pt x="1040" y="166"/>
                    </a:lnTo>
                    <a:lnTo>
                      <a:pt x="1037" y="163"/>
                    </a:lnTo>
                    <a:lnTo>
                      <a:pt x="1040" y="163"/>
                    </a:lnTo>
                    <a:lnTo>
                      <a:pt x="1040" y="161"/>
                    </a:lnTo>
                    <a:lnTo>
                      <a:pt x="1040" y="163"/>
                    </a:lnTo>
                    <a:lnTo>
                      <a:pt x="1044" y="163"/>
                    </a:lnTo>
                    <a:lnTo>
                      <a:pt x="1044" y="163"/>
                    </a:lnTo>
                    <a:lnTo>
                      <a:pt x="1044" y="166"/>
                    </a:lnTo>
                    <a:lnTo>
                      <a:pt x="1047" y="163"/>
                    </a:lnTo>
                    <a:lnTo>
                      <a:pt x="1047" y="163"/>
                    </a:lnTo>
                    <a:lnTo>
                      <a:pt x="1047" y="166"/>
                    </a:lnTo>
                    <a:lnTo>
                      <a:pt x="1047" y="166"/>
                    </a:lnTo>
                    <a:lnTo>
                      <a:pt x="1049" y="166"/>
                    </a:lnTo>
                    <a:lnTo>
                      <a:pt x="1049" y="168"/>
                    </a:lnTo>
                    <a:lnTo>
                      <a:pt x="1052" y="170"/>
                    </a:lnTo>
                    <a:lnTo>
                      <a:pt x="1049" y="170"/>
                    </a:lnTo>
                    <a:lnTo>
                      <a:pt x="1052" y="173"/>
                    </a:lnTo>
                    <a:lnTo>
                      <a:pt x="1052" y="173"/>
                    </a:lnTo>
                    <a:lnTo>
                      <a:pt x="1054" y="175"/>
                    </a:lnTo>
                    <a:lnTo>
                      <a:pt x="1054" y="177"/>
                    </a:lnTo>
                    <a:lnTo>
                      <a:pt x="1054" y="177"/>
                    </a:lnTo>
                    <a:lnTo>
                      <a:pt x="1056" y="177"/>
                    </a:lnTo>
                    <a:lnTo>
                      <a:pt x="1056" y="180"/>
                    </a:lnTo>
                    <a:lnTo>
                      <a:pt x="1054" y="180"/>
                    </a:lnTo>
                    <a:lnTo>
                      <a:pt x="1054" y="185"/>
                    </a:lnTo>
                    <a:lnTo>
                      <a:pt x="1054" y="185"/>
                    </a:lnTo>
                    <a:lnTo>
                      <a:pt x="1054" y="185"/>
                    </a:lnTo>
                    <a:lnTo>
                      <a:pt x="1052" y="185"/>
                    </a:lnTo>
                    <a:lnTo>
                      <a:pt x="1052" y="185"/>
                    </a:lnTo>
                    <a:lnTo>
                      <a:pt x="1052" y="187"/>
                    </a:lnTo>
                    <a:lnTo>
                      <a:pt x="1052" y="189"/>
                    </a:lnTo>
                    <a:lnTo>
                      <a:pt x="1049" y="189"/>
                    </a:lnTo>
                    <a:lnTo>
                      <a:pt x="1049" y="189"/>
                    </a:lnTo>
                    <a:lnTo>
                      <a:pt x="1049" y="192"/>
                    </a:lnTo>
                    <a:lnTo>
                      <a:pt x="1047" y="192"/>
                    </a:lnTo>
                    <a:lnTo>
                      <a:pt x="1044" y="194"/>
                    </a:lnTo>
                    <a:lnTo>
                      <a:pt x="1044" y="196"/>
                    </a:lnTo>
                    <a:lnTo>
                      <a:pt x="1044" y="199"/>
                    </a:lnTo>
                    <a:lnTo>
                      <a:pt x="1044" y="201"/>
                    </a:lnTo>
                    <a:lnTo>
                      <a:pt x="1044" y="201"/>
                    </a:lnTo>
                    <a:lnTo>
                      <a:pt x="1047" y="206"/>
                    </a:lnTo>
                    <a:lnTo>
                      <a:pt x="1047" y="206"/>
                    </a:lnTo>
                    <a:lnTo>
                      <a:pt x="1047" y="208"/>
                    </a:lnTo>
                    <a:lnTo>
                      <a:pt x="1049" y="208"/>
                    </a:lnTo>
                    <a:lnTo>
                      <a:pt x="1049" y="208"/>
                    </a:lnTo>
                    <a:lnTo>
                      <a:pt x="1052" y="206"/>
                    </a:lnTo>
                    <a:lnTo>
                      <a:pt x="1054" y="206"/>
                    </a:lnTo>
                    <a:lnTo>
                      <a:pt x="1056" y="206"/>
                    </a:lnTo>
                    <a:lnTo>
                      <a:pt x="1056" y="206"/>
                    </a:lnTo>
                    <a:lnTo>
                      <a:pt x="1056" y="203"/>
                    </a:lnTo>
                    <a:lnTo>
                      <a:pt x="1059" y="203"/>
                    </a:lnTo>
                    <a:lnTo>
                      <a:pt x="1061" y="203"/>
                    </a:lnTo>
                    <a:lnTo>
                      <a:pt x="1063" y="203"/>
                    </a:lnTo>
                    <a:lnTo>
                      <a:pt x="1063" y="203"/>
                    </a:lnTo>
                    <a:lnTo>
                      <a:pt x="1063" y="201"/>
                    </a:lnTo>
                    <a:lnTo>
                      <a:pt x="1066" y="199"/>
                    </a:lnTo>
                    <a:lnTo>
                      <a:pt x="1066" y="199"/>
                    </a:lnTo>
                    <a:lnTo>
                      <a:pt x="1066" y="196"/>
                    </a:lnTo>
                    <a:lnTo>
                      <a:pt x="1066" y="194"/>
                    </a:lnTo>
                    <a:lnTo>
                      <a:pt x="1068" y="196"/>
                    </a:lnTo>
                    <a:lnTo>
                      <a:pt x="1068" y="194"/>
                    </a:lnTo>
                    <a:lnTo>
                      <a:pt x="1068" y="194"/>
                    </a:lnTo>
                    <a:lnTo>
                      <a:pt x="1068" y="192"/>
                    </a:lnTo>
                    <a:lnTo>
                      <a:pt x="1068" y="192"/>
                    </a:lnTo>
                    <a:lnTo>
                      <a:pt x="1068" y="192"/>
                    </a:lnTo>
                    <a:lnTo>
                      <a:pt x="1066" y="187"/>
                    </a:lnTo>
                    <a:lnTo>
                      <a:pt x="1068" y="187"/>
                    </a:lnTo>
                    <a:lnTo>
                      <a:pt x="1068" y="185"/>
                    </a:lnTo>
                    <a:lnTo>
                      <a:pt x="1068" y="182"/>
                    </a:lnTo>
                    <a:lnTo>
                      <a:pt x="1070" y="182"/>
                    </a:lnTo>
                    <a:lnTo>
                      <a:pt x="1070" y="182"/>
                    </a:lnTo>
                    <a:lnTo>
                      <a:pt x="1073" y="180"/>
                    </a:lnTo>
                    <a:lnTo>
                      <a:pt x="1073" y="180"/>
                    </a:lnTo>
                    <a:lnTo>
                      <a:pt x="1075" y="177"/>
                    </a:lnTo>
                    <a:lnTo>
                      <a:pt x="1075" y="173"/>
                    </a:lnTo>
                    <a:lnTo>
                      <a:pt x="1078" y="173"/>
                    </a:lnTo>
                    <a:lnTo>
                      <a:pt x="1080" y="170"/>
                    </a:lnTo>
                    <a:lnTo>
                      <a:pt x="1082" y="170"/>
                    </a:lnTo>
                    <a:lnTo>
                      <a:pt x="1085" y="170"/>
                    </a:lnTo>
                    <a:lnTo>
                      <a:pt x="1085" y="173"/>
                    </a:lnTo>
                    <a:lnTo>
                      <a:pt x="1085" y="173"/>
                    </a:lnTo>
                    <a:lnTo>
                      <a:pt x="1085" y="173"/>
                    </a:lnTo>
                    <a:lnTo>
                      <a:pt x="1085" y="173"/>
                    </a:lnTo>
                    <a:lnTo>
                      <a:pt x="1087" y="173"/>
                    </a:lnTo>
                    <a:lnTo>
                      <a:pt x="1089" y="173"/>
                    </a:lnTo>
                    <a:lnTo>
                      <a:pt x="1092" y="173"/>
                    </a:lnTo>
                    <a:lnTo>
                      <a:pt x="1092" y="175"/>
                    </a:lnTo>
                    <a:lnTo>
                      <a:pt x="1092" y="175"/>
                    </a:lnTo>
                    <a:lnTo>
                      <a:pt x="1094" y="175"/>
                    </a:lnTo>
                    <a:lnTo>
                      <a:pt x="1094" y="173"/>
                    </a:lnTo>
                    <a:lnTo>
                      <a:pt x="1096" y="170"/>
                    </a:lnTo>
                    <a:lnTo>
                      <a:pt x="1099" y="166"/>
                    </a:lnTo>
                    <a:lnTo>
                      <a:pt x="1099" y="166"/>
                    </a:lnTo>
                    <a:lnTo>
                      <a:pt x="1099" y="163"/>
                    </a:lnTo>
                    <a:lnTo>
                      <a:pt x="1096" y="161"/>
                    </a:lnTo>
                    <a:lnTo>
                      <a:pt x="1096" y="161"/>
                    </a:lnTo>
                    <a:lnTo>
                      <a:pt x="1096" y="161"/>
                    </a:lnTo>
                    <a:lnTo>
                      <a:pt x="1099" y="159"/>
                    </a:lnTo>
                    <a:lnTo>
                      <a:pt x="1099" y="156"/>
                    </a:lnTo>
                    <a:lnTo>
                      <a:pt x="1099" y="151"/>
                    </a:lnTo>
                    <a:lnTo>
                      <a:pt x="1099" y="149"/>
                    </a:lnTo>
                    <a:lnTo>
                      <a:pt x="1099" y="147"/>
                    </a:lnTo>
                    <a:lnTo>
                      <a:pt x="1101" y="147"/>
                    </a:lnTo>
                    <a:lnTo>
                      <a:pt x="1104" y="147"/>
                    </a:lnTo>
                    <a:lnTo>
                      <a:pt x="1104" y="144"/>
                    </a:lnTo>
                    <a:lnTo>
                      <a:pt x="1106" y="142"/>
                    </a:lnTo>
                    <a:lnTo>
                      <a:pt x="1108" y="144"/>
                    </a:lnTo>
                    <a:lnTo>
                      <a:pt x="1108" y="144"/>
                    </a:lnTo>
                    <a:lnTo>
                      <a:pt x="1108" y="144"/>
                    </a:lnTo>
                    <a:lnTo>
                      <a:pt x="1111" y="144"/>
                    </a:lnTo>
                    <a:lnTo>
                      <a:pt x="1111" y="147"/>
                    </a:lnTo>
                    <a:lnTo>
                      <a:pt x="1111" y="149"/>
                    </a:lnTo>
                    <a:lnTo>
                      <a:pt x="1113" y="147"/>
                    </a:lnTo>
                    <a:lnTo>
                      <a:pt x="1115" y="149"/>
                    </a:lnTo>
                    <a:lnTo>
                      <a:pt x="1115" y="147"/>
                    </a:lnTo>
                    <a:lnTo>
                      <a:pt x="1118" y="147"/>
                    </a:lnTo>
                    <a:lnTo>
                      <a:pt x="1120" y="144"/>
                    </a:lnTo>
                    <a:lnTo>
                      <a:pt x="1122" y="140"/>
                    </a:lnTo>
                    <a:lnTo>
                      <a:pt x="1122" y="137"/>
                    </a:lnTo>
                    <a:lnTo>
                      <a:pt x="1122" y="137"/>
                    </a:lnTo>
                    <a:lnTo>
                      <a:pt x="1122" y="135"/>
                    </a:lnTo>
                    <a:lnTo>
                      <a:pt x="1122" y="133"/>
                    </a:lnTo>
                    <a:lnTo>
                      <a:pt x="1125" y="133"/>
                    </a:lnTo>
                    <a:lnTo>
                      <a:pt x="1125" y="135"/>
                    </a:lnTo>
                    <a:lnTo>
                      <a:pt x="1125" y="135"/>
                    </a:lnTo>
                    <a:lnTo>
                      <a:pt x="1127" y="135"/>
                    </a:lnTo>
                    <a:lnTo>
                      <a:pt x="1127" y="135"/>
                    </a:lnTo>
                    <a:lnTo>
                      <a:pt x="1130" y="133"/>
                    </a:lnTo>
                    <a:lnTo>
                      <a:pt x="1130" y="130"/>
                    </a:lnTo>
                    <a:lnTo>
                      <a:pt x="1130" y="130"/>
                    </a:lnTo>
                    <a:lnTo>
                      <a:pt x="1132" y="130"/>
                    </a:lnTo>
                    <a:lnTo>
                      <a:pt x="1132" y="130"/>
                    </a:lnTo>
                    <a:lnTo>
                      <a:pt x="1132" y="133"/>
                    </a:lnTo>
                    <a:lnTo>
                      <a:pt x="1134" y="133"/>
                    </a:lnTo>
                    <a:lnTo>
                      <a:pt x="1134" y="133"/>
                    </a:lnTo>
                    <a:lnTo>
                      <a:pt x="1134" y="130"/>
                    </a:lnTo>
                    <a:lnTo>
                      <a:pt x="1137" y="128"/>
                    </a:lnTo>
                    <a:lnTo>
                      <a:pt x="1137" y="128"/>
                    </a:lnTo>
                    <a:lnTo>
                      <a:pt x="1141" y="125"/>
                    </a:lnTo>
                    <a:lnTo>
                      <a:pt x="1141" y="121"/>
                    </a:lnTo>
                    <a:lnTo>
                      <a:pt x="1144" y="123"/>
                    </a:lnTo>
                    <a:lnTo>
                      <a:pt x="1146" y="125"/>
                    </a:lnTo>
                    <a:lnTo>
                      <a:pt x="1144" y="128"/>
                    </a:lnTo>
                    <a:lnTo>
                      <a:pt x="1144" y="128"/>
                    </a:lnTo>
                    <a:lnTo>
                      <a:pt x="1146" y="130"/>
                    </a:lnTo>
                    <a:lnTo>
                      <a:pt x="1148" y="133"/>
                    </a:lnTo>
                    <a:lnTo>
                      <a:pt x="1148" y="135"/>
                    </a:lnTo>
                    <a:lnTo>
                      <a:pt x="1151" y="135"/>
                    </a:lnTo>
                    <a:lnTo>
                      <a:pt x="1153" y="133"/>
                    </a:lnTo>
                    <a:lnTo>
                      <a:pt x="1153" y="130"/>
                    </a:lnTo>
                    <a:lnTo>
                      <a:pt x="1156" y="130"/>
                    </a:lnTo>
                    <a:lnTo>
                      <a:pt x="1156" y="128"/>
                    </a:lnTo>
                    <a:lnTo>
                      <a:pt x="1156" y="128"/>
                    </a:lnTo>
                    <a:lnTo>
                      <a:pt x="1156" y="125"/>
                    </a:lnTo>
                    <a:lnTo>
                      <a:pt x="1156" y="125"/>
                    </a:lnTo>
                    <a:lnTo>
                      <a:pt x="1158" y="125"/>
                    </a:lnTo>
                    <a:lnTo>
                      <a:pt x="1158" y="125"/>
                    </a:lnTo>
                    <a:lnTo>
                      <a:pt x="1160" y="125"/>
                    </a:lnTo>
                    <a:lnTo>
                      <a:pt x="1163" y="125"/>
                    </a:lnTo>
                    <a:lnTo>
                      <a:pt x="1163" y="123"/>
                    </a:lnTo>
                    <a:lnTo>
                      <a:pt x="1165" y="121"/>
                    </a:lnTo>
                    <a:lnTo>
                      <a:pt x="1165" y="121"/>
                    </a:lnTo>
                    <a:lnTo>
                      <a:pt x="1167" y="118"/>
                    </a:lnTo>
                    <a:lnTo>
                      <a:pt x="1170" y="118"/>
                    </a:lnTo>
                    <a:lnTo>
                      <a:pt x="1172" y="116"/>
                    </a:lnTo>
                    <a:lnTo>
                      <a:pt x="1172" y="116"/>
                    </a:lnTo>
                    <a:lnTo>
                      <a:pt x="1172" y="116"/>
                    </a:lnTo>
                    <a:lnTo>
                      <a:pt x="1172" y="114"/>
                    </a:lnTo>
                    <a:lnTo>
                      <a:pt x="1172" y="114"/>
                    </a:lnTo>
                    <a:lnTo>
                      <a:pt x="1174" y="109"/>
                    </a:lnTo>
                    <a:lnTo>
                      <a:pt x="1177" y="107"/>
                    </a:lnTo>
                    <a:lnTo>
                      <a:pt x="1177" y="107"/>
                    </a:lnTo>
                    <a:lnTo>
                      <a:pt x="1177" y="107"/>
                    </a:lnTo>
                    <a:lnTo>
                      <a:pt x="1179" y="107"/>
                    </a:lnTo>
                    <a:lnTo>
                      <a:pt x="1182" y="107"/>
                    </a:lnTo>
                    <a:lnTo>
                      <a:pt x="1184" y="104"/>
                    </a:lnTo>
                    <a:lnTo>
                      <a:pt x="1184" y="102"/>
                    </a:lnTo>
                    <a:lnTo>
                      <a:pt x="1186" y="99"/>
                    </a:lnTo>
                    <a:lnTo>
                      <a:pt x="1189" y="102"/>
                    </a:lnTo>
                    <a:lnTo>
                      <a:pt x="1189" y="102"/>
                    </a:lnTo>
                    <a:lnTo>
                      <a:pt x="1191" y="99"/>
                    </a:lnTo>
                    <a:lnTo>
                      <a:pt x="1191" y="99"/>
                    </a:lnTo>
                    <a:lnTo>
                      <a:pt x="1193" y="97"/>
                    </a:lnTo>
                    <a:lnTo>
                      <a:pt x="1193" y="97"/>
                    </a:lnTo>
                    <a:lnTo>
                      <a:pt x="1196" y="95"/>
                    </a:lnTo>
                    <a:lnTo>
                      <a:pt x="1196" y="95"/>
                    </a:lnTo>
                    <a:lnTo>
                      <a:pt x="1198" y="95"/>
                    </a:lnTo>
                    <a:lnTo>
                      <a:pt x="1200" y="95"/>
                    </a:lnTo>
                    <a:lnTo>
                      <a:pt x="1200" y="97"/>
                    </a:lnTo>
                    <a:lnTo>
                      <a:pt x="1200" y="99"/>
                    </a:lnTo>
                    <a:lnTo>
                      <a:pt x="1196" y="102"/>
                    </a:lnTo>
                    <a:lnTo>
                      <a:pt x="1198" y="104"/>
                    </a:lnTo>
                    <a:lnTo>
                      <a:pt x="1196" y="104"/>
                    </a:lnTo>
                    <a:lnTo>
                      <a:pt x="1196" y="109"/>
                    </a:lnTo>
                    <a:lnTo>
                      <a:pt x="1196" y="109"/>
                    </a:lnTo>
                    <a:lnTo>
                      <a:pt x="1193" y="111"/>
                    </a:lnTo>
                    <a:lnTo>
                      <a:pt x="1196" y="111"/>
                    </a:lnTo>
                    <a:lnTo>
                      <a:pt x="1196" y="111"/>
                    </a:lnTo>
                    <a:lnTo>
                      <a:pt x="1200" y="111"/>
                    </a:lnTo>
                    <a:lnTo>
                      <a:pt x="1200" y="114"/>
                    </a:lnTo>
                    <a:lnTo>
                      <a:pt x="1200" y="116"/>
                    </a:lnTo>
                    <a:lnTo>
                      <a:pt x="1203" y="116"/>
                    </a:lnTo>
                    <a:lnTo>
                      <a:pt x="1203" y="116"/>
                    </a:lnTo>
                    <a:lnTo>
                      <a:pt x="1203" y="114"/>
                    </a:lnTo>
                    <a:lnTo>
                      <a:pt x="1203" y="114"/>
                    </a:lnTo>
                    <a:lnTo>
                      <a:pt x="1203" y="111"/>
                    </a:lnTo>
                    <a:lnTo>
                      <a:pt x="1203" y="111"/>
                    </a:lnTo>
                    <a:lnTo>
                      <a:pt x="1203" y="111"/>
                    </a:lnTo>
                    <a:lnTo>
                      <a:pt x="1203" y="109"/>
                    </a:lnTo>
                    <a:lnTo>
                      <a:pt x="1203" y="109"/>
                    </a:lnTo>
                    <a:lnTo>
                      <a:pt x="1203" y="107"/>
                    </a:lnTo>
                    <a:lnTo>
                      <a:pt x="1205" y="107"/>
                    </a:lnTo>
                    <a:lnTo>
                      <a:pt x="1205" y="104"/>
                    </a:lnTo>
                    <a:lnTo>
                      <a:pt x="1205" y="104"/>
                    </a:lnTo>
                    <a:lnTo>
                      <a:pt x="1205" y="102"/>
                    </a:lnTo>
                    <a:lnTo>
                      <a:pt x="1207" y="102"/>
                    </a:lnTo>
                    <a:lnTo>
                      <a:pt x="1210" y="99"/>
                    </a:lnTo>
                    <a:lnTo>
                      <a:pt x="1210" y="99"/>
                    </a:lnTo>
                    <a:lnTo>
                      <a:pt x="1212" y="99"/>
                    </a:lnTo>
                    <a:lnTo>
                      <a:pt x="1212" y="97"/>
                    </a:lnTo>
                    <a:lnTo>
                      <a:pt x="1215" y="97"/>
                    </a:lnTo>
                    <a:lnTo>
                      <a:pt x="1215" y="97"/>
                    </a:lnTo>
                    <a:lnTo>
                      <a:pt x="1217" y="97"/>
                    </a:lnTo>
                    <a:lnTo>
                      <a:pt x="1217" y="97"/>
                    </a:lnTo>
                    <a:lnTo>
                      <a:pt x="1219" y="95"/>
                    </a:lnTo>
                    <a:lnTo>
                      <a:pt x="1222" y="92"/>
                    </a:lnTo>
                    <a:lnTo>
                      <a:pt x="1222" y="90"/>
                    </a:lnTo>
                    <a:lnTo>
                      <a:pt x="1222" y="88"/>
                    </a:lnTo>
                    <a:lnTo>
                      <a:pt x="1224" y="88"/>
                    </a:lnTo>
                    <a:lnTo>
                      <a:pt x="1224" y="88"/>
                    </a:lnTo>
                    <a:lnTo>
                      <a:pt x="1226" y="88"/>
                    </a:lnTo>
                    <a:lnTo>
                      <a:pt x="1229" y="88"/>
                    </a:lnTo>
                    <a:lnTo>
                      <a:pt x="1229" y="88"/>
                    </a:lnTo>
                    <a:lnTo>
                      <a:pt x="1231" y="88"/>
                    </a:lnTo>
                    <a:lnTo>
                      <a:pt x="1231" y="83"/>
                    </a:lnTo>
                    <a:lnTo>
                      <a:pt x="1233" y="83"/>
                    </a:lnTo>
                    <a:lnTo>
                      <a:pt x="1233" y="81"/>
                    </a:lnTo>
                    <a:lnTo>
                      <a:pt x="1236" y="78"/>
                    </a:lnTo>
                    <a:lnTo>
                      <a:pt x="1236" y="74"/>
                    </a:lnTo>
                    <a:lnTo>
                      <a:pt x="1236" y="74"/>
                    </a:lnTo>
                    <a:lnTo>
                      <a:pt x="1238" y="71"/>
                    </a:lnTo>
                    <a:lnTo>
                      <a:pt x="1236" y="71"/>
                    </a:lnTo>
                    <a:lnTo>
                      <a:pt x="1236" y="69"/>
                    </a:lnTo>
                    <a:lnTo>
                      <a:pt x="1236" y="69"/>
                    </a:lnTo>
                    <a:lnTo>
                      <a:pt x="1236" y="66"/>
                    </a:lnTo>
                    <a:lnTo>
                      <a:pt x="1236" y="64"/>
                    </a:lnTo>
                    <a:lnTo>
                      <a:pt x="1236" y="64"/>
                    </a:lnTo>
                    <a:lnTo>
                      <a:pt x="1236" y="64"/>
                    </a:lnTo>
                    <a:lnTo>
                      <a:pt x="1238" y="59"/>
                    </a:lnTo>
                    <a:lnTo>
                      <a:pt x="1238" y="57"/>
                    </a:lnTo>
                    <a:lnTo>
                      <a:pt x="1238" y="57"/>
                    </a:lnTo>
                    <a:lnTo>
                      <a:pt x="1238" y="55"/>
                    </a:lnTo>
                    <a:lnTo>
                      <a:pt x="1238" y="55"/>
                    </a:lnTo>
                    <a:lnTo>
                      <a:pt x="1238" y="52"/>
                    </a:lnTo>
                    <a:lnTo>
                      <a:pt x="1236" y="52"/>
                    </a:lnTo>
                    <a:lnTo>
                      <a:pt x="1236" y="52"/>
                    </a:lnTo>
                    <a:lnTo>
                      <a:pt x="1238" y="48"/>
                    </a:lnTo>
                    <a:lnTo>
                      <a:pt x="1238" y="45"/>
                    </a:lnTo>
                    <a:lnTo>
                      <a:pt x="1238" y="43"/>
                    </a:lnTo>
                    <a:lnTo>
                      <a:pt x="1238" y="43"/>
                    </a:lnTo>
                    <a:lnTo>
                      <a:pt x="1238" y="40"/>
                    </a:lnTo>
                    <a:lnTo>
                      <a:pt x="1241" y="40"/>
                    </a:lnTo>
                    <a:lnTo>
                      <a:pt x="1243" y="38"/>
                    </a:lnTo>
                    <a:lnTo>
                      <a:pt x="1243" y="38"/>
                    </a:lnTo>
                    <a:lnTo>
                      <a:pt x="1243" y="38"/>
                    </a:lnTo>
                    <a:lnTo>
                      <a:pt x="1245" y="36"/>
                    </a:lnTo>
                    <a:lnTo>
                      <a:pt x="1245" y="36"/>
                    </a:lnTo>
                    <a:lnTo>
                      <a:pt x="1248" y="36"/>
                    </a:lnTo>
                    <a:lnTo>
                      <a:pt x="1248" y="33"/>
                    </a:lnTo>
                    <a:lnTo>
                      <a:pt x="1250" y="33"/>
                    </a:lnTo>
                    <a:lnTo>
                      <a:pt x="1250" y="33"/>
                    </a:lnTo>
                    <a:lnTo>
                      <a:pt x="1250" y="33"/>
                    </a:lnTo>
                    <a:lnTo>
                      <a:pt x="1252" y="33"/>
                    </a:lnTo>
                    <a:lnTo>
                      <a:pt x="1255" y="36"/>
                    </a:lnTo>
                    <a:lnTo>
                      <a:pt x="1257" y="33"/>
                    </a:lnTo>
                    <a:lnTo>
                      <a:pt x="1257" y="33"/>
                    </a:lnTo>
                    <a:lnTo>
                      <a:pt x="1259" y="33"/>
                    </a:lnTo>
                    <a:lnTo>
                      <a:pt x="1259" y="36"/>
                    </a:lnTo>
                    <a:lnTo>
                      <a:pt x="1264" y="36"/>
                    </a:lnTo>
                    <a:lnTo>
                      <a:pt x="1264" y="38"/>
                    </a:lnTo>
                    <a:lnTo>
                      <a:pt x="1267" y="36"/>
                    </a:lnTo>
                    <a:lnTo>
                      <a:pt x="1267" y="33"/>
                    </a:lnTo>
                    <a:lnTo>
                      <a:pt x="1271" y="33"/>
                    </a:lnTo>
                    <a:lnTo>
                      <a:pt x="1274" y="36"/>
                    </a:lnTo>
                    <a:lnTo>
                      <a:pt x="1274" y="33"/>
                    </a:lnTo>
                    <a:lnTo>
                      <a:pt x="1274" y="33"/>
                    </a:lnTo>
                    <a:lnTo>
                      <a:pt x="1276" y="33"/>
                    </a:lnTo>
                    <a:lnTo>
                      <a:pt x="1276" y="33"/>
                    </a:lnTo>
                    <a:lnTo>
                      <a:pt x="1278" y="33"/>
                    </a:lnTo>
                    <a:lnTo>
                      <a:pt x="1278" y="31"/>
                    </a:lnTo>
                    <a:lnTo>
                      <a:pt x="1278" y="31"/>
                    </a:lnTo>
                    <a:lnTo>
                      <a:pt x="1278" y="29"/>
                    </a:lnTo>
                    <a:lnTo>
                      <a:pt x="1278" y="29"/>
                    </a:lnTo>
                    <a:lnTo>
                      <a:pt x="1283" y="26"/>
                    </a:lnTo>
                    <a:lnTo>
                      <a:pt x="1283" y="26"/>
                    </a:lnTo>
                    <a:lnTo>
                      <a:pt x="1285" y="29"/>
                    </a:lnTo>
                    <a:lnTo>
                      <a:pt x="1283" y="29"/>
                    </a:lnTo>
                    <a:lnTo>
                      <a:pt x="1285" y="29"/>
                    </a:lnTo>
                    <a:lnTo>
                      <a:pt x="1288" y="31"/>
                    </a:lnTo>
                    <a:lnTo>
                      <a:pt x="1288" y="29"/>
                    </a:lnTo>
                    <a:lnTo>
                      <a:pt x="1288" y="29"/>
                    </a:lnTo>
                    <a:lnTo>
                      <a:pt x="1288" y="24"/>
                    </a:lnTo>
                    <a:lnTo>
                      <a:pt x="1288" y="24"/>
                    </a:lnTo>
                    <a:lnTo>
                      <a:pt x="1288" y="24"/>
                    </a:lnTo>
                    <a:lnTo>
                      <a:pt x="1290" y="24"/>
                    </a:lnTo>
                    <a:lnTo>
                      <a:pt x="1290" y="24"/>
                    </a:lnTo>
                    <a:lnTo>
                      <a:pt x="1293" y="22"/>
                    </a:lnTo>
                    <a:lnTo>
                      <a:pt x="1293" y="22"/>
                    </a:lnTo>
                    <a:lnTo>
                      <a:pt x="1293" y="19"/>
                    </a:lnTo>
                    <a:lnTo>
                      <a:pt x="1293" y="19"/>
                    </a:lnTo>
                    <a:lnTo>
                      <a:pt x="1295" y="19"/>
                    </a:lnTo>
                    <a:lnTo>
                      <a:pt x="1297" y="17"/>
                    </a:lnTo>
                    <a:lnTo>
                      <a:pt x="1297" y="17"/>
                    </a:lnTo>
                    <a:lnTo>
                      <a:pt x="1300" y="17"/>
                    </a:lnTo>
                    <a:lnTo>
                      <a:pt x="1302" y="14"/>
                    </a:lnTo>
                    <a:lnTo>
                      <a:pt x="1304" y="14"/>
                    </a:lnTo>
                    <a:lnTo>
                      <a:pt x="1307" y="17"/>
                    </a:lnTo>
                    <a:lnTo>
                      <a:pt x="1307" y="17"/>
                    </a:lnTo>
                    <a:lnTo>
                      <a:pt x="1309" y="17"/>
                    </a:lnTo>
                    <a:lnTo>
                      <a:pt x="1311" y="17"/>
                    </a:lnTo>
                    <a:lnTo>
                      <a:pt x="1311" y="14"/>
                    </a:lnTo>
                    <a:lnTo>
                      <a:pt x="1314" y="14"/>
                    </a:lnTo>
                    <a:lnTo>
                      <a:pt x="1316" y="17"/>
                    </a:lnTo>
                    <a:lnTo>
                      <a:pt x="1316" y="17"/>
                    </a:lnTo>
                    <a:lnTo>
                      <a:pt x="1316" y="14"/>
                    </a:lnTo>
                    <a:lnTo>
                      <a:pt x="1319" y="14"/>
                    </a:lnTo>
                    <a:lnTo>
                      <a:pt x="1321" y="14"/>
                    </a:lnTo>
                    <a:lnTo>
                      <a:pt x="1321" y="14"/>
                    </a:lnTo>
                    <a:lnTo>
                      <a:pt x="1321" y="12"/>
                    </a:lnTo>
                    <a:lnTo>
                      <a:pt x="1321" y="10"/>
                    </a:lnTo>
                    <a:lnTo>
                      <a:pt x="1323" y="7"/>
                    </a:lnTo>
                    <a:lnTo>
                      <a:pt x="1321" y="7"/>
                    </a:lnTo>
                    <a:lnTo>
                      <a:pt x="1321" y="7"/>
                    </a:lnTo>
                    <a:lnTo>
                      <a:pt x="1326" y="5"/>
                    </a:lnTo>
                    <a:lnTo>
                      <a:pt x="1326" y="7"/>
                    </a:lnTo>
                    <a:lnTo>
                      <a:pt x="1333" y="10"/>
                    </a:lnTo>
                    <a:lnTo>
                      <a:pt x="1337" y="12"/>
                    </a:lnTo>
                    <a:lnTo>
                      <a:pt x="1340" y="12"/>
                    </a:lnTo>
                    <a:lnTo>
                      <a:pt x="1347" y="10"/>
                    </a:lnTo>
                    <a:lnTo>
                      <a:pt x="1352" y="10"/>
                    </a:lnTo>
                    <a:lnTo>
                      <a:pt x="1352" y="10"/>
                    </a:lnTo>
                    <a:lnTo>
                      <a:pt x="1354" y="10"/>
                    </a:lnTo>
                    <a:lnTo>
                      <a:pt x="1354" y="12"/>
                    </a:lnTo>
                    <a:lnTo>
                      <a:pt x="1354" y="14"/>
                    </a:lnTo>
                    <a:lnTo>
                      <a:pt x="1356" y="17"/>
                    </a:lnTo>
                    <a:lnTo>
                      <a:pt x="1356" y="19"/>
                    </a:lnTo>
                    <a:lnTo>
                      <a:pt x="1359" y="22"/>
                    </a:lnTo>
                    <a:lnTo>
                      <a:pt x="1361" y="24"/>
                    </a:lnTo>
                    <a:lnTo>
                      <a:pt x="1363" y="26"/>
                    </a:lnTo>
                    <a:lnTo>
                      <a:pt x="1368" y="31"/>
                    </a:lnTo>
                    <a:lnTo>
                      <a:pt x="1375" y="29"/>
                    </a:lnTo>
                    <a:lnTo>
                      <a:pt x="1378" y="29"/>
                    </a:lnTo>
                    <a:lnTo>
                      <a:pt x="1382" y="29"/>
                    </a:lnTo>
                    <a:lnTo>
                      <a:pt x="1392" y="31"/>
                    </a:lnTo>
                    <a:lnTo>
                      <a:pt x="1394" y="31"/>
                    </a:lnTo>
                    <a:lnTo>
                      <a:pt x="1396" y="33"/>
                    </a:lnTo>
                    <a:lnTo>
                      <a:pt x="1396" y="33"/>
                    </a:lnTo>
                    <a:lnTo>
                      <a:pt x="1404" y="36"/>
                    </a:lnTo>
                    <a:lnTo>
                      <a:pt x="1406" y="38"/>
                    </a:lnTo>
                    <a:lnTo>
                      <a:pt x="1408" y="38"/>
                    </a:lnTo>
                    <a:lnTo>
                      <a:pt x="1411" y="40"/>
                    </a:lnTo>
                    <a:lnTo>
                      <a:pt x="1411" y="45"/>
                    </a:lnTo>
                    <a:lnTo>
                      <a:pt x="1411" y="48"/>
                    </a:lnTo>
                    <a:lnTo>
                      <a:pt x="1406" y="57"/>
                    </a:lnTo>
                    <a:lnTo>
                      <a:pt x="1406" y="71"/>
                    </a:lnTo>
                    <a:lnTo>
                      <a:pt x="1406" y="71"/>
                    </a:lnTo>
                    <a:lnTo>
                      <a:pt x="1404" y="74"/>
                    </a:lnTo>
                    <a:lnTo>
                      <a:pt x="1401" y="76"/>
                    </a:lnTo>
                    <a:lnTo>
                      <a:pt x="1401" y="78"/>
                    </a:lnTo>
                    <a:lnTo>
                      <a:pt x="1396" y="81"/>
                    </a:lnTo>
                    <a:lnTo>
                      <a:pt x="1396" y="83"/>
                    </a:lnTo>
                    <a:lnTo>
                      <a:pt x="1396" y="85"/>
                    </a:lnTo>
                    <a:lnTo>
                      <a:pt x="1396" y="88"/>
                    </a:lnTo>
                    <a:lnTo>
                      <a:pt x="1399" y="88"/>
                    </a:lnTo>
                    <a:lnTo>
                      <a:pt x="1404" y="92"/>
                    </a:lnTo>
                    <a:lnTo>
                      <a:pt x="1404" y="92"/>
                    </a:lnTo>
                    <a:lnTo>
                      <a:pt x="1406" y="95"/>
                    </a:lnTo>
                    <a:lnTo>
                      <a:pt x="1406" y="97"/>
                    </a:lnTo>
                    <a:lnTo>
                      <a:pt x="1408" y="99"/>
                    </a:lnTo>
                    <a:lnTo>
                      <a:pt x="1411" y="102"/>
                    </a:lnTo>
                    <a:lnTo>
                      <a:pt x="1413" y="104"/>
                    </a:lnTo>
                    <a:lnTo>
                      <a:pt x="1415" y="107"/>
                    </a:lnTo>
                    <a:lnTo>
                      <a:pt x="1418" y="107"/>
                    </a:lnTo>
                    <a:lnTo>
                      <a:pt x="1418" y="107"/>
                    </a:lnTo>
                    <a:lnTo>
                      <a:pt x="1420" y="111"/>
                    </a:lnTo>
                    <a:lnTo>
                      <a:pt x="1420" y="111"/>
                    </a:lnTo>
                    <a:lnTo>
                      <a:pt x="1420" y="114"/>
                    </a:lnTo>
                    <a:lnTo>
                      <a:pt x="1420" y="116"/>
                    </a:lnTo>
                    <a:lnTo>
                      <a:pt x="1422" y="116"/>
                    </a:lnTo>
                    <a:lnTo>
                      <a:pt x="1425" y="130"/>
                    </a:lnTo>
                    <a:lnTo>
                      <a:pt x="1430" y="140"/>
                    </a:lnTo>
                    <a:lnTo>
                      <a:pt x="1430" y="147"/>
                    </a:lnTo>
                    <a:lnTo>
                      <a:pt x="1432" y="151"/>
                    </a:lnTo>
                    <a:lnTo>
                      <a:pt x="1432" y="151"/>
                    </a:lnTo>
                    <a:lnTo>
                      <a:pt x="1437" y="151"/>
                    </a:lnTo>
                    <a:lnTo>
                      <a:pt x="1439" y="151"/>
                    </a:lnTo>
                    <a:lnTo>
                      <a:pt x="1439" y="151"/>
                    </a:lnTo>
                    <a:lnTo>
                      <a:pt x="1439" y="154"/>
                    </a:lnTo>
                    <a:lnTo>
                      <a:pt x="1439" y="156"/>
                    </a:lnTo>
                    <a:lnTo>
                      <a:pt x="1439" y="156"/>
                    </a:lnTo>
                    <a:lnTo>
                      <a:pt x="1439" y="159"/>
                    </a:lnTo>
                    <a:lnTo>
                      <a:pt x="1439" y="161"/>
                    </a:lnTo>
                    <a:lnTo>
                      <a:pt x="1439" y="161"/>
                    </a:lnTo>
                    <a:lnTo>
                      <a:pt x="1441" y="163"/>
                    </a:lnTo>
                    <a:lnTo>
                      <a:pt x="1441" y="166"/>
                    </a:lnTo>
                    <a:lnTo>
                      <a:pt x="1441" y="168"/>
                    </a:lnTo>
                    <a:lnTo>
                      <a:pt x="1441" y="173"/>
                    </a:lnTo>
                    <a:lnTo>
                      <a:pt x="1439" y="175"/>
                    </a:lnTo>
                    <a:lnTo>
                      <a:pt x="1437" y="180"/>
                    </a:lnTo>
                    <a:lnTo>
                      <a:pt x="1439" y="185"/>
                    </a:lnTo>
                    <a:lnTo>
                      <a:pt x="1439" y="185"/>
                    </a:lnTo>
                    <a:lnTo>
                      <a:pt x="1441" y="187"/>
                    </a:lnTo>
                    <a:lnTo>
                      <a:pt x="1441" y="192"/>
                    </a:lnTo>
                    <a:lnTo>
                      <a:pt x="1439" y="192"/>
                    </a:lnTo>
                    <a:lnTo>
                      <a:pt x="1434" y="196"/>
                    </a:lnTo>
                    <a:lnTo>
                      <a:pt x="1432" y="201"/>
                    </a:lnTo>
                    <a:lnTo>
                      <a:pt x="1432" y="203"/>
                    </a:lnTo>
                    <a:lnTo>
                      <a:pt x="1430" y="206"/>
                    </a:lnTo>
                    <a:lnTo>
                      <a:pt x="1432" y="218"/>
                    </a:lnTo>
                    <a:lnTo>
                      <a:pt x="1432" y="222"/>
                    </a:lnTo>
                    <a:lnTo>
                      <a:pt x="1432" y="227"/>
                    </a:lnTo>
                    <a:lnTo>
                      <a:pt x="1432" y="229"/>
                    </a:lnTo>
                    <a:lnTo>
                      <a:pt x="1432" y="236"/>
                    </a:lnTo>
                    <a:lnTo>
                      <a:pt x="1434" y="236"/>
                    </a:lnTo>
                    <a:lnTo>
                      <a:pt x="1437" y="234"/>
                    </a:lnTo>
                    <a:lnTo>
                      <a:pt x="1439" y="239"/>
                    </a:lnTo>
                    <a:lnTo>
                      <a:pt x="1441" y="239"/>
                    </a:lnTo>
                    <a:lnTo>
                      <a:pt x="1441" y="244"/>
                    </a:lnTo>
                    <a:lnTo>
                      <a:pt x="1441" y="244"/>
                    </a:lnTo>
                    <a:lnTo>
                      <a:pt x="1441" y="246"/>
                    </a:lnTo>
                    <a:lnTo>
                      <a:pt x="1441" y="246"/>
                    </a:lnTo>
                    <a:lnTo>
                      <a:pt x="1441" y="248"/>
                    </a:lnTo>
                    <a:lnTo>
                      <a:pt x="1439" y="251"/>
                    </a:lnTo>
                    <a:lnTo>
                      <a:pt x="1441" y="253"/>
                    </a:lnTo>
                    <a:lnTo>
                      <a:pt x="1439" y="258"/>
                    </a:lnTo>
                    <a:lnTo>
                      <a:pt x="1441" y="262"/>
                    </a:lnTo>
                    <a:lnTo>
                      <a:pt x="1441" y="267"/>
                    </a:lnTo>
                    <a:lnTo>
                      <a:pt x="1444" y="267"/>
                    </a:lnTo>
                    <a:lnTo>
                      <a:pt x="1444" y="272"/>
                    </a:lnTo>
                    <a:lnTo>
                      <a:pt x="1444" y="274"/>
                    </a:lnTo>
                    <a:lnTo>
                      <a:pt x="1444" y="279"/>
                    </a:lnTo>
                    <a:lnTo>
                      <a:pt x="1444" y="281"/>
                    </a:lnTo>
                    <a:lnTo>
                      <a:pt x="1446" y="284"/>
                    </a:lnTo>
                    <a:lnTo>
                      <a:pt x="1448" y="286"/>
                    </a:lnTo>
                    <a:lnTo>
                      <a:pt x="1451" y="286"/>
                    </a:lnTo>
                    <a:lnTo>
                      <a:pt x="1453" y="288"/>
                    </a:lnTo>
                    <a:lnTo>
                      <a:pt x="1456" y="291"/>
                    </a:lnTo>
                    <a:lnTo>
                      <a:pt x="1458" y="298"/>
                    </a:lnTo>
                    <a:lnTo>
                      <a:pt x="1458" y="298"/>
                    </a:lnTo>
                    <a:lnTo>
                      <a:pt x="1458" y="300"/>
                    </a:lnTo>
                    <a:lnTo>
                      <a:pt x="1458" y="303"/>
                    </a:lnTo>
                    <a:lnTo>
                      <a:pt x="1458" y="303"/>
                    </a:lnTo>
                    <a:lnTo>
                      <a:pt x="1458" y="303"/>
                    </a:lnTo>
                    <a:lnTo>
                      <a:pt x="1458" y="303"/>
                    </a:lnTo>
                    <a:lnTo>
                      <a:pt x="1458" y="305"/>
                    </a:lnTo>
                    <a:lnTo>
                      <a:pt x="1458" y="307"/>
                    </a:lnTo>
                    <a:lnTo>
                      <a:pt x="1460" y="310"/>
                    </a:lnTo>
                    <a:lnTo>
                      <a:pt x="1463" y="312"/>
                    </a:lnTo>
                    <a:lnTo>
                      <a:pt x="1463" y="314"/>
                    </a:lnTo>
                    <a:lnTo>
                      <a:pt x="1465" y="314"/>
                    </a:lnTo>
                    <a:lnTo>
                      <a:pt x="1467" y="314"/>
                    </a:lnTo>
                    <a:lnTo>
                      <a:pt x="1467" y="317"/>
                    </a:lnTo>
                    <a:lnTo>
                      <a:pt x="1467" y="317"/>
                    </a:lnTo>
                    <a:lnTo>
                      <a:pt x="1467" y="319"/>
                    </a:lnTo>
                    <a:lnTo>
                      <a:pt x="1467" y="322"/>
                    </a:lnTo>
                    <a:lnTo>
                      <a:pt x="1467" y="322"/>
                    </a:lnTo>
                    <a:lnTo>
                      <a:pt x="1467" y="326"/>
                    </a:lnTo>
                    <a:lnTo>
                      <a:pt x="1467" y="326"/>
                    </a:lnTo>
                    <a:lnTo>
                      <a:pt x="1470" y="326"/>
                    </a:lnTo>
                    <a:lnTo>
                      <a:pt x="1467" y="329"/>
                    </a:lnTo>
                    <a:lnTo>
                      <a:pt x="1467" y="329"/>
                    </a:lnTo>
                    <a:lnTo>
                      <a:pt x="1467" y="331"/>
                    </a:lnTo>
                    <a:lnTo>
                      <a:pt x="1467" y="333"/>
                    </a:lnTo>
                    <a:lnTo>
                      <a:pt x="1467" y="333"/>
                    </a:lnTo>
                    <a:lnTo>
                      <a:pt x="1467" y="336"/>
                    </a:lnTo>
                    <a:lnTo>
                      <a:pt x="1470" y="336"/>
                    </a:lnTo>
                    <a:lnTo>
                      <a:pt x="1470" y="336"/>
                    </a:lnTo>
                    <a:lnTo>
                      <a:pt x="1470" y="336"/>
                    </a:lnTo>
                    <a:lnTo>
                      <a:pt x="1474" y="338"/>
                    </a:lnTo>
                    <a:lnTo>
                      <a:pt x="1474" y="338"/>
                    </a:lnTo>
                    <a:lnTo>
                      <a:pt x="1474" y="340"/>
                    </a:lnTo>
                    <a:lnTo>
                      <a:pt x="1472" y="343"/>
                    </a:lnTo>
                    <a:lnTo>
                      <a:pt x="1472" y="343"/>
                    </a:lnTo>
                    <a:lnTo>
                      <a:pt x="1472" y="345"/>
                    </a:lnTo>
                    <a:lnTo>
                      <a:pt x="1472" y="348"/>
                    </a:lnTo>
                    <a:lnTo>
                      <a:pt x="1472" y="348"/>
                    </a:lnTo>
                    <a:lnTo>
                      <a:pt x="1470" y="348"/>
                    </a:lnTo>
                    <a:lnTo>
                      <a:pt x="1470" y="350"/>
                    </a:lnTo>
                    <a:lnTo>
                      <a:pt x="1467" y="350"/>
                    </a:lnTo>
                    <a:lnTo>
                      <a:pt x="1467" y="352"/>
                    </a:lnTo>
                    <a:lnTo>
                      <a:pt x="1463" y="355"/>
                    </a:lnTo>
                    <a:lnTo>
                      <a:pt x="1463" y="355"/>
                    </a:lnTo>
                    <a:lnTo>
                      <a:pt x="1465" y="355"/>
                    </a:lnTo>
                    <a:lnTo>
                      <a:pt x="1463" y="357"/>
                    </a:lnTo>
                    <a:lnTo>
                      <a:pt x="1463" y="357"/>
                    </a:lnTo>
                    <a:lnTo>
                      <a:pt x="1463" y="357"/>
                    </a:lnTo>
                    <a:lnTo>
                      <a:pt x="1463" y="359"/>
                    </a:lnTo>
                    <a:lnTo>
                      <a:pt x="1460" y="359"/>
                    </a:lnTo>
                    <a:lnTo>
                      <a:pt x="1460" y="359"/>
                    </a:lnTo>
                    <a:lnTo>
                      <a:pt x="1460" y="362"/>
                    </a:lnTo>
                    <a:lnTo>
                      <a:pt x="1460" y="364"/>
                    </a:lnTo>
                    <a:lnTo>
                      <a:pt x="1460" y="364"/>
                    </a:lnTo>
                    <a:lnTo>
                      <a:pt x="1460" y="366"/>
                    </a:lnTo>
                    <a:lnTo>
                      <a:pt x="1458" y="366"/>
                    </a:lnTo>
                    <a:lnTo>
                      <a:pt x="1460" y="369"/>
                    </a:lnTo>
                    <a:lnTo>
                      <a:pt x="1460" y="369"/>
                    </a:lnTo>
                    <a:lnTo>
                      <a:pt x="1460" y="371"/>
                    </a:lnTo>
                    <a:lnTo>
                      <a:pt x="1463" y="373"/>
                    </a:lnTo>
                    <a:lnTo>
                      <a:pt x="1463" y="373"/>
                    </a:lnTo>
                    <a:lnTo>
                      <a:pt x="1460" y="373"/>
                    </a:lnTo>
                    <a:lnTo>
                      <a:pt x="1460" y="376"/>
                    </a:lnTo>
                    <a:lnTo>
                      <a:pt x="1460" y="376"/>
                    </a:lnTo>
                    <a:lnTo>
                      <a:pt x="1463" y="378"/>
                    </a:lnTo>
                    <a:lnTo>
                      <a:pt x="1463" y="378"/>
                    </a:lnTo>
                    <a:lnTo>
                      <a:pt x="1460" y="378"/>
                    </a:lnTo>
                    <a:lnTo>
                      <a:pt x="1460" y="378"/>
                    </a:lnTo>
                    <a:lnTo>
                      <a:pt x="1460" y="381"/>
                    </a:lnTo>
                    <a:lnTo>
                      <a:pt x="1458" y="381"/>
                    </a:lnTo>
                    <a:lnTo>
                      <a:pt x="1458" y="381"/>
                    </a:lnTo>
                    <a:lnTo>
                      <a:pt x="1458" y="381"/>
                    </a:lnTo>
                    <a:lnTo>
                      <a:pt x="1458" y="383"/>
                    </a:lnTo>
                    <a:lnTo>
                      <a:pt x="1456" y="383"/>
                    </a:lnTo>
                    <a:lnTo>
                      <a:pt x="1453" y="383"/>
                    </a:lnTo>
                    <a:lnTo>
                      <a:pt x="1453" y="383"/>
                    </a:lnTo>
                    <a:lnTo>
                      <a:pt x="1451" y="383"/>
                    </a:lnTo>
                    <a:lnTo>
                      <a:pt x="1451" y="383"/>
                    </a:lnTo>
                    <a:lnTo>
                      <a:pt x="1451" y="385"/>
                    </a:lnTo>
                    <a:lnTo>
                      <a:pt x="1453" y="385"/>
                    </a:lnTo>
                    <a:lnTo>
                      <a:pt x="1453" y="385"/>
                    </a:lnTo>
                    <a:lnTo>
                      <a:pt x="1453" y="388"/>
                    </a:lnTo>
                    <a:lnTo>
                      <a:pt x="1451" y="385"/>
                    </a:lnTo>
                    <a:lnTo>
                      <a:pt x="1448" y="388"/>
                    </a:lnTo>
                    <a:lnTo>
                      <a:pt x="1448" y="388"/>
                    </a:lnTo>
                    <a:lnTo>
                      <a:pt x="1448" y="388"/>
                    </a:lnTo>
                    <a:lnTo>
                      <a:pt x="1446" y="388"/>
                    </a:lnTo>
                    <a:lnTo>
                      <a:pt x="1446" y="385"/>
                    </a:lnTo>
                    <a:lnTo>
                      <a:pt x="1444" y="385"/>
                    </a:lnTo>
                    <a:lnTo>
                      <a:pt x="1444" y="385"/>
                    </a:lnTo>
                    <a:lnTo>
                      <a:pt x="1441" y="385"/>
                    </a:lnTo>
                    <a:lnTo>
                      <a:pt x="1439" y="383"/>
                    </a:lnTo>
                    <a:lnTo>
                      <a:pt x="1439" y="385"/>
                    </a:lnTo>
                    <a:lnTo>
                      <a:pt x="1437" y="383"/>
                    </a:lnTo>
                    <a:lnTo>
                      <a:pt x="1437" y="383"/>
                    </a:lnTo>
                    <a:lnTo>
                      <a:pt x="1437" y="385"/>
                    </a:lnTo>
                    <a:lnTo>
                      <a:pt x="1434" y="388"/>
                    </a:lnTo>
                    <a:lnTo>
                      <a:pt x="1434" y="390"/>
                    </a:lnTo>
                    <a:lnTo>
                      <a:pt x="1434" y="390"/>
                    </a:lnTo>
                    <a:lnTo>
                      <a:pt x="1437" y="392"/>
                    </a:lnTo>
                    <a:lnTo>
                      <a:pt x="1434" y="392"/>
                    </a:lnTo>
                    <a:lnTo>
                      <a:pt x="1434" y="395"/>
                    </a:lnTo>
                    <a:lnTo>
                      <a:pt x="1434" y="397"/>
                    </a:lnTo>
                    <a:lnTo>
                      <a:pt x="1439" y="397"/>
                    </a:lnTo>
                    <a:lnTo>
                      <a:pt x="1439" y="397"/>
                    </a:lnTo>
                    <a:lnTo>
                      <a:pt x="1441" y="399"/>
                    </a:lnTo>
                    <a:lnTo>
                      <a:pt x="1441" y="399"/>
                    </a:lnTo>
                    <a:lnTo>
                      <a:pt x="1441" y="399"/>
                    </a:lnTo>
                    <a:lnTo>
                      <a:pt x="1441" y="399"/>
                    </a:lnTo>
                    <a:lnTo>
                      <a:pt x="1444" y="399"/>
                    </a:lnTo>
                    <a:lnTo>
                      <a:pt x="1444" y="399"/>
                    </a:lnTo>
                    <a:lnTo>
                      <a:pt x="1448" y="402"/>
                    </a:lnTo>
                    <a:lnTo>
                      <a:pt x="1448" y="402"/>
                    </a:lnTo>
                    <a:lnTo>
                      <a:pt x="1451" y="404"/>
                    </a:lnTo>
                    <a:lnTo>
                      <a:pt x="1451" y="404"/>
                    </a:lnTo>
                    <a:lnTo>
                      <a:pt x="1451" y="404"/>
                    </a:lnTo>
                    <a:lnTo>
                      <a:pt x="1451" y="407"/>
                    </a:lnTo>
                    <a:lnTo>
                      <a:pt x="1451" y="407"/>
                    </a:lnTo>
                    <a:lnTo>
                      <a:pt x="1453" y="407"/>
                    </a:lnTo>
                    <a:lnTo>
                      <a:pt x="1453" y="409"/>
                    </a:lnTo>
                    <a:lnTo>
                      <a:pt x="1453" y="409"/>
                    </a:lnTo>
                    <a:lnTo>
                      <a:pt x="1456" y="411"/>
                    </a:lnTo>
                    <a:lnTo>
                      <a:pt x="1458" y="414"/>
                    </a:lnTo>
                    <a:lnTo>
                      <a:pt x="1458" y="414"/>
                    </a:lnTo>
                    <a:lnTo>
                      <a:pt x="1460" y="416"/>
                    </a:lnTo>
                    <a:lnTo>
                      <a:pt x="1460" y="418"/>
                    </a:lnTo>
                    <a:lnTo>
                      <a:pt x="1460" y="418"/>
                    </a:lnTo>
                    <a:lnTo>
                      <a:pt x="1463" y="418"/>
                    </a:lnTo>
                    <a:lnTo>
                      <a:pt x="1465" y="418"/>
                    </a:lnTo>
                    <a:lnTo>
                      <a:pt x="1467" y="421"/>
                    </a:lnTo>
                    <a:lnTo>
                      <a:pt x="1470" y="421"/>
                    </a:lnTo>
                    <a:lnTo>
                      <a:pt x="1472" y="423"/>
                    </a:lnTo>
                    <a:lnTo>
                      <a:pt x="1472" y="423"/>
                    </a:lnTo>
                    <a:lnTo>
                      <a:pt x="1472" y="425"/>
                    </a:lnTo>
                    <a:lnTo>
                      <a:pt x="1477" y="425"/>
                    </a:lnTo>
                    <a:lnTo>
                      <a:pt x="1477" y="428"/>
                    </a:lnTo>
                    <a:lnTo>
                      <a:pt x="1479" y="428"/>
                    </a:lnTo>
                    <a:lnTo>
                      <a:pt x="1479" y="428"/>
                    </a:lnTo>
                    <a:lnTo>
                      <a:pt x="1482" y="430"/>
                    </a:lnTo>
                    <a:lnTo>
                      <a:pt x="1482" y="430"/>
                    </a:lnTo>
                    <a:lnTo>
                      <a:pt x="1484" y="433"/>
                    </a:lnTo>
                    <a:lnTo>
                      <a:pt x="1484" y="435"/>
                    </a:lnTo>
                    <a:lnTo>
                      <a:pt x="1484" y="435"/>
                    </a:lnTo>
                    <a:lnTo>
                      <a:pt x="1486" y="437"/>
                    </a:lnTo>
                    <a:lnTo>
                      <a:pt x="1486" y="437"/>
                    </a:lnTo>
                    <a:lnTo>
                      <a:pt x="1489" y="437"/>
                    </a:lnTo>
                    <a:lnTo>
                      <a:pt x="1489" y="437"/>
                    </a:lnTo>
                    <a:lnTo>
                      <a:pt x="1491" y="437"/>
                    </a:lnTo>
                    <a:lnTo>
                      <a:pt x="1493" y="440"/>
                    </a:lnTo>
                    <a:lnTo>
                      <a:pt x="1496" y="442"/>
                    </a:lnTo>
                    <a:lnTo>
                      <a:pt x="1498" y="444"/>
                    </a:lnTo>
                    <a:lnTo>
                      <a:pt x="1500" y="451"/>
                    </a:lnTo>
                    <a:lnTo>
                      <a:pt x="1500" y="454"/>
                    </a:lnTo>
                    <a:lnTo>
                      <a:pt x="1503" y="456"/>
                    </a:lnTo>
                    <a:lnTo>
                      <a:pt x="1505" y="459"/>
                    </a:lnTo>
                    <a:lnTo>
                      <a:pt x="1505" y="463"/>
                    </a:lnTo>
                    <a:lnTo>
                      <a:pt x="1507" y="468"/>
                    </a:lnTo>
                    <a:lnTo>
                      <a:pt x="1510" y="470"/>
                    </a:lnTo>
                    <a:lnTo>
                      <a:pt x="1512" y="475"/>
                    </a:lnTo>
                    <a:lnTo>
                      <a:pt x="1512" y="477"/>
                    </a:lnTo>
                    <a:lnTo>
                      <a:pt x="1515" y="477"/>
                    </a:lnTo>
                    <a:lnTo>
                      <a:pt x="1519" y="477"/>
                    </a:lnTo>
                    <a:lnTo>
                      <a:pt x="1522" y="477"/>
                    </a:lnTo>
                    <a:lnTo>
                      <a:pt x="1522" y="477"/>
                    </a:lnTo>
                    <a:lnTo>
                      <a:pt x="1524" y="475"/>
                    </a:lnTo>
                    <a:lnTo>
                      <a:pt x="1526" y="475"/>
                    </a:lnTo>
                    <a:lnTo>
                      <a:pt x="1529" y="475"/>
                    </a:lnTo>
                    <a:lnTo>
                      <a:pt x="1531" y="475"/>
                    </a:lnTo>
                    <a:lnTo>
                      <a:pt x="1533" y="477"/>
                    </a:lnTo>
                    <a:lnTo>
                      <a:pt x="1543" y="480"/>
                    </a:lnTo>
                    <a:lnTo>
                      <a:pt x="1545" y="482"/>
                    </a:lnTo>
                    <a:lnTo>
                      <a:pt x="1550" y="485"/>
                    </a:lnTo>
                    <a:lnTo>
                      <a:pt x="1552" y="487"/>
                    </a:lnTo>
                    <a:lnTo>
                      <a:pt x="1555" y="489"/>
                    </a:lnTo>
                    <a:lnTo>
                      <a:pt x="1557" y="494"/>
                    </a:lnTo>
                    <a:lnTo>
                      <a:pt x="1564" y="501"/>
                    </a:lnTo>
                    <a:lnTo>
                      <a:pt x="1564" y="501"/>
                    </a:lnTo>
                    <a:lnTo>
                      <a:pt x="1564" y="501"/>
                    </a:lnTo>
                    <a:lnTo>
                      <a:pt x="1564" y="496"/>
                    </a:lnTo>
                    <a:lnTo>
                      <a:pt x="1567" y="496"/>
                    </a:lnTo>
                    <a:lnTo>
                      <a:pt x="1567" y="494"/>
                    </a:lnTo>
                    <a:lnTo>
                      <a:pt x="1564" y="494"/>
                    </a:lnTo>
                    <a:lnTo>
                      <a:pt x="1564" y="492"/>
                    </a:lnTo>
                    <a:lnTo>
                      <a:pt x="1559" y="489"/>
                    </a:lnTo>
                    <a:lnTo>
                      <a:pt x="1557" y="485"/>
                    </a:lnTo>
                    <a:lnTo>
                      <a:pt x="1557" y="482"/>
                    </a:lnTo>
                    <a:lnTo>
                      <a:pt x="1557" y="482"/>
                    </a:lnTo>
                    <a:lnTo>
                      <a:pt x="1555" y="480"/>
                    </a:lnTo>
                    <a:lnTo>
                      <a:pt x="1552" y="480"/>
                    </a:lnTo>
                    <a:lnTo>
                      <a:pt x="1552" y="477"/>
                    </a:lnTo>
                    <a:lnTo>
                      <a:pt x="1548" y="477"/>
                    </a:lnTo>
                    <a:lnTo>
                      <a:pt x="1548" y="477"/>
                    </a:lnTo>
                    <a:lnTo>
                      <a:pt x="1548" y="477"/>
                    </a:lnTo>
                    <a:lnTo>
                      <a:pt x="1550" y="473"/>
                    </a:lnTo>
                    <a:lnTo>
                      <a:pt x="1550" y="473"/>
                    </a:lnTo>
                    <a:lnTo>
                      <a:pt x="1552" y="470"/>
                    </a:lnTo>
                    <a:lnTo>
                      <a:pt x="1552" y="468"/>
                    </a:lnTo>
                    <a:lnTo>
                      <a:pt x="1548" y="466"/>
                    </a:lnTo>
                    <a:lnTo>
                      <a:pt x="1545" y="466"/>
                    </a:lnTo>
                    <a:lnTo>
                      <a:pt x="1545" y="463"/>
                    </a:lnTo>
                    <a:lnTo>
                      <a:pt x="1548" y="461"/>
                    </a:lnTo>
                    <a:lnTo>
                      <a:pt x="1550" y="456"/>
                    </a:lnTo>
                    <a:lnTo>
                      <a:pt x="1550" y="454"/>
                    </a:lnTo>
                    <a:lnTo>
                      <a:pt x="1550" y="451"/>
                    </a:lnTo>
                    <a:lnTo>
                      <a:pt x="1552" y="449"/>
                    </a:lnTo>
                    <a:lnTo>
                      <a:pt x="1552" y="449"/>
                    </a:lnTo>
                    <a:lnTo>
                      <a:pt x="1552" y="447"/>
                    </a:lnTo>
                    <a:lnTo>
                      <a:pt x="1552" y="444"/>
                    </a:lnTo>
                    <a:lnTo>
                      <a:pt x="1552" y="442"/>
                    </a:lnTo>
                    <a:lnTo>
                      <a:pt x="1555" y="442"/>
                    </a:lnTo>
                    <a:lnTo>
                      <a:pt x="1552" y="440"/>
                    </a:lnTo>
                    <a:lnTo>
                      <a:pt x="1552" y="440"/>
                    </a:lnTo>
                    <a:lnTo>
                      <a:pt x="1552" y="440"/>
                    </a:lnTo>
                    <a:lnTo>
                      <a:pt x="1555" y="437"/>
                    </a:lnTo>
                    <a:lnTo>
                      <a:pt x="1552" y="437"/>
                    </a:lnTo>
                    <a:lnTo>
                      <a:pt x="1552" y="435"/>
                    </a:lnTo>
                    <a:lnTo>
                      <a:pt x="1552" y="435"/>
                    </a:lnTo>
                    <a:lnTo>
                      <a:pt x="1555" y="435"/>
                    </a:lnTo>
                    <a:lnTo>
                      <a:pt x="1557" y="433"/>
                    </a:lnTo>
                    <a:lnTo>
                      <a:pt x="1557" y="430"/>
                    </a:lnTo>
                    <a:lnTo>
                      <a:pt x="1555" y="428"/>
                    </a:lnTo>
                    <a:lnTo>
                      <a:pt x="1555" y="425"/>
                    </a:lnTo>
                    <a:lnTo>
                      <a:pt x="1555" y="425"/>
                    </a:lnTo>
                    <a:lnTo>
                      <a:pt x="1555" y="423"/>
                    </a:lnTo>
                    <a:lnTo>
                      <a:pt x="1552" y="423"/>
                    </a:lnTo>
                    <a:lnTo>
                      <a:pt x="1552" y="423"/>
                    </a:lnTo>
                    <a:lnTo>
                      <a:pt x="1552" y="418"/>
                    </a:lnTo>
                    <a:lnTo>
                      <a:pt x="1552" y="416"/>
                    </a:lnTo>
                    <a:lnTo>
                      <a:pt x="1552" y="416"/>
                    </a:lnTo>
                    <a:lnTo>
                      <a:pt x="1552" y="414"/>
                    </a:lnTo>
                    <a:lnTo>
                      <a:pt x="1555" y="411"/>
                    </a:lnTo>
                    <a:lnTo>
                      <a:pt x="1555" y="407"/>
                    </a:lnTo>
                    <a:lnTo>
                      <a:pt x="1557" y="404"/>
                    </a:lnTo>
                    <a:lnTo>
                      <a:pt x="1557" y="404"/>
                    </a:lnTo>
                    <a:lnTo>
                      <a:pt x="1555" y="404"/>
                    </a:lnTo>
                    <a:lnTo>
                      <a:pt x="1555" y="399"/>
                    </a:lnTo>
                    <a:lnTo>
                      <a:pt x="1555" y="397"/>
                    </a:lnTo>
                    <a:lnTo>
                      <a:pt x="1557" y="392"/>
                    </a:lnTo>
                    <a:lnTo>
                      <a:pt x="1559" y="392"/>
                    </a:lnTo>
                    <a:lnTo>
                      <a:pt x="1564" y="388"/>
                    </a:lnTo>
                    <a:lnTo>
                      <a:pt x="1564" y="385"/>
                    </a:lnTo>
                    <a:lnTo>
                      <a:pt x="1564" y="383"/>
                    </a:lnTo>
                    <a:lnTo>
                      <a:pt x="1567" y="381"/>
                    </a:lnTo>
                    <a:lnTo>
                      <a:pt x="1569" y="381"/>
                    </a:lnTo>
                    <a:lnTo>
                      <a:pt x="1571" y="381"/>
                    </a:lnTo>
                    <a:lnTo>
                      <a:pt x="1571" y="378"/>
                    </a:lnTo>
                    <a:lnTo>
                      <a:pt x="1571" y="378"/>
                    </a:lnTo>
                    <a:lnTo>
                      <a:pt x="1571" y="376"/>
                    </a:lnTo>
                    <a:lnTo>
                      <a:pt x="1574" y="376"/>
                    </a:lnTo>
                    <a:lnTo>
                      <a:pt x="1576" y="376"/>
                    </a:lnTo>
                    <a:lnTo>
                      <a:pt x="1578" y="373"/>
                    </a:lnTo>
                    <a:lnTo>
                      <a:pt x="1581" y="373"/>
                    </a:lnTo>
                    <a:lnTo>
                      <a:pt x="1581" y="371"/>
                    </a:lnTo>
                    <a:lnTo>
                      <a:pt x="1585" y="373"/>
                    </a:lnTo>
                    <a:lnTo>
                      <a:pt x="1588" y="369"/>
                    </a:lnTo>
                    <a:lnTo>
                      <a:pt x="1590" y="369"/>
                    </a:lnTo>
                    <a:lnTo>
                      <a:pt x="1590" y="369"/>
                    </a:lnTo>
                    <a:lnTo>
                      <a:pt x="1597" y="369"/>
                    </a:lnTo>
                    <a:lnTo>
                      <a:pt x="1597" y="366"/>
                    </a:lnTo>
                    <a:lnTo>
                      <a:pt x="1597" y="364"/>
                    </a:lnTo>
                    <a:lnTo>
                      <a:pt x="1597" y="364"/>
                    </a:lnTo>
                    <a:lnTo>
                      <a:pt x="1597" y="362"/>
                    </a:lnTo>
                    <a:lnTo>
                      <a:pt x="1597" y="359"/>
                    </a:lnTo>
                    <a:lnTo>
                      <a:pt x="1597" y="359"/>
                    </a:lnTo>
                    <a:lnTo>
                      <a:pt x="1600" y="359"/>
                    </a:lnTo>
                    <a:lnTo>
                      <a:pt x="1600" y="359"/>
                    </a:lnTo>
                    <a:lnTo>
                      <a:pt x="1604" y="359"/>
                    </a:lnTo>
                    <a:lnTo>
                      <a:pt x="1607" y="362"/>
                    </a:lnTo>
                    <a:lnTo>
                      <a:pt x="1607" y="359"/>
                    </a:lnTo>
                    <a:lnTo>
                      <a:pt x="1607" y="359"/>
                    </a:lnTo>
                    <a:lnTo>
                      <a:pt x="1609" y="359"/>
                    </a:lnTo>
                    <a:lnTo>
                      <a:pt x="1609" y="359"/>
                    </a:lnTo>
                    <a:lnTo>
                      <a:pt x="1611" y="359"/>
                    </a:lnTo>
                    <a:lnTo>
                      <a:pt x="1614" y="359"/>
                    </a:lnTo>
                    <a:lnTo>
                      <a:pt x="1614" y="359"/>
                    </a:lnTo>
                    <a:lnTo>
                      <a:pt x="1619" y="362"/>
                    </a:lnTo>
                    <a:lnTo>
                      <a:pt x="1619" y="364"/>
                    </a:lnTo>
                    <a:lnTo>
                      <a:pt x="1619" y="366"/>
                    </a:lnTo>
                    <a:lnTo>
                      <a:pt x="1621" y="366"/>
                    </a:lnTo>
                    <a:lnTo>
                      <a:pt x="1623" y="366"/>
                    </a:lnTo>
                    <a:lnTo>
                      <a:pt x="1626" y="366"/>
                    </a:lnTo>
                    <a:lnTo>
                      <a:pt x="1628" y="366"/>
                    </a:lnTo>
                    <a:lnTo>
                      <a:pt x="1630" y="366"/>
                    </a:lnTo>
                    <a:lnTo>
                      <a:pt x="1633" y="366"/>
                    </a:lnTo>
                    <a:lnTo>
                      <a:pt x="1633" y="366"/>
                    </a:lnTo>
                    <a:lnTo>
                      <a:pt x="1633" y="366"/>
                    </a:lnTo>
                    <a:lnTo>
                      <a:pt x="1635" y="366"/>
                    </a:lnTo>
                    <a:lnTo>
                      <a:pt x="1635" y="366"/>
                    </a:lnTo>
                    <a:lnTo>
                      <a:pt x="1637" y="369"/>
                    </a:lnTo>
                    <a:lnTo>
                      <a:pt x="1635" y="371"/>
                    </a:lnTo>
                    <a:lnTo>
                      <a:pt x="1635" y="373"/>
                    </a:lnTo>
                    <a:lnTo>
                      <a:pt x="1637" y="373"/>
                    </a:lnTo>
                    <a:lnTo>
                      <a:pt x="1637" y="376"/>
                    </a:lnTo>
                    <a:lnTo>
                      <a:pt x="1640" y="378"/>
                    </a:lnTo>
                    <a:lnTo>
                      <a:pt x="1642" y="378"/>
                    </a:lnTo>
                    <a:lnTo>
                      <a:pt x="1645" y="378"/>
                    </a:lnTo>
                    <a:lnTo>
                      <a:pt x="1645" y="378"/>
                    </a:lnTo>
                    <a:lnTo>
                      <a:pt x="1645" y="381"/>
                    </a:lnTo>
                    <a:lnTo>
                      <a:pt x="1645" y="383"/>
                    </a:lnTo>
                    <a:lnTo>
                      <a:pt x="1645" y="385"/>
                    </a:lnTo>
                    <a:lnTo>
                      <a:pt x="1649" y="385"/>
                    </a:lnTo>
                    <a:lnTo>
                      <a:pt x="1652" y="385"/>
                    </a:lnTo>
                    <a:lnTo>
                      <a:pt x="1652" y="390"/>
                    </a:lnTo>
                    <a:lnTo>
                      <a:pt x="1652" y="390"/>
                    </a:lnTo>
                    <a:lnTo>
                      <a:pt x="1652" y="392"/>
                    </a:lnTo>
                    <a:lnTo>
                      <a:pt x="1652" y="392"/>
                    </a:lnTo>
                    <a:lnTo>
                      <a:pt x="1654" y="392"/>
                    </a:lnTo>
                    <a:lnTo>
                      <a:pt x="1654" y="392"/>
                    </a:lnTo>
                    <a:lnTo>
                      <a:pt x="1654" y="392"/>
                    </a:lnTo>
                    <a:lnTo>
                      <a:pt x="1656" y="395"/>
                    </a:lnTo>
                    <a:lnTo>
                      <a:pt x="1654" y="395"/>
                    </a:lnTo>
                    <a:lnTo>
                      <a:pt x="1654" y="397"/>
                    </a:lnTo>
                    <a:lnTo>
                      <a:pt x="1654" y="397"/>
                    </a:lnTo>
                    <a:lnTo>
                      <a:pt x="1656" y="397"/>
                    </a:lnTo>
                    <a:lnTo>
                      <a:pt x="1656" y="399"/>
                    </a:lnTo>
                    <a:lnTo>
                      <a:pt x="1656" y="402"/>
                    </a:lnTo>
                    <a:lnTo>
                      <a:pt x="1656" y="402"/>
                    </a:lnTo>
                    <a:lnTo>
                      <a:pt x="1656" y="404"/>
                    </a:lnTo>
                    <a:lnTo>
                      <a:pt x="1656" y="404"/>
                    </a:lnTo>
                    <a:lnTo>
                      <a:pt x="1656" y="407"/>
                    </a:lnTo>
                    <a:lnTo>
                      <a:pt x="1659" y="407"/>
                    </a:lnTo>
                    <a:lnTo>
                      <a:pt x="1661" y="407"/>
                    </a:lnTo>
                    <a:lnTo>
                      <a:pt x="1663" y="407"/>
                    </a:lnTo>
                    <a:lnTo>
                      <a:pt x="1668" y="409"/>
                    </a:lnTo>
                    <a:lnTo>
                      <a:pt x="1668" y="409"/>
                    </a:lnTo>
                    <a:lnTo>
                      <a:pt x="1668" y="411"/>
                    </a:lnTo>
                    <a:lnTo>
                      <a:pt x="1668" y="411"/>
                    </a:lnTo>
                    <a:lnTo>
                      <a:pt x="1670" y="409"/>
                    </a:lnTo>
                    <a:lnTo>
                      <a:pt x="1673" y="409"/>
                    </a:lnTo>
                    <a:lnTo>
                      <a:pt x="1673" y="407"/>
                    </a:lnTo>
                    <a:lnTo>
                      <a:pt x="1673" y="407"/>
                    </a:lnTo>
                    <a:lnTo>
                      <a:pt x="1673" y="407"/>
                    </a:lnTo>
                    <a:lnTo>
                      <a:pt x="1675" y="407"/>
                    </a:lnTo>
                    <a:lnTo>
                      <a:pt x="1678" y="407"/>
                    </a:lnTo>
                    <a:lnTo>
                      <a:pt x="1678" y="404"/>
                    </a:lnTo>
                    <a:lnTo>
                      <a:pt x="1682" y="407"/>
                    </a:lnTo>
                    <a:lnTo>
                      <a:pt x="1682" y="407"/>
                    </a:lnTo>
                    <a:lnTo>
                      <a:pt x="1682" y="407"/>
                    </a:lnTo>
                    <a:lnTo>
                      <a:pt x="1685" y="409"/>
                    </a:lnTo>
                    <a:lnTo>
                      <a:pt x="1685" y="409"/>
                    </a:lnTo>
                    <a:lnTo>
                      <a:pt x="1689" y="404"/>
                    </a:lnTo>
                    <a:lnTo>
                      <a:pt x="1689" y="404"/>
                    </a:lnTo>
                    <a:lnTo>
                      <a:pt x="1687" y="404"/>
                    </a:lnTo>
                    <a:lnTo>
                      <a:pt x="1689" y="402"/>
                    </a:lnTo>
                    <a:lnTo>
                      <a:pt x="1689" y="402"/>
                    </a:lnTo>
                    <a:lnTo>
                      <a:pt x="1689" y="399"/>
                    </a:lnTo>
                    <a:lnTo>
                      <a:pt x="1689" y="399"/>
                    </a:lnTo>
                    <a:lnTo>
                      <a:pt x="1689" y="397"/>
                    </a:lnTo>
                    <a:lnTo>
                      <a:pt x="1689" y="397"/>
                    </a:lnTo>
                    <a:lnTo>
                      <a:pt x="1689" y="397"/>
                    </a:lnTo>
                    <a:lnTo>
                      <a:pt x="1692" y="395"/>
                    </a:lnTo>
                    <a:lnTo>
                      <a:pt x="1692" y="395"/>
                    </a:lnTo>
                    <a:lnTo>
                      <a:pt x="1694" y="395"/>
                    </a:lnTo>
                    <a:lnTo>
                      <a:pt x="1696" y="395"/>
                    </a:lnTo>
                    <a:lnTo>
                      <a:pt x="1699" y="395"/>
                    </a:lnTo>
                    <a:lnTo>
                      <a:pt x="1699" y="395"/>
                    </a:lnTo>
                    <a:lnTo>
                      <a:pt x="1699" y="395"/>
                    </a:lnTo>
                    <a:lnTo>
                      <a:pt x="1701" y="392"/>
                    </a:lnTo>
                    <a:lnTo>
                      <a:pt x="1704" y="392"/>
                    </a:lnTo>
                    <a:lnTo>
                      <a:pt x="1706" y="392"/>
                    </a:lnTo>
                    <a:lnTo>
                      <a:pt x="1708" y="392"/>
                    </a:lnTo>
                    <a:lnTo>
                      <a:pt x="1708" y="392"/>
                    </a:lnTo>
                    <a:lnTo>
                      <a:pt x="1708" y="390"/>
                    </a:lnTo>
                    <a:lnTo>
                      <a:pt x="1713" y="388"/>
                    </a:lnTo>
                    <a:lnTo>
                      <a:pt x="1713" y="388"/>
                    </a:lnTo>
                    <a:lnTo>
                      <a:pt x="1715" y="388"/>
                    </a:lnTo>
                    <a:lnTo>
                      <a:pt x="1715" y="385"/>
                    </a:lnTo>
                    <a:lnTo>
                      <a:pt x="1713" y="385"/>
                    </a:lnTo>
                    <a:lnTo>
                      <a:pt x="1715" y="383"/>
                    </a:lnTo>
                    <a:lnTo>
                      <a:pt x="1713" y="381"/>
                    </a:lnTo>
                    <a:lnTo>
                      <a:pt x="1713" y="378"/>
                    </a:lnTo>
                    <a:lnTo>
                      <a:pt x="1711" y="378"/>
                    </a:lnTo>
                    <a:lnTo>
                      <a:pt x="1711" y="378"/>
                    </a:lnTo>
                    <a:lnTo>
                      <a:pt x="1708" y="376"/>
                    </a:lnTo>
                    <a:lnTo>
                      <a:pt x="1708" y="376"/>
                    </a:lnTo>
                    <a:lnTo>
                      <a:pt x="1708" y="373"/>
                    </a:lnTo>
                    <a:lnTo>
                      <a:pt x="1706" y="373"/>
                    </a:lnTo>
                    <a:lnTo>
                      <a:pt x="1706" y="371"/>
                    </a:lnTo>
                    <a:lnTo>
                      <a:pt x="1704" y="371"/>
                    </a:lnTo>
                    <a:lnTo>
                      <a:pt x="1704" y="369"/>
                    </a:lnTo>
                    <a:lnTo>
                      <a:pt x="1704" y="369"/>
                    </a:lnTo>
                    <a:lnTo>
                      <a:pt x="1704" y="366"/>
                    </a:lnTo>
                    <a:lnTo>
                      <a:pt x="1701" y="366"/>
                    </a:lnTo>
                    <a:lnTo>
                      <a:pt x="1701" y="366"/>
                    </a:lnTo>
                    <a:lnTo>
                      <a:pt x="1701" y="359"/>
                    </a:lnTo>
                    <a:lnTo>
                      <a:pt x="1704" y="359"/>
                    </a:lnTo>
                    <a:lnTo>
                      <a:pt x="1704" y="359"/>
                    </a:lnTo>
                    <a:lnTo>
                      <a:pt x="1704" y="357"/>
                    </a:lnTo>
                    <a:lnTo>
                      <a:pt x="1704" y="355"/>
                    </a:lnTo>
                    <a:lnTo>
                      <a:pt x="1708" y="352"/>
                    </a:lnTo>
                    <a:lnTo>
                      <a:pt x="1708" y="350"/>
                    </a:lnTo>
                    <a:lnTo>
                      <a:pt x="1708" y="350"/>
                    </a:lnTo>
                    <a:lnTo>
                      <a:pt x="1708" y="348"/>
                    </a:lnTo>
                    <a:lnTo>
                      <a:pt x="1708" y="348"/>
                    </a:lnTo>
                    <a:lnTo>
                      <a:pt x="1708" y="348"/>
                    </a:lnTo>
                    <a:lnTo>
                      <a:pt x="1711" y="345"/>
                    </a:lnTo>
                    <a:lnTo>
                      <a:pt x="1711" y="343"/>
                    </a:lnTo>
                    <a:lnTo>
                      <a:pt x="1711" y="343"/>
                    </a:lnTo>
                    <a:lnTo>
                      <a:pt x="1713" y="340"/>
                    </a:lnTo>
                    <a:lnTo>
                      <a:pt x="1711" y="338"/>
                    </a:lnTo>
                    <a:lnTo>
                      <a:pt x="1711" y="338"/>
                    </a:lnTo>
                    <a:lnTo>
                      <a:pt x="1715" y="338"/>
                    </a:lnTo>
                    <a:lnTo>
                      <a:pt x="1715" y="333"/>
                    </a:lnTo>
                    <a:lnTo>
                      <a:pt x="1715" y="333"/>
                    </a:lnTo>
                    <a:lnTo>
                      <a:pt x="1715" y="331"/>
                    </a:lnTo>
                    <a:lnTo>
                      <a:pt x="1713" y="329"/>
                    </a:lnTo>
                    <a:lnTo>
                      <a:pt x="1715" y="329"/>
                    </a:lnTo>
                    <a:lnTo>
                      <a:pt x="1715" y="324"/>
                    </a:lnTo>
                    <a:lnTo>
                      <a:pt x="1715" y="322"/>
                    </a:lnTo>
                    <a:lnTo>
                      <a:pt x="1715" y="322"/>
                    </a:lnTo>
                    <a:lnTo>
                      <a:pt x="1715" y="322"/>
                    </a:lnTo>
                    <a:lnTo>
                      <a:pt x="1718" y="322"/>
                    </a:lnTo>
                    <a:lnTo>
                      <a:pt x="1718" y="319"/>
                    </a:lnTo>
                    <a:lnTo>
                      <a:pt x="1718" y="317"/>
                    </a:lnTo>
                    <a:lnTo>
                      <a:pt x="1720" y="317"/>
                    </a:lnTo>
                    <a:lnTo>
                      <a:pt x="1720" y="317"/>
                    </a:lnTo>
                    <a:lnTo>
                      <a:pt x="1720" y="314"/>
                    </a:lnTo>
                    <a:lnTo>
                      <a:pt x="1722" y="312"/>
                    </a:lnTo>
                    <a:lnTo>
                      <a:pt x="1725" y="312"/>
                    </a:lnTo>
                    <a:lnTo>
                      <a:pt x="1725" y="312"/>
                    </a:lnTo>
                    <a:lnTo>
                      <a:pt x="1725" y="310"/>
                    </a:lnTo>
                    <a:lnTo>
                      <a:pt x="1725" y="310"/>
                    </a:lnTo>
                    <a:lnTo>
                      <a:pt x="1722" y="310"/>
                    </a:lnTo>
                    <a:lnTo>
                      <a:pt x="1725" y="307"/>
                    </a:lnTo>
                    <a:lnTo>
                      <a:pt x="1725" y="305"/>
                    </a:lnTo>
                    <a:lnTo>
                      <a:pt x="1727" y="303"/>
                    </a:lnTo>
                    <a:lnTo>
                      <a:pt x="1727" y="298"/>
                    </a:lnTo>
                    <a:lnTo>
                      <a:pt x="1730" y="296"/>
                    </a:lnTo>
                    <a:lnTo>
                      <a:pt x="1730" y="293"/>
                    </a:lnTo>
                    <a:lnTo>
                      <a:pt x="1730" y="293"/>
                    </a:lnTo>
                    <a:lnTo>
                      <a:pt x="1732" y="291"/>
                    </a:lnTo>
                    <a:lnTo>
                      <a:pt x="1734" y="291"/>
                    </a:lnTo>
                    <a:lnTo>
                      <a:pt x="1734" y="288"/>
                    </a:lnTo>
                    <a:lnTo>
                      <a:pt x="1734" y="288"/>
                    </a:lnTo>
                    <a:lnTo>
                      <a:pt x="1734" y="286"/>
                    </a:lnTo>
                    <a:lnTo>
                      <a:pt x="1734" y="286"/>
                    </a:lnTo>
                    <a:lnTo>
                      <a:pt x="1737" y="284"/>
                    </a:lnTo>
                    <a:lnTo>
                      <a:pt x="1737" y="284"/>
                    </a:lnTo>
                    <a:lnTo>
                      <a:pt x="1734" y="281"/>
                    </a:lnTo>
                    <a:lnTo>
                      <a:pt x="1734" y="281"/>
                    </a:lnTo>
                    <a:lnTo>
                      <a:pt x="1737" y="277"/>
                    </a:lnTo>
                    <a:lnTo>
                      <a:pt x="1737" y="277"/>
                    </a:lnTo>
                    <a:lnTo>
                      <a:pt x="1741" y="274"/>
                    </a:lnTo>
                    <a:lnTo>
                      <a:pt x="1744" y="274"/>
                    </a:lnTo>
                    <a:lnTo>
                      <a:pt x="1746" y="272"/>
                    </a:lnTo>
                    <a:lnTo>
                      <a:pt x="1746" y="265"/>
                    </a:lnTo>
                    <a:lnTo>
                      <a:pt x="1748" y="260"/>
                    </a:lnTo>
                    <a:lnTo>
                      <a:pt x="1824" y="260"/>
                    </a:lnTo>
                    <a:lnTo>
                      <a:pt x="1855" y="260"/>
                    </a:lnTo>
                    <a:lnTo>
                      <a:pt x="1893" y="260"/>
                    </a:lnTo>
                    <a:lnTo>
                      <a:pt x="1893" y="296"/>
                    </a:lnTo>
                    <a:lnTo>
                      <a:pt x="1893" y="296"/>
                    </a:lnTo>
                    <a:lnTo>
                      <a:pt x="1893" y="298"/>
                    </a:lnTo>
                    <a:lnTo>
                      <a:pt x="1893" y="303"/>
                    </a:lnTo>
                    <a:lnTo>
                      <a:pt x="1895" y="303"/>
                    </a:lnTo>
                    <a:lnTo>
                      <a:pt x="1895" y="303"/>
                    </a:lnTo>
                    <a:lnTo>
                      <a:pt x="1897" y="305"/>
                    </a:lnTo>
                    <a:lnTo>
                      <a:pt x="1895" y="312"/>
                    </a:lnTo>
                    <a:lnTo>
                      <a:pt x="1897" y="312"/>
                    </a:lnTo>
                    <a:lnTo>
                      <a:pt x="1897" y="314"/>
                    </a:lnTo>
                    <a:lnTo>
                      <a:pt x="1895" y="319"/>
                    </a:lnTo>
                    <a:lnTo>
                      <a:pt x="1895" y="324"/>
                    </a:lnTo>
                    <a:lnTo>
                      <a:pt x="1895" y="329"/>
                    </a:lnTo>
                    <a:lnTo>
                      <a:pt x="1895" y="329"/>
                    </a:lnTo>
                    <a:lnTo>
                      <a:pt x="1895" y="331"/>
                    </a:lnTo>
                    <a:lnTo>
                      <a:pt x="1895" y="331"/>
                    </a:lnTo>
                    <a:lnTo>
                      <a:pt x="1895" y="333"/>
                    </a:lnTo>
                    <a:lnTo>
                      <a:pt x="1895" y="338"/>
                    </a:lnTo>
                    <a:lnTo>
                      <a:pt x="1900" y="340"/>
                    </a:lnTo>
                    <a:lnTo>
                      <a:pt x="1902" y="343"/>
                    </a:lnTo>
                    <a:lnTo>
                      <a:pt x="1902" y="345"/>
                    </a:lnTo>
                    <a:lnTo>
                      <a:pt x="1904" y="345"/>
                    </a:lnTo>
                    <a:lnTo>
                      <a:pt x="1904" y="345"/>
                    </a:lnTo>
                    <a:lnTo>
                      <a:pt x="1904" y="345"/>
                    </a:lnTo>
                    <a:lnTo>
                      <a:pt x="1907" y="345"/>
                    </a:lnTo>
                    <a:lnTo>
                      <a:pt x="1909" y="348"/>
                    </a:lnTo>
                    <a:lnTo>
                      <a:pt x="1911" y="348"/>
                    </a:lnTo>
                    <a:lnTo>
                      <a:pt x="1911" y="350"/>
                    </a:lnTo>
                    <a:lnTo>
                      <a:pt x="1914" y="350"/>
                    </a:lnTo>
                    <a:lnTo>
                      <a:pt x="1914" y="352"/>
                    </a:lnTo>
                    <a:lnTo>
                      <a:pt x="1914" y="357"/>
                    </a:lnTo>
                    <a:lnTo>
                      <a:pt x="1914" y="359"/>
                    </a:lnTo>
                    <a:lnTo>
                      <a:pt x="1914" y="359"/>
                    </a:lnTo>
                    <a:lnTo>
                      <a:pt x="1916" y="362"/>
                    </a:lnTo>
                    <a:lnTo>
                      <a:pt x="1916" y="364"/>
                    </a:lnTo>
                    <a:lnTo>
                      <a:pt x="1916" y="366"/>
                    </a:lnTo>
                    <a:lnTo>
                      <a:pt x="1914" y="366"/>
                    </a:lnTo>
                    <a:lnTo>
                      <a:pt x="1914" y="366"/>
                    </a:lnTo>
                    <a:lnTo>
                      <a:pt x="1914" y="369"/>
                    </a:lnTo>
                    <a:lnTo>
                      <a:pt x="1914" y="371"/>
                    </a:lnTo>
                    <a:lnTo>
                      <a:pt x="1914" y="373"/>
                    </a:lnTo>
                    <a:lnTo>
                      <a:pt x="1914" y="373"/>
                    </a:lnTo>
                    <a:lnTo>
                      <a:pt x="1914" y="376"/>
                    </a:lnTo>
                    <a:lnTo>
                      <a:pt x="1914" y="378"/>
                    </a:lnTo>
                    <a:lnTo>
                      <a:pt x="1914" y="378"/>
                    </a:lnTo>
                    <a:lnTo>
                      <a:pt x="1916" y="378"/>
                    </a:lnTo>
                    <a:lnTo>
                      <a:pt x="1916" y="383"/>
                    </a:lnTo>
                    <a:lnTo>
                      <a:pt x="1916" y="383"/>
                    </a:lnTo>
                    <a:lnTo>
                      <a:pt x="1919" y="383"/>
                    </a:lnTo>
                    <a:lnTo>
                      <a:pt x="1921" y="385"/>
                    </a:lnTo>
                    <a:lnTo>
                      <a:pt x="1921" y="388"/>
                    </a:lnTo>
                    <a:lnTo>
                      <a:pt x="1923" y="388"/>
                    </a:lnTo>
                    <a:lnTo>
                      <a:pt x="1923" y="388"/>
                    </a:lnTo>
                    <a:lnTo>
                      <a:pt x="1926" y="388"/>
                    </a:lnTo>
                    <a:lnTo>
                      <a:pt x="1928" y="392"/>
                    </a:lnTo>
                    <a:lnTo>
                      <a:pt x="1930" y="395"/>
                    </a:lnTo>
                    <a:lnTo>
                      <a:pt x="1930" y="395"/>
                    </a:lnTo>
                    <a:lnTo>
                      <a:pt x="1930" y="395"/>
                    </a:lnTo>
                    <a:lnTo>
                      <a:pt x="1933" y="397"/>
                    </a:lnTo>
                    <a:lnTo>
                      <a:pt x="1935" y="397"/>
                    </a:lnTo>
                    <a:lnTo>
                      <a:pt x="1935" y="397"/>
                    </a:lnTo>
                    <a:lnTo>
                      <a:pt x="1935" y="397"/>
                    </a:lnTo>
                    <a:lnTo>
                      <a:pt x="1935" y="399"/>
                    </a:lnTo>
                    <a:lnTo>
                      <a:pt x="1940" y="402"/>
                    </a:lnTo>
                    <a:lnTo>
                      <a:pt x="1940" y="404"/>
                    </a:lnTo>
                    <a:lnTo>
                      <a:pt x="1940" y="404"/>
                    </a:lnTo>
                    <a:lnTo>
                      <a:pt x="1942" y="402"/>
                    </a:lnTo>
                    <a:lnTo>
                      <a:pt x="1942" y="404"/>
                    </a:lnTo>
                    <a:lnTo>
                      <a:pt x="1945" y="402"/>
                    </a:lnTo>
                    <a:lnTo>
                      <a:pt x="1945" y="404"/>
                    </a:lnTo>
                    <a:lnTo>
                      <a:pt x="1945" y="407"/>
                    </a:lnTo>
                    <a:lnTo>
                      <a:pt x="1945" y="407"/>
                    </a:lnTo>
                    <a:lnTo>
                      <a:pt x="1947" y="407"/>
                    </a:lnTo>
                    <a:lnTo>
                      <a:pt x="1947" y="407"/>
                    </a:lnTo>
                    <a:lnTo>
                      <a:pt x="1947" y="407"/>
                    </a:lnTo>
                    <a:lnTo>
                      <a:pt x="1947" y="407"/>
                    </a:lnTo>
                    <a:lnTo>
                      <a:pt x="1952" y="409"/>
                    </a:lnTo>
                    <a:lnTo>
                      <a:pt x="1952" y="411"/>
                    </a:lnTo>
                    <a:lnTo>
                      <a:pt x="1949" y="411"/>
                    </a:lnTo>
                    <a:lnTo>
                      <a:pt x="1949" y="414"/>
                    </a:lnTo>
                    <a:lnTo>
                      <a:pt x="1949" y="416"/>
                    </a:lnTo>
                    <a:lnTo>
                      <a:pt x="1952" y="418"/>
                    </a:lnTo>
                    <a:lnTo>
                      <a:pt x="1952" y="421"/>
                    </a:lnTo>
                    <a:lnTo>
                      <a:pt x="1954" y="421"/>
                    </a:lnTo>
                    <a:lnTo>
                      <a:pt x="1954" y="421"/>
                    </a:lnTo>
                    <a:lnTo>
                      <a:pt x="1954" y="423"/>
                    </a:lnTo>
                    <a:lnTo>
                      <a:pt x="1954" y="423"/>
                    </a:lnTo>
                    <a:lnTo>
                      <a:pt x="1952" y="425"/>
                    </a:lnTo>
                    <a:lnTo>
                      <a:pt x="1954" y="425"/>
                    </a:lnTo>
                    <a:lnTo>
                      <a:pt x="1952" y="428"/>
                    </a:lnTo>
                    <a:lnTo>
                      <a:pt x="1954" y="430"/>
                    </a:lnTo>
                    <a:lnTo>
                      <a:pt x="1954" y="430"/>
                    </a:lnTo>
                    <a:lnTo>
                      <a:pt x="1956" y="430"/>
                    </a:lnTo>
                    <a:lnTo>
                      <a:pt x="1956" y="430"/>
                    </a:lnTo>
                    <a:lnTo>
                      <a:pt x="1956" y="430"/>
                    </a:lnTo>
                    <a:lnTo>
                      <a:pt x="1959" y="433"/>
                    </a:lnTo>
                    <a:lnTo>
                      <a:pt x="1959" y="437"/>
                    </a:lnTo>
                    <a:lnTo>
                      <a:pt x="1961" y="437"/>
                    </a:lnTo>
                    <a:lnTo>
                      <a:pt x="1961" y="440"/>
                    </a:lnTo>
                    <a:lnTo>
                      <a:pt x="1961" y="440"/>
                    </a:lnTo>
                    <a:lnTo>
                      <a:pt x="1963" y="440"/>
                    </a:lnTo>
                    <a:lnTo>
                      <a:pt x="1963" y="442"/>
                    </a:lnTo>
                    <a:lnTo>
                      <a:pt x="1966" y="442"/>
                    </a:lnTo>
                    <a:lnTo>
                      <a:pt x="1966" y="444"/>
                    </a:lnTo>
                    <a:lnTo>
                      <a:pt x="1973" y="442"/>
                    </a:lnTo>
                    <a:lnTo>
                      <a:pt x="1973" y="442"/>
                    </a:lnTo>
                    <a:lnTo>
                      <a:pt x="1973" y="442"/>
                    </a:lnTo>
                    <a:lnTo>
                      <a:pt x="1975" y="447"/>
                    </a:lnTo>
                    <a:lnTo>
                      <a:pt x="1978" y="447"/>
                    </a:lnTo>
                    <a:lnTo>
                      <a:pt x="1982" y="451"/>
                    </a:lnTo>
                    <a:lnTo>
                      <a:pt x="1982" y="451"/>
                    </a:lnTo>
                    <a:lnTo>
                      <a:pt x="1985" y="456"/>
                    </a:lnTo>
                    <a:lnTo>
                      <a:pt x="1987" y="454"/>
                    </a:lnTo>
                    <a:lnTo>
                      <a:pt x="1989" y="449"/>
                    </a:lnTo>
                    <a:lnTo>
                      <a:pt x="1992" y="449"/>
                    </a:lnTo>
                    <a:lnTo>
                      <a:pt x="1992" y="447"/>
                    </a:lnTo>
                    <a:lnTo>
                      <a:pt x="1994" y="447"/>
                    </a:lnTo>
                    <a:lnTo>
                      <a:pt x="1996" y="444"/>
                    </a:lnTo>
                    <a:lnTo>
                      <a:pt x="1994" y="442"/>
                    </a:lnTo>
                    <a:lnTo>
                      <a:pt x="1996" y="442"/>
                    </a:lnTo>
                    <a:lnTo>
                      <a:pt x="2001" y="437"/>
                    </a:lnTo>
                    <a:lnTo>
                      <a:pt x="2001" y="437"/>
                    </a:lnTo>
                    <a:lnTo>
                      <a:pt x="2004" y="440"/>
                    </a:lnTo>
                    <a:lnTo>
                      <a:pt x="2004" y="440"/>
                    </a:lnTo>
                    <a:lnTo>
                      <a:pt x="2004" y="442"/>
                    </a:lnTo>
                    <a:lnTo>
                      <a:pt x="2006" y="444"/>
                    </a:lnTo>
                    <a:lnTo>
                      <a:pt x="2008" y="444"/>
                    </a:lnTo>
                    <a:lnTo>
                      <a:pt x="2011" y="447"/>
                    </a:lnTo>
                    <a:lnTo>
                      <a:pt x="2011" y="447"/>
                    </a:lnTo>
                    <a:lnTo>
                      <a:pt x="2008" y="449"/>
                    </a:lnTo>
                    <a:lnTo>
                      <a:pt x="2011" y="451"/>
                    </a:lnTo>
                    <a:lnTo>
                      <a:pt x="2011" y="454"/>
                    </a:lnTo>
                    <a:lnTo>
                      <a:pt x="2011" y="456"/>
                    </a:lnTo>
                    <a:lnTo>
                      <a:pt x="2006" y="463"/>
                    </a:lnTo>
                    <a:lnTo>
                      <a:pt x="2006" y="466"/>
                    </a:lnTo>
                    <a:lnTo>
                      <a:pt x="2006" y="466"/>
                    </a:lnTo>
                    <a:lnTo>
                      <a:pt x="2006" y="468"/>
                    </a:lnTo>
                    <a:lnTo>
                      <a:pt x="2006" y="470"/>
                    </a:lnTo>
                    <a:lnTo>
                      <a:pt x="2008" y="470"/>
                    </a:lnTo>
                    <a:lnTo>
                      <a:pt x="2011" y="470"/>
                    </a:lnTo>
                    <a:lnTo>
                      <a:pt x="2008" y="473"/>
                    </a:lnTo>
                    <a:lnTo>
                      <a:pt x="2008" y="475"/>
                    </a:lnTo>
                    <a:lnTo>
                      <a:pt x="2011" y="475"/>
                    </a:lnTo>
                    <a:lnTo>
                      <a:pt x="2011" y="477"/>
                    </a:lnTo>
                    <a:lnTo>
                      <a:pt x="2013" y="477"/>
                    </a:lnTo>
                    <a:lnTo>
                      <a:pt x="2013" y="477"/>
                    </a:lnTo>
                    <a:lnTo>
                      <a:pt x="2018" y="477"/>
                    </a:lnTo>
                    <a:lnTo>
                      <a:pt x="2018" y="477"/>
                    </a:lnTo>
                    <a:lnTo>
                      <a:pt x="2018" y="480"/>
                    </a:lnTo>
                    <a:lnTo>
                      <a:pt x="2018" y="480"/>
                    </a:lnTo>
                    <a:lnTo>
                      <a:pt x="2018" y="480"/>
                    </a:lnTo>
                    <a:lnTo>
                      <a:pt x="2020" y="482"/>
                    </a:lnTo>
                    <a:lnTo>
                      <a:pt x="2022" y="480"/>
                    </a:lnTo>
                    <a:lnTo>
                      <a:pt x="2022" y="480"/>
                    </a:lnTo>
                    <a:lnTo>
                      <a:pt x="2027" y="480"/>
                    </a:lnTo>
                    <a:lnTo>
                      <a:pt x="2027" y="482"/>
                    </a:lnTo>
                    <a:lnTo>
                      <a:pt x="2030" y="482"/>
                    </a:lnTo>
                    <a:lnTo>
                      <a:pt x="2030" y="485"/>
                    </a:lnTo>
                    <a:lnTo>
                      <a:pt x="2030" y="485"/>
                    </a:lnTo>
                    <a:lnTo>
                      <a:pt x="2030" y="487"/>
                    </a:lnTo>
                    <a:lnTo>
                      <a:pt x="2032" y="487"/>
                    </a:lnTo>
                    <a:lnTo>
                      <a:pt x="2032" y="489"/>
                    </a:lnTo>
                    <a:lnTo>
                      <a:pt x="2032" y="489"/>
                    </a:lnTo>
                    <a:lnTo>
                      <a:pt x="2034" y="489"/>
                    </a:lnTo>
                    <a:lnTo>
                      <a:pt x="2034" y="489"/>
                    </a:lnTo>
                    <a:lnTo>
                      <a:pt x="2034" y="492"/>
                    </a:lnTo>
                    <a:lnTo>
                      <a:pt x="2034" y="492"/>
                    </a:lnTo>
                    <a:lnTo>
                      <a:pt x="2037" y="489"/>
                    </a:lnTo>
                    <a:lnTo>
                      <a:pt x="2039" y="492"/>
                    </a:lnTo>
                    <a:lnTo>
                      <a:pt x="2039" y="489"/>
                    </a:lnTo>
                    <a:lnTo>
                      <a:pt x="2041" y="492"/>
                    </a:lnTo>
                    <a:lnTo>
                      <a:pt x="2041" y="489"/>
                    </a:lnTo>
                    <a:lnTo>
                      <a:pt x="2041" y="494"/>
                    </a:lnTo>
                    <a:lnTo>
                      <a:pt x="2044" y="496"/>
                    </a:lnTo>
                    <a:lnTo>
                      <a:pt x="2044" y="499"/>
                    </a:lnTo>
                    <a:lnTo>
                      <a:pt x="2044" y="501"/>
                    </a:lnTo>
                    <a:lnTo>
                      <a:pt x="2046" y="501"/>
                    </a:lnTo>
                    <a:lnTo>
                      <a:pt x="2046" y="503"/>
                    </a:lnTo>
                    <a:lnTo>
                      <a:pt x="2048" y="501"/>
                    </a:lnTo>
                    <a:lnTo>
                      <a:pt x="2051" y="501"/>
                    </a:lnTo>
                    <a:lnTo>
                      <a:pt x="2056" y="501"/>
                    </a:lnTo>
                    <a:lnTo>
                      <a:pt x="2056" y="501"/>
                    </a:lnTo>
                    <a:lnTo>
                      <a:pt x="2056" y="499"/>
                    </a:lnTo>
                    <a:lnTo>
                      <a:pt x="2058" y="501"/>
                    </a:lnTo>
                    <a:lnTo>
                      <a:pt x="2058" y="501"/>
                    </a:lnTo>
                    <a:lnTo>
                      <a:pt x="2058" y="503"/>
                    </a:lnTo>
                    <a:lnTo>
                      <a:pt x="2058" y="503"/>
                    </a:lnTo>
                    <a:lnTo>
                      <a:pt x="2060" y="503"/>
                    </a:lnTo>
                    <a:lnTo>
                      <a:pt x="2063" y="503"/>
                    </a:lnTo>
                    <a:lnTo>
                      <a:pt x="2065" y="503"/>
                    </a:lnTo>
                    <a:lnTo>
                      <a:pt x="2065" y="506"/>
                    </a:lnTo>
                    <a:lnTo>
                      <a:pt x="2067" y="506"/>
                    </a:lnTo>
                    <a:lnTo>
                      <a:pt x="2065" y="511"/>
                    </a:lnTo>
                    <a:lnTo>
                      <a:pt x="2067" y="508"/>
                    </a:lnTo>
                    <a:lnTo>
                      <a:pt x="2070" y="511"/>
                    </a:lnTo>
                    <a:lnTo>
                      <a:pt x="2070" y="511"/>
                    </a:lnTo>
                    <a:lnTo>
                      <a:pt x="2072" y="511"/>
                    </a:lnTo>
                    <a:lnTo>
                      <a:pt x="2072" y="513"/>
                    </a:lnTo>
                    <a:lnTo>
                      <a:pt x="2072" y="513"/>
                    </a:lnTo>
                    <a:lnTo>
                      <a:pt x="2077" y="513"/>
                    </a:lnTo>
                    <a:lnTo>
                      <a:pt x="2077" y="513"/>
                    </a:lnTo>
                    <a:lnTo>
                      <a:pt x="2077" y="515"/>
                    </a:lnTo>
                    <a:lnTo>
                      <a:pt x="2079" y="515"/>
                    </a:lnTo>
                    <a:lnTo>
                      <a:pt x="2079" y="513"/>
                    </a:lnTo>
                    <a:lnTo>
                      <a:pt x="2082" y="513"/>
                    </a:lnTo>
                    <a:lnTo>
                      <a:pt x="2082" y="515"/>
                    </a:lnTo>
                    <a:lnTo>
                      <a:pt x="2084" y="515"/>
                    </a:lnTo>
                    <a:lnTo>
                      <a:pt x="2084" y="515"/>
                    </a:lnTo>
                    <a:lnTo>
                      <a:pt x="2084" y="518"/>
                    </a:lnTo>
                    <a:lnTo>
                      <a:pt x="2082" y="518"/>
                    </a:lnTo>
                    <a:lnTo>
                      <a:pt x="2084" y="520"/>
                    </a:lnTo>
                    <a:lnTo>
                      <a:pt x="2086" y="518"/>
                    </a:lnTo>
                    <a:lnTo>
                      <a:pt x="2089" y="520"/>
                    </a:lnTo>
                    <a:lnTo>
                      <a:pt x="2089" y="520"/>
                    </a:lnTo>
                    <a:lnTo>
                      <a:pt x="2089" y="518"/>
                    </a:lnTo>
                    <a:lnTo>
                      <a:pt x="2091" y="520"/>
                    </a:lnTo>
                    <a:lnTo>
                      <a:pt x="2093" y="520"/>
                    </a:lnTo>
                    <a:lnTo>
                      <a:pt x="2096" y="518"/>
                    </a:lnTo>
                    <a:lnTo>
                      <a:pt x="2098" y="518"/>
                    </a:lnTo>
                    <a:lnTo>
                      <a:pt x="2098" y="520"/>
                    </a:lnTo>
                    <a:lnTo>
                      <a:pt x="2100" y="520"/>
                    </a:lnTo>
                    <a:lnTo>
                      <a:pt x="2100" y="518"/>
                    </a:lnTo>
                    <a:lnTo>
                      <a:pt x="2100" y="515"/>
                    </a:lnTo>
                    <a:lnTo>
                      <a:pt x="2100" y="515"/>
                    </a:lnTo>
                    <a:lnTo>
                      <a:pt x="2103" y="518"/>
                    </a:lnTo>
                    <a:lnTo>
                      <a:pt x="2100" y="518"/>
                    </a:lnTo>
                    <a:lnTo>
                      <a:pt x="2103" y="520"/>
                    </a:lnTo>
                    <a:lnTo>
                      <a:pt x="2103" y="520"/>
                    </a:lnTo>
                    <a:lnTo>
                      <a:pt x="2105" y="520"/>
                    </a:lnTo>
                    <a:lnTo>
                      <a:pt x="2105" y="520"/>
                    </a:lnTo>
                    <a:lnTo>
                      <a:pt x="2108" y="518"/>
                    </a:lnTo>
                    <a:lnTo>
                      <a:pt x="2108" y="520"/>
                    </a:lnTo>
                    <a:lnTo>
                      <a:pt x="2110" y="520"/>
                    </a:lnTo>
                    <a:lnTo>
                      <a:pt x="2110" y="520"/>
                    </a:lnTo>
                    <a:lnTo>
                      <a:pt x="2110" y="520"/>
                    </a:lnTo>
                    <a:lnTo>
                      <a:pt x="2112" y="520"/>
                    </a:lnTo>
                    <a:lnTo>
                      <a:pt x="2112" y="520"/>
                    </a:lnTo>
                    <a:lnTo>
                      <a:pt x="2112" y="522"/>
                    </a:lnTo>
                    <a:lnTo>
                      <a:pt x="2112" y="525"/>
                    </a:lnTo>
                    <a:lnTo>
                      <a:pt x="2112" y="525"/>
                    </a:lnTo>
                    <a:lnTo>
                      <a:pt x="2115" y="525"/>
                    </a:lnTo>
                    <a:lnTo>
                      <a:pt x="2117" y="525"/>
                    </a:lnTo>
                    <a:lnTo>
                      <a:pt x="2119" y="529"/>
                    </a:lnTo>
                    <a:lnTo>
                      <a:pt x="2122" y="525"/>
                    </a:lnTo>
                    <a:lnTo>
                      <a:pt x="2122" y="527"/>
                    </a:lnTo>
                    <a:lnTo>
                      <a:pt x="2122" y="529"/>
                    </a:lnTo>
                    <a:lnTo>
                      <a:pt x="2122" y="529"/>
                    </a:lnTo>
                    <a:lnTo>
                      <a:pt x="2124" y="529"/>
                    </a:lnTo>
                    <a:lnTo>
                      <a:pt x="2124" y="532"/>
                    </a:lnTo>
                    <a:lnTo>
                      <a:pt x="2124" y="532"/>
                    </a:lnTo>
                    <a:lnTo>
                      <a:pt x="2124" y="534"/>
                    </a:lnTo>
                    <a:lnTo>
                      <a:pt x="2124" y="536"/>
                    </a:lnTo>
                    <a:lnTo>
                      <a:pt x="2126" y="539"/>
                    </a:lnTo>
                    <a:lnTo>
                      <a:pt x="2129" y="544"/>
                    </a:lnTo>
                    <a:lnTo>
                      <a:pt x="2129" y="544"/>
                    </a:lnTo>
                    <a:lnTo>
                      <a:pt x="2134" y="544"/>
                    </a:lnTo>
                    <a:lnTo>
                      <a:pt x="2136" y="546"/>
                    </a:lnTo>
                    <a:lnTo>
                      <a:pt x="2138" y="548"/>
                    </a:lnTo>
                    <a:lnTo>
                      <a:pt x="2138" y="551"/>
                    </a:lnTo>
                    <a:lnTo>
                      <a:pt x="2138" y="551"/>
                    </a:lnTo>
                    <a:lnTo>
                      <a:pt x="2143" y="551"/>
                    </a:lnTo>
                    <a:lnTo>
                      <a:pt x="2145" y="551"/>
                    </a:lnTo>
                    <a:lnTo>
                      <a:pt x="2145" y="553"/>
                    </a:lnTo>
                    <a:lnTo>
                      <a:pt x="2148" y="553"/>
                    </a:lnTo>
                    <a:lnTo>
                      <a:pt x="2150" y="558"/>
                    </a:lnTo>
                    <a:lnTo>
                      <a:pt x="2152" y="558"/>
                    </a:lnTo>
                    <a:lnTo>
                      <a:pt x="2155" y="558"/>
                    </a:lnTo>
                    <a:lnTo>
                      <a:pt x="2159" y="558"/>
                    </a:lnTo>
                    <a:lnTo>
                      <a:pt x="2162" y="558"/>
                    </a:lnTo>
                    <a:lnTo>
                      <a:pt x="2164" y="558"/>
                    </a:lnTo>
                    <a:lnTo>
                      <a:pt x="2167" y="558"/>
                    </a:lnTo>
                    <a:lnTo>
                      <a:pt x="2167" y="560"/>
                    </a:lnTo>
                    <a:lnTo>
                      <a:pt x="2169" y="562"/>
                    </a:lnTo>
                    <a:lnTo>
                      <a:pt x="2169" y="565"/>
                    </a:lnTo>
                    <a:lnTo>
                      <a:pt x="2169" y="565"/>
                    </a:lnTo>
                    <a:lnTo>
                      <a:pt x="2167" y="567"/>
                    </a:lnTo>
                    <a:lnTo>
                      <a:pt x="2164" y="570"/>
                    </a:lnTo>
                    <a:lnTo>
                      <a:pt x="2162" y="574"/>
                    </a:lnTo>
                    <a:lnTo>
                      <a:pt x="2162" y="577"/>
                    </a:lnTo>
                    <a:lnTo>
                      <a:pt x="2162" y="579"/>
                    </a:lnTo>
                    <a:lnTo>
                      <a:pt x="2164" y="579"/>
                    </a:lnTo>
                    <a:lnTo>
                      <a:pt x="2167" y="579"/>
                    </a:lnTo>
                    <a:lnTo>
                      <a:pt x="2169" y="579"/>
                    </a:lnTo>
                    <a:lnTo>
                      <a:pt x="2171" y="581"/>
                    </a:lnTo>
                    <a:lnTo>
                      <a:pt x="2174" y="584"/>
                    </a:lnTo>
                    <a:lnTo>
                      <a:pt x="2176" y="584"/>
                    </a:lnTo>
                    <a:lnTo>
                      <a:pt x="2178" y="581"/>
                    </a:lnTo>
                    <a:lnTo>
                      <a:pt x="2181" y="581"/>
                    </a:lnTo>
                    <a:lnTo>
                      <a:pt x="2183" y="584"/>
                    </a:lnTo>
                    <a:lnTo>
                      <a:pt x="2183" y="581"/>
                    </a:lnTo>
                    <a:lnTo>
                      <a:pt x="2183" y="579"/>
                    </a:lnTo>
                    <a:lnTo>
                      <a:pt x="2183" y="579"/>
                    </a:lnTo>
                    <a:lnTo>
                      <a:pt x="2185" y="579"/>
                    </a:lnTo>
                    <a:lnTo>
                      <a:pt x="2185" y="579"/>
                    </a:lnTo>
                    <a:lnTo>
                      <a:pt x="2188" y="579"/>
                    </a:lnTo>
                    <a:lnTo>
                      <a:pt x="2188" y="577"/>
                    </a:lnTo>
                    <a:lnTo>
                      <a:pt x="2193" y="577"/>
                    </a:lnTo>
                    <a:lnTo>
                      <a:pt x="2193" y="574"/>
                    </a:lnTo>
                    <a:lnTo>
                      <a:pt x="2195" y="574"/>
                    </a:lnTo>
                    <a:lnTo>
                      <a:pt x="2195" y="574"/>
                    </a:lnTo>
                    <a:lnTo>
                      <a:pt x="2200" y="579"/>
                    </a:lnTo>
                    <a:lnTo>
                      <a:pt x="2200" y="577"/>
                    </a:lnTo>
                    <a:lnTo>
                      <a:pt x="2202" y="577"/>
                    </a:lnTo>
                    <a:lnTo>
                      <a:pt x="2204" y="577"/>
                    </a:lnTo>
                    <a:lnTo>
                      <a:pt x="2204" y="577"/>
                    </a:lnTo>
                    <a:lnTo>
                      <a:pt x="2207" y="579"/>
                    </a:lnTo>
                    <a:lnTo>
                      <a:pt x="2207" y="579"/>
                    </a:lnTo>
                    <a:lnTo>
                      <a:pt x="2211" y="577"/>
                    </a:lnTo>
                    <a:lnTo>
                      <a:pt x="2211" y="574"/>
                    </a:lnTo>
                    <a:lnTo>
                      <a:pt x="2214" y="574"/>
                    </a:lnTo>
                    <a:lnTo>
                      <a:pt x="2216" y="574"/>
                    </a:lnTo>
                    <a:lnTo>
                      <a:pt x="2219" y="574"/>
                    </a:lnTo>
                    <a:lnTo>
                      <a:pt x="2221" y="574"/>
                    </a:lnTo>
                    <a:lnTo>
                      <a:pt x="2221" y="572"/>
                    </a:lnTo>
                    <a:lnTo>
                      <a:pt x="2221" y="572"/>
                    </a:lnTo>
                    <a:lnTo>
                      <a:pt x="2221" y="570"/>
                    </a:lnTo>
                    <a:lnTo>
                      <a:pt x="2223" y="570"/>
                    </a:lnTo>
                    <a:lnTo>
                      <a:pt x="2223" y="567"/>
                    </a:lnTo>
                    <a:lnTo>
                      <a:pt x="2228" y="567"/>
                    </a:lnTo>
                    <a:lnTo>
                      <a:pt x="2230" y="562"/>
                    </a:lnTo>
                    <a:lnTo>
                      <a:pt x="2233" y="562"/>
                    </a:lnTo>
                    <a:lnTo>
                      <a:pt x="2235" y="562"/>
                    </a:lnTo>
                    <a:lnTo>
                      <a:pt x="2235" y="562"/>
                    </a:lnTo>
                    <a:lnTo>
                      <a:pt x="2235" y="560"/>
                    </a:lnTo>
                    <a:lnTo>
                      <a:pt x="2237" y="560"/>
                    </a:lnTo>
                    <a:lnTo>
                      <a:pt x="2240" y="560"/>
                    </a:lnTo>
                    <a:lnTo>
                      <a:pt x="2242" y="560"/>
                    </a:lnTo>
                    <a:lnTo>
                      <a:pt x="2247" y="560"/>
                    </a:lnTo>
                    <a:lnTo>
                      <a:pt x="2247" y="560"/>
                    </a:lnTo>
                    <a:lnTo>
                      <a:pt x="2247" y="562"/>
                    </a:lnTo>
                    <a:lnTo>
                      <a:pt x="2242" y="570"/>
                    </a:lnTo>
                    <a:lnTo>
                      <a:pt x="2240" y="574"/>
                    </a:lnTo>
                    <a:lnTo>
                      <a:pt x="2235" y="579"/>
                    </a:lnTo>
                    <a:lnTo>
                      <a:pt x="2233" y="581"/>
                    </a:lnTo>
                    <a:lnTo>
                      <a:pt x="2226" y="584"/>
                    </a:lnTo>
                    <a:lnTo>
                      <a:pt x="2219" y="588"/>
                    </a:lnTo>
                    <a:lnTo>
                      <a:pt x="2214" y="588"/>
                    </a:lnTo>
                    <a:lnTo>
                      <a:pt x="2211" y="591"/>
                    </a:lnTo>
                    <a:lnTo>
                      <a:pt x="2211" y="593"/>
                    </a:lnTo>
                    <a:lnTo>
                      <a:pt x="2207" y="598"/>
                    </a:lnTo>
                    <a:lnTo>
                      <a:pt x="2207" y="600"/>
                    </a:lnTo>
                    <a:lnTo>
                      <a:pt x="2207" y="603"/>
                    </a:lnTo>
                    <a:lnTo>
                      <a:pt x="2207" y="605"/>
                    </a:lnTo>
                    <a:lnTo>
                      <a:pt x="2202" y="612"/>
                    </a:lnTo>
                    <a:lnTo>
                      <a:pt x="2202" y="612"/>
                    </a:lnTo>
                    <a:lnTo>
                      <a:pt x="2202" y="612"/>
                    </a:lnTo>
                    <a:lnTo>
                      <a:pt x="2204" y="614"/>
                    </a:lnTo>
                    <a:lnTo>
                      <a:pt x="2207" y="614"/>
                    </a:lnTo>
                    <a:lnTo>
                      <a:pt x="2207" y="614"/>
                    </a:lnTo>
                    <a:lnTo>
                      <a:pt x="2209" y="614"/>
                    </a:lnTo>
                    <a:lnTo>
                      <a:pt x="2204" y="624"/>
                    </a:lnTo>
                    <a:lnTo>
                      <a:pt x="2197" y="638"/>
                    </a:lnTo>
                    <a:lnTo>
                      <a:pt x="2193" y="652"/>
                    </a:lnTo>
                    <a:lnTo>
                      <a:pt x="2188" y="664"/>
                    </a:lnTo>
                    <a:lnTo>
                      <a:pt x="2178" y="685"/>
                    </a:lnTo>
                    <a:lnTo>
                      <a:pt x="2162" y="716"/>
                    </a:lnTo>
                    <a:lnTo>
                      <a:pt x="2162" y="718"/>
                    </a:lnTo>
                    <a:lnTo>
                      <a:pt x="2157" y="730"/>
                    </a:lnTo>
                    <a:lnTo>
                      <a:pt x="2148" y="751"/>
                    </a:lnTo>
                    <a:lnTo>
                      <a:pt x="2143" y="761"/>
                    </a:lnTo>
                    <a:lnTo>
                      <a:pt x="2138" y="773"/>
                    </a:lnTo>
                    <a:lnTo>
                      <a:pt x="2131" y="792"/>
                    </a:lnTo>
                    <a:lnTo>
                      <a:pt x="2100" y="855"/>
                    </a:lnTo>
                    <a:lnTo>
                      <a:pt x="2063" y="938"/>
                    </a:lnTo>
                    <a:lnTo>
                      <a:pt x="2056" y="957"/>
                    </a:lnTo>
                    <a:lnTo>
                      <a:pt x="2044" y="983"/>
                    </a:lnTo>
                    <a:lnTo>
                      <a:pt x="2022" y="1028"/>
                    </a:lnTo>
                    <a:lnTo>
                      <a:pt x="1973" y="1139"/>
                    </a:lnTo>
                    <a:lnTo>
                      <a:pt x="1973" y="1141"/>
                    </a:lnTo>
                    <a:lnTo>
                      <a:pt x="1971" y="1141"/>
                    </a:lnTo>
                    <a:lnTo>
                      <a:pt x="1971" y="1144"/>
                    </a:lnTo>
                    <a:lnTo>
                      <a:pt x="1968" y="1144"/>
                    </a:lnTo>
                    <a:lnTo>
                      <a:pt x="1966" y="1144"/>
                    </a:lnTo>
                    <a:lnTo>
                      <a:pt x="1966" y="1144"/>
                    </a:lnTo>
                    <a:lnTo>
                      <a:pt x="1963" y="1148"/>
                    </a:lnTo>
                    <a:lnTo>
                      <a:pt x="1963" y="1151"/>
                    </a:lnTo>
                    <a:lnTo>
                      <a:pt x="1961" y="1153"/>
                    </a:lnTo>
                    <a:lnTo>
                      <a:pt x="1959" y="1153"/>
                    </a:lnTo>
                    <a:lnTo>
                      <a:pt x="1952" y="1160"/>
                    </a:lnTo>
                    <a:lnTo>
                      <a:pt x="1949" y="1165"/>
                    </a:lnTo>
                    <a:lnTo>
                      <a:pt x="1947" y="1167"/>
                    </a:lnTo>
                    <a:lnTo>
                      <a:pt x="1945" y="1170"/>
                    </a:lnTo>
                    <a:lnTo>
                      <a:pt x="1945" y="1181"/>
                    </a:lnTo>
                    <a:lnTo>
                      <a:pt x="1947" y="1184"/>
                    </a:lnTo>
                    <a:lnTo>
                      <a:pt x="1947" y="1188"/>
                    </a:lnTo>
                    <a:lnTo>
                      <a:pt x="1952" y="1198"/>
                    </a:lnTo>
                    <a:lnTo>
                      <a:pt x="1954" y="1203"/>
                    </a:lnTo>
                    <a:lnTo>
                      <a:pt x="1956" y="1203"/>
                    </a:lnTo>
                    <a:lnTo>
                      <a:pt x="1956" y="1205"/>
                    </a:lnTo>
                    <a:lnTo>
                      <a:pt x="1959" y="1205"/>
                    </a:lnTo>
                    <a:lnTo>
                      <a:pt x="1961" y="1205"/>
                    </a:lnTo>
                    <a:lnTo>
                      <a:pt x="1963" y="1207"/>
                    </a:lnTo>
                    <a:lnTo>
                      <a:pt x="1966" y="1210"/>
                    </a:lnTo>
                    <a:lnTo>
                      <a:pt x="1968" y="1217"/>
                    </a:lnTo>
                    <a:lnTo>
                      <a:pt x="1973" y="1219"/>
                    </a:lnTo>
                    <a:lnTo>
                      <a:pt x="1975" y="1222"/>
                    </a:lnTo>
                    <a:lnTo>
                      <a:pt x="1975" y="1222"/>
                    </a:lnTo>
                    <a:lnTo>
                      <a:pt x="1978" y="1224"/>
                    </a:lnTo>
                    <a:lnTo>
                      <a:pt x="1978" y="1226"/>
                    </a:lnTo>
                    <a:lnTo>
                      <a:pt x="1980" y="1226"/>
                    </a:lnTo>
                    <a:lnTo>
                      <a:pt x="1980" y="1231"/>
                    </a:lnTo>
                    <a:lnTo>
                      <a:pt x="1982" y="1233"/>
                    </a:lnTo>
                    <a:lnTo>
                      <a:pt x="1985" y="1240"/>
                    </a:lnTo>
                    <a:lnTo>
                      <a:pt x="1985" y="1245"/>
                    </a:lnTo>
                    <a:lnTo>
                      <a:pt x="1985" y="1250"/>
                    </a:lnTo>
                    <a:lnTo>
                      <a:pt x="1985" y="1250"/>
                    </a:lnTo>
                    <a:lnTo>
                      <a:pt x="1987" y="1255"/>
                    </a:lnTo>
                    <a:lnTo>
                      <a:pt x="1989" y="1257"/>
                    </a:lnTo>
                    <a:lnTo>
                      <a:pt x="1987" y="1257"/>
                    </a:lnTo>
                    <a:lnTo>
                      <a:pt x="1985" y="1262"/>
                    </a:lnTo>
                    <a:lnTo>
                      <a:pt x="1980" y="1269"/>
                    </a:lnTo>
                    <a:lnTo>
                      <a:pt x="1978" y="1273"/>
                    </a:lnTo>
                    <a:lnTo>
                      <a:pt x="1978" y="1278"/>
                    </a:lnTo>
                    <a:lnTo>
                      <a:pt x="1978" y="1283"/>
                    </a:lnTo>
                    <a:lnTo>
                      <a:pt x="1980" y="1285"/>
                    </a:lnTo>
                    <a:lnTo>
                      <a:pt x="1980" y="1288"/>
                    </a:lnTo>
                    <a:lnTo>
                      <a:pt x="1980" y="1290"/>
                    </a:lnTo>
                    <a:lnTo>
                      <a:pt x="1975" y="1295"/>
                    </a:lnTo>
                    <a:lnTo>
                      <a:pt x="1975" y="1297"/>
                    </a:lnTo>
                    <a:lnTo>
                      <a:pt x="1971" y="1302"/>
                    </a:lnTo>
                    <a:lnTo>
                      <a:pt x="1971" y="1302"/>
                    </a:lnTo>
                    <a:lnTo>
                      <a:pt x="1971" y="1307"/>
                    </a:lnTo>
                    <a:lnTo>
                      <a:pt x="1971" y="1307"/>
                    </a:lnTo>
                    <a:lnTo>
                      <a:pt x="1968" y="1311"/>
                    </a:lnTo>
                    <a:lnTo>
                      <a:pt x="1963" y="1314"/>
                    </a:lnTo>
                    <a:lnTo>
                      <a:pt x="1959" y="1316"/>
                    </a:lnTo>
                    <a:lnTo>
                      <a:pt x="1959" y="1318"/>
                    </a:lnTo>
                    <a:lnTo>
                      <a:pt x="1956" y="1318"/>
                    </a:lnTo>
                    <a:lnTo>
                      <a:pt x="1956" y="1321"/>
                    </a:lnTo>
                    <a:lnTo>
                      <a:pt x="1959" y="1323"/>
                    </a:lnTo>
                    <a:lnTo>
                      <a:pt x="1959" y="1328"/>
                    </a:lnTo>
                    <a:lnTo>
                      <a:pt x="1961" y="1333"/>
                    </a:lnTo>
                    <a:lnTo>
                      <a:pt x="1963" y="1335"/>
                    </a:lnTo>
                    <a:lnTo>
                      <a:pt x="1966" y="1340"/>
                    </a:lnTo>
                    <a:lnTo>
                      <a:pt x="1966" y="1342"/>
                    </a:lnTo>
                    <a:lnTo>
                      <a:pt x="1966" y="1344"/>
                    </a:lnTo>
                    <a:lnTo>
                      <a:pt x="1968" y="1349"/>
                    </a:lnTo>
                    <a:lnTo>
                      <a:pt x="1971" y="1351"/>
                    </a:lnTo>
                    <a:lnTo>
                      <a:pt x="1968" y="1354"/>
                    </a:lnTo>
                    <a:lnTo>
                      <a:pt x="1971" y="1356"/>
                    </a:lnTo>
                    <a:lnTo>
                      <a:pt x="1968" y="1359"/>
                    </a:lnTo>
                    <a:lnTo>
                      <a:pt x="1966" y="1361"/>
                    </a:lnTo>
                    <a:lnTo>
                      <a:pt x="1966" y="1363"/>
                    </a:lnTo>
                    <a:lnTo>
                      <a:pt x="1966" y="1368"/>
                    </a:lnTo>
                    <a:lnTo>
                      <a:pt x="1966" y="1370"/>
                    </a:lnTo>
                    <a:lnTo>
                      <a:pt x="1966" y="1375"/>
                    </a:lnTo>
                    <a:lnTo>
                      <a:pt x="1966" y="1377"/>
                    </a:lnTo>
                    <a:lnTo>
                      <a:pt x="1966" y="1380"/>
                    </a:lnTo>
                    <a:lnTo>
                      <a:pt x="1966" y="1380"/>
                    </a:lnTo>
                    <a:lnTo>
                      <a:pt x="1966" y="1382"/>
                    </a:lnTo>
                    <a:lnTo>
                      <a:pt x="1966" y="1385"/>
                    </a:lnTo>
                    <a:lnTo>
                      <a:pt x="1963" y="1385"/>
                    </a:lnTo>
                    <a:lnTo>
                      <a:pt x="1961" y="1387"/>
                    </a:lnTo>
                    <a:lnTo>
                      <a:pt x="1963" y="1389"/>
                    </a:lnTo>
                    <a:lnTo>
                      <a:pt x="1961" y="1389"/>
                    </a:lnTo>
                    <a:lnTo>
                      <a:pt x="1961" y="1392"/>
                    </a:lnTo>
                    <a:lnTo>
                      <a:pt x="1959" y="1396"/>
                    </a:lnTo>
                    <a:lnTo>
                      <a:pt x="1956" y="1399"/>
                    </a:lnTo>
                    <a:lnTo>
                      <a:pt x="1956" y="1401"/>
                    </a:lnTo>
                    <a:lnTo>
                      <a:pt x="1954" y="1401"/>
                    </a:lnTo>
                    <a:lnTo>
                      <a:pt x="1954" y="1406"/>
                    </a:lnTo>
                    <a:lnTo>
                      <a:pt x="1954" y="1408"/>
                    </a:lnTo>
                    <a:lnTo>
                      <a:pt x="1954" y="1408"/>
                    </a:lnTo>
                    <a:lnTo>
                      <a:pt x="1954" y="1410"/>
                    </a:lnTo>
                    <a:lnTo>
                      <a:pt x="1954" y="1415"/>
                    </a:lnTo>
                    <a:lnTo>
                      <a:pt x="1956" y="1415"/>
                    </a:lnTo>
                    <a:lnTo>
                      <a:pt x="1956" y="1418"/>
                    </a:lnTo>
                    <a:lnTo>
                      <a:pt x="1956" y="1420"/>
                    </a:lnTo>
                    <a:lnTo>
                      <a:pt x="1956" y="1420"/>
                    </a:lnTo>
                    <a:lnTo>
                      <a:pt x="1954" y="1422"/>
                    </a:lnTo>
                    <a:lnTo>
                      <a:pt x="1954" y="1425"/>
                    </a:lnTo>
                    <a:lnTo>
                      <a:pt x="1949" y="1432"/>
                    </a:lnTo>
                    <a:lnTo>
                      <a:pt x="1952" y="1434"/>
                    </a:lnTo>
                    <a:lnTo>
                      <a:pt x="1954" y="1434"/>
                    </a:lnTo>
                    <a:lnTo>
                      <a:pt x="1956" y="1432"/>
                    </a:lnTo>
                    <a:lnTo>
                      <a:pt x="1959" y="1432"/>
                    </a:lnTo>
                    <a:lnTo>
                      <a:pt x="1961" y="1432"/>
                    </a:lnTo>
                    <a:lnTo>
                      <a:pt x="1966" y="1434"/>
                    </a:lnTo>
                    <a:lnTo>
                      <a:pt x="1966" y="1434"/>
                    </a:lnTo>
                    <a:lnTo>
                      <a:pt x="1963" y="1434"/>
                    </a:lnTo>
                    <a:lnTo>
                      <a:pt x="1961" y="1436"/>
                    </a:lnTo>
                    <a:lnTo>
                      <a:pt x="1956" y="1441"/>
                    </a:lnTo>
                    <a:lnTo>
                      <a:pt x="1954" y="1444"/>
                    </a:lnTo>
                    <a:lnTo>
                      <a:pt x="1954" y="1444"/>
                    </a:lnTo>
                    <a:lnTo>
                      <a:pt x="1954" y="1444"/>
                    </a:lnTo>
                    <a:lnTo>
                      <a:pt x="1952" y="1444"/>
                    </a:lnTo>
                    <a:lnTo>
                      <a:pt x="1949" y="1444"/>
                    </a:lnTo>
                    <a:lnTo>
                      <a:pt x="1942" y="1446"/>
                    </a:lnTo>
                    <a:lnTo>
                      <a:pt x="1867" y="1446"/>
                    </a:lnTo>
                    <a:lnTo>
                      <a:pt x="1864" y="1446"/>
                    </a:lnTo>
                    <a:lnTo>
                      <a:pt x="1770" y="1446"/>
                    </a:lnTo>
                    <a:lnTo>
                      <a:pt x="1699" y="1444"/>
                    </a:lnTo>
                    <a:lnTo>
                      <a:pt x="1656" y="1444"/>
                    </a:lnTo>
                    <a:lnTo>
                      <a:pt x="1647" y="1444"/>
                    </a:lnTo>
                    <a:lnTo>
                      <a:pt x="1645" y="1444"/>
                    </a:lnTo>
                    <a:lnTo>
                      <a:pt x="1552" y="1444"/>
                    </a:lnTo>
                    <a:lnTo>
                      <a:pt x="1550" y="1444"/>
                    </a:lnTo>
                    <a:lnTo>
                      <a:pt x="1550" y="1444"/>
                    </a:lnTo>
                    <a:lnTo>
                      <a:pt x="1545" y="1439"/>
                    </a:lnTo>
                    <a:lnTo>
                      <a:pt x="1545" y="1439"/>
                    </a:lnTo>
                    <a:lnTo>
                      <a:pt x="1545" y="1436"/>
                    </a:lnTo>
                    <a:lnTo>
                      <a:pt x="1545" y="1434"/>
                    </a:lnTo>
                    <a:lnTo>
                      <a:pt x="1543" y="1434"/>
                    </a:lnTo>
                    <a:lnTo>
                      <a:pt x="1543" y="1434"/>
                    </a:lnTo>
                    <a:lnTo>
                      <a:pt x="1541" y="1432"/>
                    </a:lnTo>
                    <a:lnTo>
                      <a:pt x="1536" y="1434"/>
                    </a:lnTo>
                    <a:lnTo>
                      <a:pt x="1536" y="1432"/>
                    </a:lnTo>
                    <a:lnTo>
                      <a:pt x="1536" y="1429"/>
                    </a:lnTo>
                    <a:lnTo>
                      <a:pt x="1533" y="1432"/>
                    </a:lnTo>
                    <a:lnTo>
                      <a:pt x="1531" y="1432"/>
                    </a:lnTo>
                    <a:lnTo>
                      <a:pt x="1531" y="1432"/>
                    </a:lnTo>
                    <a:lnTo>
                      <a:pt x="1531" y="1434"/>
                    </a:lnTo>
                    <a:lnTo>
                      <a:pt x="1531" y="1434"/>
                    </a:lnTo>
                    <a:lnTo>
                      <a:pt x="1531" y="1434"/>
                    </a:lnTo>
                    <a:lnTo>
                      <a:pt x="1529" y="1436"/>
                    </a:lnTo>
                    <a:lnTo>
                      <a:pt x="1529" y="1436"/>
                    </a:lnTo>
                    <a:lnTo>
                      <a:pt x="1526" y="1439"/>
                    </a:lnTo>
                    <a:lnTo>
                      <a:pt x="1526" y="1439"/>
                    </a:lnTo>
                    <a:lnTo>
                      <a:pt x="1524" y="1439"/>
                    </a:lnTo>
                    <a:lnTo>
                      <a:pt x="1522" y="1436"/>
                    </a:lnTo>
                    <a:lnTo>
                      <a:pt x="1519" y="1436"/>
                    </a:lnTo>
                    <a:lnTo>
                      <a:pt x="1519" y="1439"/>
                    </a:lnTo>
                    <a:lnTo>
                      <a:pt x="1519" y="1441"/>
                    </a:lnTo>
                    <a:lnTo>
                      <a:pt x="1517" y="1444"/>
                    </a:lnTo>
                    <a:lnTo>
                      <a:pt x="1517" y="1446"/>
                    </a:lnTo>
                    <a:lnTo>
                      <a:pt x="1517" y="1448"/>
                    </a:lnTo>
                    <a:lnTo>
                      <a:pt x="1517" y="1448"/>
                    </a:lnTo>
                    <a:lnTo>
                      <a:pt x="1517" y="1448"/>
                    </a:lnTo>
                    <a:lnTo>
                      <a:pt x="1517" y="1451"/>
                    </a:lnTo>
                    <a:lnTo>
                      <a:pt x="1515" y="1453"/>
                    </a:lnTo>
                    <a:lnTo>
                      <a:pt x="1512" y="1453"/>
                    </a:lnTo>
                    <a:lnTo>
                      <a:pt x="1512" y="1455"/>
                    </a:lnTo>
                    <a:lnTo>
                      <a:pt x="1507" y="1455"/>
                    </a:lnTo>
                    <a:lnTo>
                      <a:pt x="1507" y="1455"/>
                    </a:lnTo>
                    <a:lnTo>
                      <a:pt x="1503" y="1453"/>
                    </a:lnTo>
                    <a:lnTo>
                      <a:pt x="1500" y="1455"/>
                    </a:lnTo>
                    <a:lnTo>
                      <a:pt x="1500" y="1453"/>
                    </a:lnTo>
                    <a:lnTo>
                      <a:pt x="1500" y="1451"/>
                    </a:lnTo>
                    <a:lnTo>
                      <a:pt x="1498" y="1448"/>
                    </a:lnTo>
                    <a:lnTo>
                      <a:pt x="1496" y="1448"/>
                    </a:lnTo>
                    <a:lnTo>
                      <a:pt x="1496" y="1444"/>
                    </a:lnTo>
                    <a:lnTo>
                      <a:pt x="1493" y="1444"/>
                    </a:lnTo>
                    <a:lnTo>
                      <a:pt x="1489" y="1444"/>
                    </a:lnTo>
                    <a:lnTo>
                      <a:pt x="1486" y="1446"/>
                    </a:lnTo>
                    <a:lnTo>
                      <a:pt x="1482" y="1446"/>
                    </a:lnTo>
                    <a:lnTo>
                      <a:pt x="1479" y="1436"/>
                    </a:lnTo>
                    <a:lnTo>
                      <a:pt x="1479" y="1436"/>
                    </a:lnTo>
                    <a:lnTo>
                      <a:pt x="1479" y="1434"/>
                    </a:lnTo>
                    <a:lnTo>
                      <a:pt x="1479" y="1434"/>
                    </a:lnTo>
                    <a:lnTo>
                      <a:pt x="1477" y="1432"/>
                    </a:lnTo>
                    <a:lnTo>
                      <a:pt x="1477" y="1432"/>
                    </a:lnTo>
                    <a:lnTo>
                      <a:pt x="1477" y="1429"/>
                    </a:lnTo>
                    <a:lnTo>
                      <a:pt x="1477" y="1427"/>
                    </a:lnTo>
                    <a:lnTo>
                      <a:pt x="1472" y="1425"/>
                    </a:lnTo>
                    <a:lnTo>
                      <a:pt x="1474" y="1425"/>
                    </a:lnTo>
                    <a:lnTo>
                      <a:pt x="1477" y="1425"/>
                    </a:lnTo>
                    <a:lnTo>
                      <a:pt x="1477" y="1422"/>
                    </a:lnTo>
                    <a:lnTo>
                      <a:pt x="1477" y="1420"/>
                    </a:lnTo>
                    <a:lnTo>
                      <a:pt x="1474" y="1418"/>
                    </a:lnTo>
                    <a:lnTo>
                      <a:pt x="1472" y="1418"/>
                    </a:lnTo>
                    <a:lnTo>
                      <a:pt x="1470" y="1418"/>
                    </a:lnTo>
                    <a:lnTo>
                      <a:pt x="1467" y="1415"/>
                    </a:lnTo>
                    <a:lnTo>
                      <a:pt x="1465" y="1415"/>
                    </a:lnTo>
                    <a:lnTo>
                      <a:pt x="1463" y="1415"/>
                    </a:lnTo>
                    <a:lnTo>
                      <a:pt x="1463" y="1418"/>
                    </a:lnTo>
                    <a:lnTo>
                      <a:pt x="1460" y="1418"/>
                    </a:lnTo>
                    <a:lnTo>
                      <a:pt x="1460" y="1420"/>
                    </a:lnTo>
                    <a:lnTo>
                      <a:pt x="1463" y="1422"/>
                    </a:lnTo>
                    <a:lnTo>
                      <a:pt x="1463" y="1425"/>
                    </a:lnTo>
                    <a:lnTo>
                      <a:pt x="1463" y="1425"/>
                    </a:lnTo>
                    <a:lnTo>
                      <a:pt x="1456" y="1420"/>
                    </a:lnTo>
                    <a:lnTo>
                      <a:pt x="1456" y="1418"/>
                    </a:lnTo>
                    <a:lnTo>
                      <a:pt x="1456" y="1418"/>
                    </a:lnTo>
                    <a:lnTo>
                      <a:pt x="1458" y="1415"/>
                    </a:lnTo>
                    <a:lnTo>
                      <a:pt x="1458" y="1413"/>
                    </a:lnTo>
                    <a:lnTo>
                      <a:pt x="1456" y="1413"/>
                    </a:lnTo>
                    <a:lnTo>
                      <a:pt x="1458" y="1408"/>
                    </a:lnTo>
                    <a:lnTo>
                      <a:pt x="1456" y="1408"/>
                    </a:lnTo>
                    <a:lnTo>
                      <a:pt x="1453" y="1408"/>
                    </a:lnTo>
                    <a:lnTo>
                      <a:pt x="1453" y="1406"/>
                    </a:lnTo>
                    <a:lnTo>
                      <a:pt x="1453" y="1406"/>
                    </a:lnTo>
                    <a:lnTo>
                      <a:pt x="1453" y="1403"/>
                    </a:lnTo>
                    <a:lnTo>
                      <a:pt x="1451" y="1399"/>
                    </a:lnTo>
                    <a:lnTo>
                      <a:pt x="1453" y="1396"/>
                    </a:lnTo>
                    <a:lnTo>
                      <a:pt x="1453" y="1394"/>
                    </a:lnTo>
                    <a:lnTo>
                      <a:pt x="1453" y="1392"/>
                    </a:lnTo>
                    <a:lnTo>
                      <a:pt x="1453" y="1392"/>
                    </a:lnTo>
                    <a:lnTo>
                      <a:pt x="1451" y="1389"/>
                    </a:lnTo>
                    <a:lnTo>
                      <a:pt x="1448" y="1389"/>
                    </a:lnTo>
                    <a:lnTo>
                      <a:pt x="1448" y="1389"/>
                    </a:lnTo>
                    <a:lnTo>
                      <a:pt x="1444" y="1389"/>
                    </a:lnTo>
                    <a:lnTo>
                      <a:pt x="1441" y="1387"/>
                    </a:lnTo>
                    <a:lnTo>
                      <a:pt x="1441" y="1387"/>
                    </a:lnTo>
                    <a:lnTo>
                      <a:pt x="1439" y="1385"/>
                    </a:lnTo>
                    <a:lnTo>
                      <a:pt x="1439" y="1385"/>
                    </a:lnTo>
                    <a:lnTo>
                      <a:pt x="1439" y="1385"/>
                    </a:lnTo>
                    <a:lnTo>
                      <a:pt x="1437" y="1387"/>
                    </a:lnTo>
                    <a:lnTo>
                      <a:pt x="1434" y="1387"/>
                    </a:lnTo>
                    <a:lnTo>
                      <a:pt x="1432" y="1389"/>
                    </a:lnTo>
                    <a:lnTo>
                      <a:pt x="1432" y="1389"/>
                    </a:lnTo>
                    <a:lnTo>
                      <a:pt x="1432" y="1389"/>
                    </a:lnTo>
                    <a:lnTo>
                      <a:pt x="1432" y="1389"/>
                    </a:lnTo>
                    <a:lnTo>
                      <a:pt x="1430" y="1387"/>
                    </a:lnTo>
                    <a:lnTo>
                      <a:pt x="1430" y="1387"/>
                    </a:lnTo>
                    <a:lnTo>
                      <a:pt x="1430" y="1385"/>
                    </a:lnTo>
                    <a:lnTo>
                      <a:pt x="1430" y="1385"/>
                    </a:lnTo>
                    <a:lnTo>
                      <a:pt x="1430" y="1382"/>
                    </a:lnTo>
                    <a:lnTo>
                      <a:pt x="1427" y="1382"/>
                    </a:lnTo>
                    <a:lnTo>
                      <a:pt x="1430" y="1380"/>
                    </a:lnTo>
                    <a:lnTo>
                      <a:pt x="1427" y="1377"/>
                    </a:lnTo>
                    <a:lnTo>
                      <a:pt x="1427" y="1377"/>
                    </a:lnTo>
                    <a:lnTo>
                      <a:pt x="1425" y="1377"/>
                    </a:lnTo>
                    <a:lnTo>
                      <a:pt x="1425" y="1377"/>
                    </a:lnTo>
                    <a:lnTo>
                      <a:pt x="1425" y="1375"/>
                    </a:lnTo>
                    <a:lnTo>
                      <a:pt x="1422" y="1377"/>
                    </a:lnTo>
                    <a:lnTo>
                      <a:pt x="1422" y="1375"/>
                    </a:lnTo>
                    <a:lnTo>
                      <a:pt x="1422" y="1375"/>
                    </a:lnTo>
                    <a:lnTo>
                      <a:pt x="1415" y="1370"/>
                    </a:lnTo>
                    <a:lnTo>
                      <a:pt x="1415" y="1370"/>
                    </a:lnTo>
                    <a:lnTo>
                      <a:pt x="1415" y="1370"/>
                    </a:lnTo>
                    <a:lnTo>
                      <a:pt x="1415" y="1366"/>
                    </a:lnTo>
                    <a:lnTo>
                      <a:pt x="1413" y="1366"/>
                    </a:lnTo>
                    <a:lnTo>
                      <a:pt x="1413" y="1363"/>
                    </a:lnTo>
                    <a:lnTo>
                      <a:pt x="1413" y="1363"/>
                    </a:lnTo>
                    <a:lnTo>
                      <a:pt x="1413" y="1361"/>
                    </a:lnTo>
                    <a:lnTo>
                      <a:pt x="1413" y="1361"/>
                    </a:lnTo>
                    <a:lnTo>
                      <a:pt x="1413" y="1359"/>
                    </a:lnTo>
                    <a:lnTo>
                      <a:pt x="1413" y="1359"/>
                    </a:lnTo>
                    <a:lnTo>
                      <a:pt x="1413" y="1356"/>
                    </a:lnTo>
                    <a:lnTo>
                      <a:pt x="1413" y="1356"/>
                    </a:lnTo>
                    <a:lnTo>
                      <a:pt x="1411" y="1354"/>
                    </a:lnTo>
                    <a:lnTo>
                      <a:pt x="1411" y="1351"/>
                    </a:lnTo>
                    <a:lnTo>
                      <a:pt x="1408" y="1351"/>
                    </a:lnTo>
                    <a:lnTo>
                      <a:pt x="1406" y="1349"/>
                    </a:lnTo>
                    <a:lnTo>
                      <a:pt x="1404" y="1347"/>
                    </a:lnTo>
                    <a:lnTo>
                      <a:pt x="1399" y="1344"/>
                    </a:lnTo>
                    <a:lnTo>
                      <a:pt x="1396" y="1344"/>
                    </a:lnTo>
                    <a:lnTo>
                      <a:pt x="1394" y="1342"/>
                    </a:lnTo>
                    <a:lnTo>
                      <a:pt x="1394" y="1340"/>
                    </a:lnTo>
                    <a:lnTo>
                      <a:pt x="1392" y="1340"/>
                    </a:lnTo>
                    <a:lnTo>
                      <a:pt x="1392" y="1340"/>
                    </a:lnTo>
                    <a:lnTo>
                      <a:pt x="1389" y="1340"/>
                    </a:lnTo>
                    <a:lnTo>
                      <a:pt x="1389" y="1337"/>
                    </a:lnTo>
                    <a:lnTo>
                      <a:pt x="1330" y="1337"/>
                    </a:lnTo>
                    <a:lnTo>
                      <a:pt x="1309" y="1337"/>
                    </a:lnTo>
                    <a:lnTo>
                      <a:pt x="1304" y="1337"/>
                    </a:lnTo>
                    <a:lnTo>
                      <a:pt x="1293" y="1335"/>
                    </a:lnTo>
                    <a:lnTo>
                      <a:pt x="1293" y="1342"/>
                    </a:lnTo>
                    <a:lnTo>
                      <a:pt x="1293" y="1344"/>
                    </a:lnTo>
                    <a:lnTo>
                      <a:pt x="1293" y="1344"/>
                    </a:lnTo>
                    <a:lnTo>
                      <a:pt x="1290" y="1347"/>
                    </a:lnTo>
                    <a:lnTo>
                      <a:pt x="1290" y="1349"/>
                    </a:lnTo>
                    <a:lnTo>
                      <a:pt x="1288" y="1351"/>
                    </a:lnTo>
                    <a:lnTo>
                      <a:pt x="1288" y="1351"/>
                    </a:lnTo>
                    <a:lnTo>
                      <a:pt x="1288" y="1354"/>
                    </a:lnTo>
                    <a:lnTo>
                      <a:pt x="1288" y="1356"/>
                    </a:lnTo>
                    <a:lnTo>
                      <a:pt x="1285" y="1356"/>
                    </a:lnTo>
                    <a:lnTo>
                      <a:pt x="1283" y="1361"/>
                    </a:lnTo>
                    <a:lnTo>
                      <a:pt x="1278" y="1363"/>
                    </a:lnTo>
                    <a:lnTo>
                      <a:pt x="1276" y="1366"/>
                    </a:lnTo>
                    <a:lnTo>
                      <a:pt x="1276" y="1368"/>
                    </a:lnTo>
                    <a:lnTo>
                      <a:pt x="1281" y="1373"/>
                    </a:lnTo>
                    <a:lnTo>
                      <a:pt x="1276" y="1375"/>
                    </a:lnTo>
                    <a:lnTo>
                      <a:pt x="1276" y="1377"/>
                    </a:lnTo>
                    <a:lnTo>
                      <a:pt x="1276" y="1380"/>
                    </a:lnTo>
                    <a:lnTo>
                      <a:pt x="1274" y="1382"/>
                    </a:lnTo>
                    <a:lnTo>
                      <a:pt x="1274" y="1385"/>
                    </a:lnTo>
                    <a:lnTo>
                      <a:pt x="1271" y="1385"/>
                    </a:lnTo>
                    <a:lnTo>
                      <a:pt x="1267" y="1380"/>
                    </a:lnTo>
                    <a:lnTo>
                      <a:pt x="1264" y="1380"/>
                    </a:lnTo>
                    <a:lnTo>
                      <a:pt x="1262" y="1377"/>
                    </a:lnTo>
                    <a:lnTo>
                      <a:pt x="1262" y="1377"/>
                    </a:lnTo>
                    <a:lnTo>
                      <a:pt x="1259" y="1377"/>
                    </a:lnTo>
                    <a:lnTo>
                      <a:pt x="1259" y="1380"/>
                    </a:lnTo>
                    <a:lnTo>
                      <a:pt x="1257" y="1382"/>
                    </a:lnTo>
                    <a:lnTo>
                      <a:pt x="1257" y="1385"/>
                    </a:lnTo>
                    <a:lnTo>
                      <a:pt x="1255" y="1382"/>
                    </a:lnTo>
                    <a:lnTo>
                      <a:pt x="1252" y="1385"/>
                    </a:lnTo>
                    <a:lnTo>
                      <a:pt x="1252" y="1392"/>
                    </a:lnTo>
                    <a:lnTo>
                      <a:pt x="1248" y="1394"/>
                    </a:lnTo>
                    <a:lnTo>
                      <a:pt x="1248" y="1396"/>
                    </a:lnTo>
                    <a:lnTo>
                      <a:pt x="1250" y="1396"/>
                    </a:lnTo>
                    <a:lnTo>
                      <a:pt x="1252" y="1399"/>
                    </a:lnTo>
                    <a:lnTo>
                      <a:pt x="1252" y="1399"/>
                    </a:lnTo>
                    <a:lnTo>
                      <a:pt x="1248" y="1403"/>
                    </a:lnTo>
                    <a:lnTo>
                      <a:pt x="1248" y="1403"/>
                    </a:lnTo>
                    <a:lnTo>
                      <a:pt x="1250" y="1406"/>
                    </a:lnTo>
                    <a:lnTo>
                      <a:pt x="1252" y="1408"/>
                    </a:lnTo>
                    <a:lnTo>
                      <a:pt x="1252" y="1413"/>
                    </a:lnTo>
                    <a:lnTo>
                      <a:pt x="1255" y="1413"/>
                    </a:lnTo>
                    <a:lnTo>
                      <a:pt x="1255" y="1413"/>
                    </a:lnTo>
                    <a:lnTo>
                      <a:pt x="1255" y="1415"/>
                    </a:lnTo>
                    <a:lnTo>
                      <a:pt x="1252" y="1420"/>
                    </a:lnTo>
                    <a:lnTo>
                      <a:pt x="1250" y="1420"/>
                    </a:lnTo>
                    <a:lnTo>
                      <a:pt x="1250" y="1418"/>
                    </a:lnTo>
                    <a:lnTo>
                      <a:pt x="1250" y="1418"/>
                    </a:lnTo>
                    <a:lnTo>
                      <a:pt x="1248" y="1415"/>
                    </a:lnTo>
                    <a:lnTo>
                      <a:pt x="1248" y="1415"/>
                    </a:lnTo>
                    <a:lnTo>
                      <a:pt x="1248" y="1418"/>
                    </a:lnTo>
                    <a:lnTo>
                      <a:pt x="1245" y="1422"/>
                    </a:lnTo>
                    <a:lnTo>
                      <a:pt x="1245" y="1422"/>
                    </a:lnTo>
                    <a:lnTo>
                      <a:pt x="1245" y="1425"/>
                    </a:lnTo>
                    <a:lnTo>
                      <a:pt x="1243" y="1425"/>
                    </a:lnTo>
                    <a:lnTo>
                      <a:pt x="1243" y="1427"/>
                    </a:lnTo>
                    <a:lnTo>
                      <a:pt x="1243" y="1427"/>
                    </a:lnTo>
                    <a:lnTo>
                      <a:pt x="1241" y="1432"/>
                    </a:lnTo>
                    <a:lnTo>
                      <a:pt x="1241" y="1434"/>
                    </a:lnTo>
                    <a:lnTo>
                      <a:pt x="1236" y="1434"/>
                    </a:lnTo>
                    <a:lnTo>
                      <a:pt x="1236" y="1434"/>
                    </a:lnTo>
                    <a:lnTo>
                      <a:pt x="1233" y="1434"/>
                    </a:lnTo>
                    <a:lnTo>
                      <a:pt x="1231" y="1434"/>
                    </a:lnTo>
                    <a:lnTo>
                      <a:pt x="1229" y="1434"/>
                    </a:lnTo>
                    <a:lnTo>
                      <a:pt x="1229" y="1434"/>
                    </a:lnTo>
                    <a:lnTo>
                      <a:pt x="1226" y="1439"/>
                    </a:lnTo>
                    <a:lnTo>
                      <a:pt x="1226" y="1441"/>
                    </a:lnTo>
                    <a:lnTo>
                      <a:pt x="1229" y="1446"/>
                    </a:lnTo>
                    <a:lnTo>
                      <a:pt x="1229" y="1448"/>
                    </a:lnTo>
                    <a:lnTo>
                      <a:pt x="1224" y="1451"/>
                    </a:lnTo>
                    <a:lnTo>
                      <a:pt x="1224" y="1451"/>
                    </a:lnTo>
                    <a:lnTo>
                      <a:pt x="1224" y="1451"/>
                    </a:lnTo>
                    <a:lnTo>
                      <a:pt x="1226" y="1453"/>
                    </a:lnTo>
                    <a:lnTo>
                      <a:pt x="1226" y="1458"/>
                    </a:lnTo>
                    <a:lnTo>
                      <a:pt x="1226" y="1462"/>
                    </a:lnTo>
                    <a:lnTo>
                      <a:pt x="1226" y="1465"/>
                    </a:lnTo>
                    <a:lnTo>
                      <a:pt x="1226" y="1467"/>
                    </a:lnTo>
                    <a:lnTo>
                      <a:pt x="1222" y="1467"/>
                    </a:lnTo>
                    <a:lnTo>
                      <a:pt x="1215" y="1470"/>
                    </a:lnTo>
                    <a:lnTo>
                      <a:pt x="1212" y="1470"/>
                    </a:lnTo>
                    <a:lnTo>
                      <a:pt x="1207" y="1470"/>
                    </a:lnTo>
                    <a:lnTo>
                      <a:pt x="1205" y="1470"/>
                    </a:lnTo>
                    <a:lnTo>
                      <a:pt x="1203" y="1470"/>
                    </a:lnTo>
                    <a:lnTo>
                      <a:pt x="1203" y="1470"/>
                    </a:lnTo>
                    <a:lnTo>
                      <a:pt x="1205" y="1465"/>
                    </a:lnTo>
                    <a:lnTo>
                      <a:pt x="1205" y="1462"/>
                    </a:lnTo>
                    <a:lnTo>
                      <a:pt x="1205" y="1462"/>
                    </a:lnTo>
                    <a:lnTo>
                      <a:pt x="1203" y="1462"/>
                    </a:lnTo>
                    <a:lnTo>
                      <a:pt x="1196" y="1465"/>
                    </a:lnTo>
                    <a:lnTo>
                      <a:pt x="1193" y="1467"/>
                    </a:lnTo>
                    <a:lnTo>
                      <a:pt x="1191" y="1467"/>
                    </a:lnTo>
                    <a:lnTo>
                      <a:pt x="1189" y="1467"/>
                    </a:lnTo>
                    <a:lnTo>
                      <a:pt x="1186" y="1467"/>
                    </a:lnTo>
                    <a:lnTo>
                      <a:pt x="1186" y="1467"/>
                    </a:lnTo>
                    <a:lnTo>
                      <a:pt x="1182" y="1470"/>
                    </a:lnTo>
                    <a:lnTo>
                      <a:pt x="1177" y="1467"/>
                    </a:lnTo>
                    <a:lnTo>
                      <a:pt x="1174" y="1467"/>
                    </a:lnTo>
                    <a:lnTo>
                      <a:pt x="1174" y="1470"/>
                    </a:lnTo>
                    <a:lnTo>
                      <a:pt x="1172" y="1470"/>
                    </a:lnTo>
                    <a:lnTo>
                      <a:pt x="1172" y="1470"/>
                    </a:lnTo>
                    <a:lnTo>
                      <a:pt x="1172" y="1472"/>
                    </a:lnTo>
                    <a:lnTo>
                      <a:pt x="1170" y="1472"/>
                    </a:lnTo>
                    <a:lnTo>
                      <a:pt x="1170" y="1472"/>
                    </a:lnTo>
                    <a:lnTo>
                      <a:pt x="1167" y="1472"/>
                    </a:lnTo>
                    <a:lnTo>
                      <a:pt x="1165" y="1472"/>
                    </a:lnTo>
                    <a:lnTo>
                      <a:pt x="1163" y="1472"/>
                    </a:lnTo>
                    <a:lnTo>
                      <a:pt x="1160" y="1472"/>
                    </a:lnTo>
                    <a:lnTo>
                      <a:pt x="1158" y="1470"/>
                    </a:lnTo>
                    <a:lnTo>
                      <a:pt x="1158" y="1470"/>
                    </a:lnTo>
                    <a:lnTo>
                      <a:pt x="1156" y="1470"/>
                    </a:lnTo>
                    <a:lnTo>
                      <a:pt x="1156" y="1470"/>
                    </a:lnTo>
                    <a:lnTo>
                      <a:pt x="1151" y="1472"/>
                    </a:lnTo>
                    <a:lnTo>
                      <a:pt x="1148" y="1474"/>
                    </a:lnTo>
                    <a:lnTo>
                      <a:pt x="1148" y="1474"/>
                    </a:lnTo>
                    <a:lnTo>
                      <a:pt x="1146" y="1470"/>
                    </a:lnTo>
                    <a:lnTo>
                      <a:pt x="1146" y="1470"/>
                    </a:lnTo>
                    <a:lnTo>
                      <a:pt x="1144" y="1470"/>
                    </a:lnTo>
                    <a:lnTo>
                      <a:pt x="1141" y="1470"/>
                    </a:lnTo>
                    <a:lnTo>
                      <a:pt x="1139" y="1470"/>
                    </a:lnTo>
                    <a:lnTo>
                      <a:pt x="1134" y="1472"/>
                    </a:lnTo>
                    <a:lnTo>
                      <a:pt x="1132" y="1474"/>
                    </a:lnTo>
                    <a:lnTo>
                      <a:pt x="1132" y="1477"/>
                    </a:lnTo>
                    <a:lnTo>
                      <a:pt x="1130" y="1477"/>
                    </a:lnTo>
                    <a:lnTo>
                      <a:pt x="1130" y="1477"/>
                    </a:lnTo>
                    <a:lnTo>
                      <a:pt x="1130" y="1477"/>
                    </a:lnTo>
                    <a:lnTo>
                      <a:pt x="1130" y="1481"/>
                    </a:lnTo>
                    <a:lnTo>
                      <a:pt x="1127" y="1486"/>
                    </a:lnTo>
                    <a:lnTo>
                      <a:pt x="1127" y="1488"/>
                    </a:lnTo>
                    <a:lnTo>
                      <a:pt x="1127" y="1488"/>
                    </a:lnTo>
                    <a:lnTo>
                      <a:pt x="1127" y="1491"/>
                    </a:lnTo>
                    <a:lnTo>
                      <a:pt x="1127" y="1491"/>
                    </a:lnTo>
                    <a:lnTo>
                      <a:pt x="1127" y="1496"/>
                    </a:lnTo>
                    <a:lnTo>
                      <a:pt x="1127" y="1496"/>
                    </a:lnTo>
                    <a:lnTo>
                      <a:pt x="1127" y="1498"/>
                    </a:lnTo>
                    <a:lnTo>
                      <a:pt x="1127" y="1498"/>
                    </a:lnTo>
                    <a:lnTo>
                      <a:pt x="1130" y="1500"/>
                    </a:lnTo>
                    <a:lnTo>
                      <a:pt x="1127" y="1500"/>
                    </a:lnTo>
                    <a:lnTo>
                      <a:pt x="1127" y="1503"/>
                    </a:lnTo>
                    <a:lnTo>
                      <a:pt x="1127" y="1505"/>
                    </a:lnTo>
                    <a:lnTo>
                      <a:pt x="1127" y="1505"/>
                    </a:lnTo>
                    <a:lnTo>
                      <a:pt x="1125" y="1507"/>
                    </a:lnTo>
                    <a:lnTo>
                      <a:pt x="1125" y="1507"/>
                    </a:lnTo>
                    <a:lnTo>
                      <a:pt x="1122" y="1510"/>
                    </a:lnTo>
                    <a:lnTo>
                      <a:pt x="1120" y="1510"/>
                    </a:lnTo>
                    <a:lnTo>
                      <a:pt x="1118" y="1510"/>
                    </a:lnTo>
                    <a:lnTo>
                      <a:pt x="1118" y="1512"/>
                    </a:lnTo>
                    <a:lnTo>
                      <a:pt x="1118" y="1514"/>
                    </a:lnTo>
                    <a:lnTo>
                      <a:pt x="1118" y="1517"/>
                    </a:lnTo>
                    <a:lnTo>
                      <a:pt x="1115" y="1517"/>
                    </a:lnTo>
                    <a:lnTo>
                      <a:pt x="1115" y="1517"/>
                    </a:lnTo>
                    <a:lnTo>
                      <a:pt x="1113" y="1517"/>
                    </a:lnTo>
                    <a:lnTo>
                      <a:pt x="1113" y="1517"/>
                    </a:lnTo>
                    <a:lnTo>
                      <a:pt x="1113" y="1519"/>
                    </a:lnTo>
                    <a:lnTo>
                      <a:pt x="1113" y="1522"/>
                    </a:lnTo>
                    <a:lnTo>
                      <a:pt x="1113" y="1524"/>
                    </a:lnTo>
                    <a:lnTo>
                      <a:pt x="1111" y="1524"/>
                    </a:lnTo>
                    <a:lnTo>
                      <a:pt x="1108" y="1524"/>
                    </a:lnTo>
                    <a:lnTo>
                      <a:pt x="1108" y="1524"/>
                    </a:lnTo>
                    <a:lnTo>
                      <a:pt x="1106" y="1524"/>
                    </a:lnTo>
                    <a:lnTo>
                      <a:pt x="1108" y="1526"/>
                    </a:lnTo>
                    <a:lnTo>
                      <a:pt x="1106" y="1526"/>
                    </a:lnTo>
                    <a:lnTo>
                      <a:pt x="1104" y="1526"/>
                    </a:lnTo>
                    <a:lnTo>
                      <a:pt x="1101" y="1531"/>
                    </a:lnTo>
                    <a:lnTo>
                      <a:pt x="1099" y="1529"/>
                    </a:lnTo>
                    <a:lnTo>
                      <a:pt x="1096" y="1526"/>
                    </a:lnTo>
                    <a:lnTo>
                      <a:pt x="1094" y="1526"/>
                    </a:lnTo>
                    <a:lnTo>
                      <a:pt x="1094" y="1526"/>
                    </a:lnTo>
                    <a:lnTo>
                      <a:pt x="1094" y="1526"/>
                    </a:lnTo>
                    <a:lnTo>
                      <a:pt x="1096" y="1524"/>
                    </a:lnTo>
                    <a:lnTo>
                      <a:pt x="1096" y="1522"/>
                    </a:lnTo>
                    <a:lnTo>
                      <a:pt x="1094" y="1519"/>
                    </a:lnTo>
                    <a:lnTo>
                      <a:pt x="1094" y="1519"/>
                    </a:lnTo>
                    <a:lnTo>
                      <a:pt x="1094" y="1517"/>
                    </a:lnTo>
                    <a:lnTo>
                      <a:pt x="1092" y="1512"/>
                    </a:lnTo>
                    <a:lnTo>
                      <a:pt x="1092" y="1510"/>
                    </a:lnTo>
                    <a:lnTo>
                      <a:pt x="1092" y="1510"/>
                    </a:lnTo>
                    <a:lnTo>
                      <a:pt x="1092" y="1507"/>
                    </a:lnTo>
                    <a:lnTo>
                      <a:pt x="1092" y="1507"/>
                    </a:lnTo>
                    <a:lnTo>
                      <a:pt x="1087" y="1505"/>
                    </a:lnTo>
                    <a:lnTo>
                      <a:pt x="1087" y="1505"/>
                    </a:lnTo>
                    <a:lnTo>
                      <a:pt x="1082" y="1507"/>
                    </a:lnTo>
                    <a:lnTo>
                      <a:pt x="1080" y="1507"/>
                    </a:lnTo>
                    <a:lnTo>
                      <a:pt x="1075" y="1512"/>
                    </a:lnTo>
                    <a:lnTo>
                      <a:pt x="1073" y="1514"/>
                    </a:lnTo>
                    <a:lnTo>
                      <a:pt x="1070" y="1514"/>
                    </a:lnTo>
                    <a:lnTo>
                      <a:pt x="1070" y="1514"/>
                    </a:lnTo>
                    <a:lnTo>
                      <a:pt x="1068" y="1514"/>
                    </a:lnTo>
                    <a:lnTo>
                      <a:pt x="1068" y="1514"/>
                    </a:lnTo>
                    <a:lnTo>
                      <a:pt x="1066" y="1514"/>
                    </a:lnTo>
                    <a:lnTo>
                      <a:pt x="1063" y="1512"/>
                    </a:lnTo>
                    <a:lnTo>
                      <a:pt x="1061" y="1512"/>
                    </a:lnTo>
                    <a:lnTo>
                      <a:pt x="1061" y="1514"/>
                    </a:lnTo>
                    <a:lnTo>
                      <a:pt x="1061" y="1514"/>
                    </a:lnTo>
                    <a:lnTo>
                      <a:pt x="1061" y="1517"/>
                    </a:lnTo>
                    <a:lnTo>
                      <a:pt x="1061" y="1519"/>
                    </a:lnTo>
                    <a:lnTo>
                      <a:pt x="1061" y="1524"/>
                    </a:lnTo>
                    <a:lnTo>
                      <a:pt x="1061" y="1524"/>
                    </a:lnTo>
                    <a:lnTo>
                      <a:pt x="1061" y="1526"/>
                    </a:lnTo>
                    <a:lnTo>
                      <a:pt x="1063" y="1531"/>
                    </a:lnTo>
                    <a:lnTo>
                      <a:pt x="1063" y="1533"/>
                    </a:lnTo>
                    <a:lnTo>
                      <a:pt x="1063" y="1531"/>
                    </a:lnTo>
                    <a:lnTo>
                      <a:pt x="1061" y="1533"/>
                    </a:lnTo>
                    <a:lnTo>
                      <a:pt x="1059" y="1531"/>
                    </a:lnTo>
                    <a:lnTo>
                      <a:pt x="1059" y="1533"/>
                    </a:lnTo>
                    <a:lnTo>
                      <a:pt x="1056" y="1533"/>
                    </a:lnTo>
                    <a:lnTo>
                      <a:pt x="1054" y="1533"/>
                    </a:lnTo>
                    <a:lnTo>
                      <a:pt x="1054" y="1531"/>
                    </a:lnTo>
                    <a:lnTo>
                      <a:pt x="1054" y="1531"/>
                    </a:lnTo>
                    <a:lnTo>
                      <a:pt x="1054" y="1531"/>
                    </a:lnTo>
                    <a:lnTo>
                      <a:pt x="1052" y="1531"/>
                    </a:lnTo>
                    <a:lnTo>
                      <a:pt x="1047" y="1526"/>
                    </a:lnTo>
                    <a:lnTo>
                      <a:pt x="1047" y="1526"/>
                    </a:lnTo>
                    <a:lnTo>
                      <a:pt x="1044" y="1526"/>
                    </a:lnTo>
                    <a:lnTo>
                      <a:pt x="1042" y="1526"/>
                    </a:lnTo>
                    <a:lnTo>
                      <a:pt x="1040" y="1526"/>
                    </a:lnTo>
                    <a:lnTo>
                      <a:pt x="1037" y="1526"/>
                    </a:lnTo>
                    <a:lnTo>
                      <a:pt x="1037" y="1529"/>
                    </a:lnTo>
                    <a:lnTo>
                      <a:pt x="1035" y="1531"/>
                    </a:lnTo>
                    <a:lnTo>
                      <a:pt x="1035" y="1531"/>
                    </a:lnTo>
                    <a:lnTo>
                      <a:pt x="1033" y="1531"/>
                    </a:lnTo>
                    <a:lnTo>
                      <a:pt x="1033" y="1531"/>
                    </a:lnTo>
                    <a:lnTo>
                      <a:pt x="1030" y="1536"/>
                    </a:lnTo>
                    <a:lnTo>
                      <a:pt x="1030" y="1538"/>
                    </a:lnTo>
                    <a:lnTo>
                      <a:pt x="1026" y="1545"/>
                    </a:lnTo>
                    <a:lnTo>
                      <a:pt x="1026" y="1545"/>
                    </a:lnTo>
                    <a:lnTo>
                      <a:pt x="1023" y="1543"/>
                    </a:lnTo>
                    <a:lnTo>
                      <a:pt x="1023" y="1543"/>
                    </a:lnTo>
                    <a:lnTo>
                      <a:pt x="1021" y="1545"/>
                    </a:lnTo>
                    <a:lnTo>
                      <a:pt x="1021" y="1545"/>
                    </a:lnTo>
                    <a:lnTo>
                      <a:pt x="1019" y="1545"/>
                    </a:lnTo>
                    <a:lnTo>
                      <a:pt x="1019" y="1547"/>
                    </a:lnTo>
                    <a:lnTo>
                      <a:pt x="1016" y="1547"/>
                    </a:lnTo>
                    <a:lnTo>
                      <a:pt x="1016" y="1545"/>
                    </a:lnTo>
                    <a:lnTo>
                      <a:pt x="1016" y="1545"/>
                    </a:lnTo>
                    <a:lnTo>
                      <a:pt x="1014" y="1545"/>
                    </a:lnTo>
                    <a:lnTo>
                      <a:pt x="1014" y="1540"/>
                    </a:lnTo>
                    <a:lnTo>
                      <a:pt x="1011" y="1540"/>
                    </a:lnTo>
                    <a:lnTo>
                      <a:pt x="1011" y="1540"/>
                    </a:lnTo>
                    <a:lnTo>
                      <a:pt x="1011" y="1538"/>
                    </a:lnTo>
                    <a:lnTo>
                      <a:pt x="1009" y="1538"/>
                    </a:lnTo>
                    <a:lnTo>
                      <a:pt x="1009" y="1538"/>
                    </a:lnTo>
                    <a:lnTo>
                      <a:pt x="1007" y="1536"/>
                    </a:lnTo>
                    <a:lnTo>
                      <a:pt x="1004" y="1536"/>
                    </a:lnTo>
                    <a:lnTo>
                      <a:pt x="1002" y="1533"/>
                    </a:lnTo>
                    <a:lnTo>
                      <a:pt x="1002" y="1533"/>
                    </a:lnTo>
                    <a:lnTo>
                      <a:pt x="1000" y="1531"/>
                    </a:lnTo>
                    <a:lnTo>
                      <a:pt x="997" y="1529"/>
                    </a:lnTo>
                    <a:lnTo>
                      <a:pt x="997" y="1526"/>
                    </a:lnTo>
                    <a:lnTo>
                      <a:pt x="995" y="1526"/>
                    </a:lnTo>
                    <a:lnTo>
                      <a:pt x="995" y="1524"/>
                    </a:lnTo>
                    <a:lnTo>
                      <a:pt x="993" y="1524"/>
                    </a:lnTo>
                    <a:lnTo>
                      <a:pt x="990" y="1524"/>
                    </a:lnTo>
                    <a:lnTo>
                      <a:pt x="988" y="1524"/>
                    </a:lnTo>
                    <a:lnTo>
                      <a:pt x="985" y="1524"/>
                    </a:lnTo>
                    <a:lnTo>
                      <a:pt x="985" y="1524"/>
                    </a:lnTo>
                    <a:lnTo>
                      <a:pt x="983" y="1526"/>
                    </a:lnTo>
                    <a:lnTo>
                      <a:pt x="978" y="1526"/>
                    </a:lnTo>
                    <a:lnTo>
                      <a:pt x="976" y="1524"/>
                    </a:lnTo>
                    <a:lnTo>
                      <a:pt x="976" y="1524"/>
                    </a:lnTo>
                    <a:lnTo>
                      <a:pt x="974" y="1524"/>
                    </a:lnTo>
                    <a:lnTo>
                      <a:pt x="971" y="1526"/>
                    </a:lnTo>
                    <a:lnTo>
                      <a:pt x="971" y="1526"/>
                    </a:lnTo>
                    <a:lnTo>
                      <a:pt x="969" y="1529"/>
                    </a:lnTo>
                    <a:lnTo>
                      <a:pt x="964" y="1526"/>
                    </a:lnTo>
                    <a:lnTo>
                      <a:pt x="964" y="1526"/>
                    </a:lnTo>
                    <a:lnTo>
                      <a:pt x="962" y="1526"/>
                    </a:lnTo>
                    <a:lnTo>
                      <a:pt x="962" y="1526"/>
                    </a:lnTo>
                    <a:lnTo>
                      <a:pt x="957" y="1524"/>
                    </a:lnTo>
                    <a:lnTo>
                      <a:pt x="957" y="1524"/>
                    </a:lnTo>
                    <a:lnTo>
                      <a:pt x="955" y="1524"/>
                    </a:lnTo>
                    <a:lnTo>
                      <a:pt x="955" y="1526"/>
                    </a:lnTo>
                    <a:lnTo>
                      <a:pt x="955" y="1529"/>
                    </a:lnTo>
                    <a:lnTo>
                      <a:pt x="952" y="1529"/>
                    </a:lnTo>
                    <a:lnTo>
                      <a:pt x="952" y="1529"/>
                    </a:lnTo>
                    <a:lnTo>
                      <a:pt x="952" y="1526"/>
                    </a:lnTo>
                    <a:lnTo>
                      <a:pt x="950" y="1526"/>
                    </a:lnTo>
                    <a:lnTo>
                      <a:pt x="948" y="1526"/>
                    </a:lnTo>
                    <a:lnTo>
                      <a:pt x="945" y="1526"/>
                    </a:lnTo>
                    <a:lnTo>
                      <a:pt x="945" y="1526"/>
                    </a:lnTo>
                    <a:lnTo>
                      <a:pt x="943" y="1526"/>
                    </a:lnTo>
                    <a:lnTo>
                      <a:pt x="938" y="1524"/>
                    </a:lnTo>
                    <a:lnTo>
                      <a:pt x="938" y="1526"/>
                    </a:lnTo>
                    <a:lnTo>
                      <a:pt x="938" y="1526"/>
                    </a:lnTo>
                    <a:lnTo>
                      <a:pt x="941" y="1529"/>
                    </a:lnTo>
                    <a:lnTo>
                      <a:pt x="943" y="1531"/>
                    </a:lnTo>
                    <a:lnTo>
                      <a:pt x="943" y="1536"/>
                    </a:lnTo>
                    <a:lnTo>
                      <a:pt x="938" y="1540"/>
                    </a:lnTo>
                    <a:lnTo>
                      <a:pt x="936" y="1543"/>
                    </a:lnTo>
                    <a:lnTo>
                      <a:pt x="933" y="1547"/>
                    </a:lnTo>
                    <a:lnTo>
                      <a:pt x="929" y="1550"/>
                    </a:lnTo>
                    <a:lnTo>
                      <a:pt x="929" y="1552"/>
                    </a:lnTo>
                    <a:lnTo>
                      <a:pt x="929" y="1552"/>
                    </a:lnTo>
                    <a:lnTo>
                      <a:pt x="929" y="1555"/>
                    </a:lnTo>
                    <a:lnTo>
                      <a:pt x="924" y="1555"/>
                    </a:lnTo>
                    <a:lnTo>
                      <a:pt x="922" y="1557"/>
                    </a:lnTo>
                    <a:lnTo>
                      <a:pt x="917" y="1559"/>
                    </a:lnTo>
                    <a:lnTo>
                      <a:pt x="917" y="1559"/>
                    </a:lnTo>
                    <a:lnTo>
                      <a:pt x="915" y="1559"/>
                    </a:lnTo>
                    <a:lnTo>
                      <a:pt x="912" y="1559"/>
                    </a:lnTo>
                    <a:lnTo>
                      <a:pt x="905" y="1564"/>
                    </a:lnTo>
                    <a:lnTo>
                      <a:pt x="905" y="1566"/>
                    </a:lnTo>
                    <a:lnTo>
                      <a:pt x="903" y="1569"/>
                    </a:lnTo>
                    <a:lnTo>
                      <a:pt x="900" y="1571"/>
                    </a:lnTo>
                    <a:lnTo>
                      <a:pt x="896" y="1571"/>
                    </a:lnTo>
                    <a:lnTo>
                      <a:pt x="893" y="1571"/>
                    </a:lnTo>
                    <a:lnTo>
                      <a:pt x="893" y="1569"/>
                    </a:lnTo>
                    <a:lnTo>
                      <a:pt x="891" y="1571"/>
                    </a:lnTo>
                    <a:lnTo>
                      <a:pt x="893" y="1571"/>
                    </a:lnTo>
                    <a:lnTo>
                      <a:pt x="893" y="1573"/>
                    </a:lnTo>
                    <a:lnTo>
                      <a:pt x="889" y="1578"/>
                    </a:lnTo>
                    <a:lnTo>
                      <a:pt x="856" y="1564"/>
                    </a:lnTo>
                    <a:lnTo>
                      <a:pt x="851" y="1562"/>
                    </a:lnTo>
                    <a:lnTo>
                      <a:pt x="846" y="1559"/>
                    </a:lnTo>
                    <a:lnTo>
                      <a:pt x="844" y="1557"/>
                    </a:lnTo>
                    <a:lnTo>
                      <a:pt x="822" y="1550"/>
                    </a:lnTo>
                    <a:lnTo>
                      <a:pt x="744" y="1514"/>
                    </a:lnTo>
                    <a:lnTo>
                      <a:pt x="714" y="1500"/>
                    </a:lnTo>
                    <a:lnTo>
                      <a:pt x="659" y="1477"/>
                    </a:lnTo>
                    <a:lnTo>
                      <a:pt x="645" y="1472"/>
                    </a:lnTo>
                    <a:lnTo>
                      <a:pt x="643" y="1470"/>
                    </a:lnTo>
                    <a:lnTo>
                      <a:pt x="638" y="1467"/>
                    </a:lnTo>
                    <a:lnTo>
                      <a:pt x="612" y="1453"/>
                    </a:lnTo>
                    <a:lnTo>
                      <a:pt x="589" y="1441"/>
                    </a:lnTo>
                    <a:lnTo>
                      <a:pt x="555" y="1425"/>
                    </a:lnTo>
                    <a:lnTo>
                      <a:pt x="541" y="1415"/>
                    </a:lnTo>
                    <a:lnTo>
                      <a:pt x="515" y="1401"/>
                    </a:lnTo>
                    <a:lnTo>
                      <a:pt x="468" y="1375"/>
                    </a:lnTo>
                    <a:lnTo>
                      <a:pt x="447" y="1366"/>
                    </a:lnTo>
                    <a:lnTo>
                      <a:pt x="437" y="1359"/>
                    </a:lnTo>
                    <a:lnTo>
                      <a:pt x="426" y="1356"/>
                    </a:lnTo>
                    <a:lnTo>
                      <a:pt x="411" y="1351"/>
                    </a:lnTo>
                    <a:lnTo>
                      <a:pt x="364" y="1342"/>
                    </a:lnTo>
                    <a:lnTo>
                      <a:pt x="326" y="1333"/>
                    </a:lnTo>
                    <a:lnTo>
                      <a:pt x="293" y="1325"/>
                    </a:lnTo>
                    <a:lnTo>
                      <a:pt x="284" y="1323"/>
                    </a:lnTo>
                    <a:lnTo>
                      <a:pt x="232" y="1311"/>
                    </a:lnTo>
                    <a:lnTo>
                      <a:pt x="230" y="1311"/>
                    </a:lnTo>
                    <a:lnTo>
                      <a:pt x="227" y="1311"/>
                    </a:lnTo>
                    <a:lnTo>
                      <a:pt x="208" y="1304"/>
                    </a:lnTo>
                    <a:lnTo>
                      <a:pt x="206" y="1304"/>
                    </a:lnTo>
                    <a:lnTo>
                      <a:pt x="147" y="1292"/>
                    </a:lnTo>
                    <a:lnTo>
                      <a:pt x="142" y="1290"/>
                    </a:lnTo>
                    <a:lnTo>
                      <a:pt x="121" y="1278"/>
                    </a:lnTo>
                    <a:lnTo>
                      <a:pt x="62" y="1252"/>
                    </a:lnTo>
                    <a:lnTo>
                      <a:pt x="10" y="1229"/>
                    </a:lnTo>
                    <a:lnTo>
                      <a:pt x="0" y="1224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17" name="Freeform 24"/>
              <p:cNvSpPr>
                <a:spLocks noEditPoints="1"/>
              </p:cNvSpPr>
              <p:nvPr/>
            </p:nvSpPr>
            <p:spPr bwMode="auto">
              <a:xfrm>
                <a:off x="8529844" y="1474696"/>
                <a:ext cx="1728823" cy="1727760"/>
              </a:xfrm>
              <a:custGeom>
                <a:avLst/>
                <a:gdLst/>
                <a:ahLst/>
                <a:cxnLst>
                  <a:cxn ang="0">
                    <a:pos x="52" y="170"/>
                  </a:cxn>
                  <a:cxn ang="0">
                    <a:pos x="82" y="137"/>
                  </a:cxn>
                  <a:cxn ang="0">
                    <a:pos x="129" y="121"/>
                  </a:cxn>
                  <a:cxn ang="0">
                    <a:pos x="174" y="114"/>
                  </a:cxn>
                  <a:cxn ang="0">
                    <a:pos x="222" y="78"/>
                  </a:cxn>
                  <a:cxn ang="0">
                    <a:pos x="271" y="90"/>
                  </a:cxn>
                  <a:cxn ang="0">
                    <a:pos x="344" y="90"/>
                  </a:cxn>
                  <a:cxn ang="0">
                    <a:pos x="373" y="64"/>
                  </a:cxn>
                  <a:cxn ang="0">
                    <a:pos x="363" y="33"/>
                  </a:cxn>
                  <a:cxn ang="0">
                    <a:pos x="413" y="24"/>
                  </a:cxn>
                  <a:cxn ang="0">
                    <a:pos x="522" y="57"/>
                  </a:cxn>
                  <a:cxn ang="0">
                    <a:pos x="543" y="107"/>
                  </a:cxn>
                  <a:cxn ang="0">
                    <a:pos x="597" y="126"/>
                  </a:cxn>
                  <a:cxn ang="0">
                    <a:pos x="630" y="149"/>
                  </a:cxn>
                  <a:cxn ang="0">
                    <a:pos x="666" y="161"/>
                  </a:cxn>
                  <a:cxn ang="0">
                    <a:pos x="696" y="215"/>
                  </a:cxn>
                  <a:cxn ang="0">
                    <a:pos x="744" y="324"/>
                  </a:cxn>
                  <a:cxn ang="0">
                    <a:pos x="810" y="435"/>
                  </a:cxn>
                  <a:cxn ang="0">
                    <a:pos x="867" y="501"/>
                  </a:cxn>
                  <a:cxn ang="0">
                    <a:pos x="956" y="381"/>
                  </a:cxn>
                  <a:cxn ang="0">
                    <a:pos x="1122" y="258"/>
                  </a:cxn>
                  <a:cxn ang="0">
                    <a:pos x="1197" y="329"/>
                  </a:cxn>
                  <a:cxn ang="0">
                    <a:pos x="1332" y="374"/>
                  </a:cxn>
                  <a:cxn ang="0">
                    <a:pos x="1398" y="428"/>
                  </a:cxn>
                  <a:cxn ang="0">
                    <a:pos x="1429" y="421"/>
                  </a:cxn>
                  <a:cxn ang="0">
                    <a:pos x="1455" y="423"/>
                  </a:cxn>
                  <a:cxn ang="0">
                    <a:pos x="1485" y="430"/>
                  </a:cxn>
                  <a:cxn ang="0">
                    <a:pos x="1500" y="437"/>
                  </a:cxn>
                  <a:cxn ang="0">
                    <a:pos x="1514" y="442"/>
                  </a:cxn>
                  <a:cxn ang="0">
                    <a:pos x="1530" y="444"/>
                  </a:cxn>
                  <a:cxn ang="0">
                    <a:pos x="1542" y="459"/>
                  </a:cxn>
                  <a:cxn ang="0">
                    <a:pos x="1552" y="456"/>
                  </a:cxn>
                  <a:cxn ang="0">
                    <a:pos x="1570" y="456"/>
                  </a:cxn>
                  <a:cxn ang="0">
                    <a:pos x="1575" y="475"/>
                  </a:cxn>
                  <a:cxn ang="0">
                    <a:pos x="1592" y="478"/>
                  </a:cxn>
                  <a:cxn ang="0">
                    <a:pos x="1606" y="466"/>
                  </a:cxn>
                  <a:cxn ang="0">
                    <a:pos x="1613" y="485"/>
                  </a:cxn>
                  <a:cxn ang="0">
                    <a:pos x="1615" y="534"/>
                  </a:cxn>
                  <a:cxn ang="0">
                    <a:pos x="1599" y="619"/>
                  </a:cxn>
                  <a:cxn ang="0">
                    <a:pos x="1573" y="676"/>
                  </a:cxn>
                  <a:cxn ang="0">
                    <a:pos x="1556" y="709"/>
                  </a:cxn>
                  <a:cxn ang="0">
                    <a:pos x="1542" y="747"/>
                  </a:cxn>
                  <a:cxn ang="0">
                    <a:pos x="1521" y="778"/>
                  </a:cxn>
                  <a:cxn ang="0">
                    <a:pos x="1504" y="813"/>
                  </a:cxn>
                  <a:cxn ang="0">
                    <a:pos x="1474" y="865"/>
                  </a:cxn>
                  <a:cxn ang="0">
                    <a:pos x="1445" y="912"/>
                  </a:cxn>
                  <a:cxn ang="0">
                    <a:pos x="1320" y="1049"/>
                  </a:cxn>
                  <a:cxn ang="0">
                    <a:pos x="1353" y="1113"/>
                  </a:cxn>
                  <a:cxn ang="0">
                    <a:pos x="1299" y="1207"/>
                  </a:cxn>
                  <a:cxn ang="0">
                    <a:pos x="1209" y="1335"/>
                  </a:cxn>
                  <a:cxn ang="0">
                    <a:pos x="1193" y="1477"/>
                  </a:cxn>
                  <a:cxn ang="0">
                    <a:pos x="1107" y="1607"/>
                  </a:cxn>
                  <a:cxn ang="0">
                    <a:pos x="233" y="1536"/>
                  </a:cxn>
                  <a:cxn ang="0">
                    <a:pos x="153" y="1439"/>
                  </a:cxn>
                  <a:cxn ang="0">
                    <a:pos x="82" y="1267"/>
                  </a:cxn>
                  <a:cxn ang="0">
                    <a:pos x="314" y="650"/>
                  </a:cxn>
                  <a:cxn ang="0">
                    <a:pos x="290" y="626"/>
                  </a:cxn>
                  <a:cxn ang="0">
                    <a:pos x="219" y="565"/>
                  </a:cxn>
                  <a:cxn ang="0">
                    <a:pos x="165" y="546"/>
                  </a:cxn>
                  <a:cxn ang="0">
                    <a:pos x="118" y="496"/>
                  </a:cxn>
                  <a:cxn ang="0">
                    <a:pos x="59" y="456"/>
                  </a:cxn>
                  <a:cxn ang="0">
                    <a:pos x="14" y="390"/>
                  </a:cxn>
                  <a:cxn ang="0">
                    <a:pos x="1559" y="447"/>
                  </a:cxn>
                </a:cxnLst>
                <a:rect l="0" t="0" r="r" b="b"/>
                <a:pathLst>
                  <a:path w="1627" h="1626">
                    <a:moveTo>
                      <a:pt x="0" y="178"/>
                    </a:moveTo>
                    <a:lnTo>
                      <a:pt x="2" y="178"/>
                    </a:lnTo>
                    <a:lnTo>
                      <a:pt x="2" y="180"/>
                    </a:lnTo>
                    <a:lnTo>
                      <a:pt x="2" y="182"/>
                    </a:lnTo>
                    <a:lnTo>
                      <a:pt x="4" y="182"/>
                    </a:lnTo>
                    <a:lnTo>
                      <a:pt x="4" y="185"/>
                    </a:lnTo>
                    <a:lnTo>
                      <a:pt x="7" y="185"/>
                    </a:lnTo>
                    <a:lnTo>
                      <a:pt x="7" y="182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11" y="185"/>
                    </a:lnTo>
                    <a:lnTo>
                      <a:pt x="11" y="185"/>
                    </a:lnTo>
                    <a:lnTo>
                      <a:pt x="11" y="182"/>
                    </a:lnTo>
                    <a:lnTo>
                      <a:pt x="14" y="182"/>
                    </a:lnTo>
                    <a:lnTo>
                      <a:pt x="16" y="185"/>
                    </a:lnTo>
                    <a:lnTo>
                      <a:pt x="16" y="182"/>
                    </a:lnTo>
                    <a:lnTo>
                      <a:pt x="18" y="180"/>
                    </a:lnTo>
                    <a:lnTo>
                      <a:pt x="18" y="182"/>
                    </a:lnTo>
                    <a:lnTo>
                      <a:pt x="23" y="178"/>
                    </a:lnTo>
                    <a:lnTo>
                      <a:pt x="21" y="175"/>
                    </a:lnTo>
                    <a:lnTo>
                      <a:pt x="21" y="175"/>
                    </a:lnTo>
                    <a:lnTo>
                      <a:pt x="23" y="170"/>
                    </a:lnTo>
                    <a:lnTo>
                      <a:pt x="23" y="170"/>
                    </a:lnTo>
                    <a:lnTo>
                      <a:pt x="23" y="170"/>
                    </a:lnTo>
                    <a:lnTo>
                      <a:pt x="26" y="170"/>
                    </a:lnTo>
                    <a:lnTo>
                      <a:pt x="28" y="170"/>
                    </a:lnTo>
                    <a:lnTo>
                      <a:pt x="28" y="170"/>
                    </a:lnTo>
                    <a:lnTo>
                      <a:pt x="28" y="173"/>
                    </a:lnTo>
                    <a:lnTo>
                      <a:pt x="30" y="170"/>
                    </a:lnTo>
                    <a:lnTo>
                      <a:pt x="33" y="170"/>
                    </a:lnTo>
                    <a:lnTo>
                      <a:pt x="33" y="170"/>
                    </a:lnTo>
                    <a:lnTo>
                      <a:pt x="35" y="170"/>
                    </a:lnTo>
                    <a:lnTo>
                      <a:pt x="35" y="173"/>
                    </a:lnTo>
                    <a:lnTo>
                      <a:pt x="37" y="173"/>
                    </a:lnTo>
                    <a:lnTo>
                      <a:pt x="37" y="173"/>
                    </a:lnTo>
                    <a:lnTo>
                      <a:pt x="40" y="173"/>
                    </a:lnTo>
                    <a:lnTo>
                      <a:pt x="40" y="173"/>
                    </a:lnTo>
                    <a:lnTo>
                      <a:pt x="40" y="170"/>
                    </a:lnTo>
                    <a:lnTo>
                      <a:pt x="42" y="170"/>
                    </a:lnTo>
                    <a:lnTo>
                      <a:pt x="42" y="170"/>
                    </a:lnTo>
                    <a:lnTo>
                      <a:pt x="42" y="170"/>
                    </a:lnTo>
                    <a:lnTo>
                      <a:pt x="44" y="170"/>
                    </a:lnTo>
                    <a:lnTo>
                      <a:pt x="44" y="170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7" y="173"/>
                    </a:lnTo>
                    <a:lnTo>
                      <a:pt x="47" y="175"/>
                    </a:lnTo>
                    <a:lnTo>
                      <a:pt x="47" y="173"/>
                    </a:lnTo>
                    <a:lnTo>
                      <a:pt x="47" y="173"/>
                    </a:lnTo>
                    <a:lnTo>
                      <a:pt x="49" y="173"/>
                    </a:lnTo>
                    <a:lnTo>
                      <a:pt x="52" y="173"/>
                    </a:lnTo>
                    <a:lnTo>
                      <a:pt x="52" y="170"/>
                    </a:lnTo>
                    <a:lnTo>
                      <a:pt x="52" y="168"/>
                    </a:lnTo>
                    <a:lnTo>
                      <a:pt x="54" y="168"/>
                    </a:lnTo>
                    <a:lnTo>
                      <a:pt x="54" y="166"/>
                    </a:lnTo>
                    <a:lnTo>
                      <a:pt x="54" y="163"/>
                    </a:lnTo>
                    <a:lnTo>
                      <a:pt x="54" y="161"/>
                    </a:lnTo>
                    <a:lnTo>
                      <a:pt x="54" y="159"/>
                    </a:lnTo>
                    <a:lnTo>
                      <a:pt x="54" y="161"/>
                    </a:lnTo>
                    <a:lnTo>
                      <a:pt x="52" y="159"/>
                    </a:lnTo>
                    <a:lnTo>
                      <a:pt x="52" y="156"/>
                    </a:lnTo>
                    <a:lnTo>
                      <a:pt x="49" y="156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52" y="152"/>
                    </a:lnTo>
                    <a:lnTo>
                      <a:pt x="49" y="152"/>
                    </a:lnTo>
                    <a:lnTo>
                      <a:pt x="49" y="149"/>
                    </a:lnTo>
                    <a:lnTo>
                      <a:pt x="49" y="147"/>
                    </a:lnTo>
                    <a:lnTo>
                      <a:pt x="52" y="147"/>
                    </a:lnTo>
                    <a:lnTo>
                      <a:pt x="52" y="147"/>
                    </a:lnTo>
                    <a:lnTo>
                      <a:pt x="54" y="147"/>
                    </a:lnTo>
                    <a:lnTo>
                      <a:pt x="54" y="147"/>
                    </a:lnTo>
                    <a:lnTo>
                      <a:pt x="56" y="149"/>
                    </a:lnTo>
                    <a:lnTo>
                      <a:pt x="56" y="147"/>
                    </a:lnTo>
                    <a:lnTo>
                      <a:pt x="59" y="147"/>
                    </a:lnTo>
                    <a:lnTo>
                      <a:pt x="61" y="147"/>
                    </a:lnTo>
                    <a:lnTo>
                      <a:pt x="63" y="147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3" y="144"/>
                    </a:lnTo>
                    <a:lnTo>
                      <a:pt x="63" y="142"/>
                    </a:lnTo>
                    <a:lnTo>
                      <a:pt x="63" y="142"/>
                    </a:lnTo>
                    <a:lnTo>
                      <a:pt x="63" y="142"/>
                    </a:lnTo>
                    <a:lnTo>
                      <a:pt x="63" y="140"/>
                    </a:lnTo>
                    <a:lnTo>
                      <a:pt x="63" y="137"/>
                    </a:lnTo>
                    <a:lnTo>
                      <a:pt x="66" y="137"/>
                    </a:lnTo>
                    <a:lnTo>
                      <a:pt x="68" y="137"/>
                    </a:lnTo>
                    <a:lnTo>
                      <a:pt x="68" y="135"/>
                    </a:lnTo>
                    <a:lnTo>
                      <a:pt x="68" y="135"/>
                    </a:lnTo>
                    <a:lnTo>
                      <a:pt x="70" y="135"/>
                    </a:lnTo>
                    <a:lnTo>
                      <a:pt x="70" y="133"/>
                    </a:lnTo>
                    <a:lnTo>
                      <a:pt x="70" y="133"/>
                    </a:lnTo>
                    <a:lnTo>
                      <a:pt x="70" y="130"/>
                    </a:lnTo>
                    <a:lnTo>
                      <a:pt x="73" y="130"/>
                    </a:lnTo>
                    <a:lnTo>
                      <a:pt x="73" y="130"/>
                    </a:lnTo>
                    <a:lnTo>
                      <a:pt x="73" y="135"/>
                    </a:lnTo>
                    <a:lnTo>
                      <a:pt x="75" y="135"/>
                    </a:lnTo>
                    <a:lnTo>
                      <a:pt x="75" y="133"/>
                    </a:lnTo>
                    <a:lnTo>
                      <a:pt x="80" y="135"/>
                    </a:lnTo>
                    <a:lnTo>
                      <a:pt x="80" y="133"/>
                    </a:lnTo>
                    <a:lnTo>
                      <a:pt x="80" y="135"/>
                    </a:lnTo>
                    <a:lnTo>
                      <a:pt x="80" y="135"/>
                    </a:lnTo>
                    <a:lnTo>
                      <a:pt x="82" y="135"/>
                    </a:lnTo>
                    <a:lnTo>
                      <a:pt x="82" y="137"/>
                    </a:lnTo>
                    <a:lnTo>
                      <a:pt x="87" y="135"/>
                    </a:lnTo>
                    <a:lnTo>
                      <a:pt x="89" y="135"/>
                    </a:lnTo>
                    <a:lnTo>
                      <a:pt x="89" y="133"/>
                    </a:lnTo>
                    <a:lnTo>
                      <a:pt x="89" y="135"/>
                    </a:lnTo>
                    <a:lnTo>
                      <a:pt x="92" y="135"/>
                    </a:lnTo>
                    <a:lnTo>
                      <a:pt x="94" y="137"/>
                    </a:lnTo>
                    <a:lnTo>
                      <a:pt x="94" y="137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6" y="142"/>
                    </a:lnTo>
                    <a:lnTo>
                      <a:pt x="99" y="142"/>
                    </a:lnTo>
                    <a:lnTo>
                      <a:pt x="101" y="142"/>
                    </a:lnTo>
                    <a:lnTo>
                      <a:pt x="101" y="142"/>
                    </a:lnTo>
                    <a:lnTo>
                      <a:pt x="101" y="142"/>
                    </a:lnTo>
                    <a:lnTo>
                      <a:pt x="103" y="142"/>
                    </a:lnTo>
                    <a:lnTo>
                      <a:pt x="103" y="140"/>
                    </a:lnTo>
                    <a:lnTo>
                      <a:pt x="106" y="140"/>
                    </a:lnTo>
                    <a:lnTo>
                      <a:pt x="108" y="140"/>
                    </a:lnTo>
                    <a:lnTo>
                      <a:pt x="111" y="142"/>
                    </a:lnTo>
                    <a:lnTo>
                      <a:pt x="111" y="142"/>
                    </a:lnTo>
                    <a:lnTo>
                      <a:pt x="113" y="142"/>
                    </a:lnTo>
                    <a:lnTo>
                      <a:pt x="113" y="142"/>
                    </a:lnTo>
                    <a:lnTo>
                      <a:pt x="113" y="140"/>
                    </a:lnTo>
                    <a:lnTo>
                      <a:pt x="113" y="140"/>
                    </a:lnTo>
                    <a:lnTo>
                      <a:pt x="115" y="137"/>
                    </a:lnTo>
                    <a:lnTo>
                      <a:pt x="113" y="135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5" y="135"/>
                    </a:lnTo>
                    <a:lnTo>
                      <a:pt x="115" y="133"/>
                    </a:lnTo>
                    <a:lnTo>
                      <a:pt x="115" y="133"/>
                    </a:lnTo>
                    <a:lnTo>
                      <a:pt x="115" y="130"/>
                    </a:lnTo>
                    <a:lnTo>
                      <a:pt x="115" y="128"/>
                    </a:lnTo>
                    <a:lnTo>
                      <a:pt x="115" y="128"/>
                    </a:lnTo>
                    <a:lnTo>
                      <a:pt x="115" y="126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5" y="123"/>
                    </a:lnTo>
                    <a:lnTo>
                      <a:pt x="118" y="123"/>
                    </a:lnTo>
                    <a:lnTo>
                      <a:pt x="118" y="123"/>
                    </a:lnTo>
                    <a:lnTo>
                      <a:pt x="118" y="123"/>
                    </a:lnTo>
                    <a:lnTo>
                      <a:pt x="120" y="123"/>
                    </a:lnTo>
                    <a:lnTo>
                      <a:pt x="122" y="123"/>
                    </a:lnTo>
                    <a:lnTo>
                      <a:pt x="125" y="123"/>
                    </a:lnTo>
                    <a:lnTo>
                      <a:pt x="125" y="123"/>
                    </a:lnTo>
                    <a:lnTo>
                      <a:pt x="125" y="121"/>
                    </a:lnTo>
                    <a:lnTo>
                      <a:pt x="127" y="121"/>
                    </a:lnTo>
                    <a:lnTo>
                      <a:pt x="127" y="121"/>
                    </a:lnTo>
                    <a:lnTo>
                      <a:pt x="127" y="121"/>
                    </a:lnTo>
                    <a:lnTo>
                      <a:pt x="129" y="121"/>
                    </a:lnTo>
                    <a:lnTo>
                      <a:pt x="129" y="119"/>
                    </a:lnTo>
                    <a:lnTo>
                      <a:pt x="132" y="121"/>
                    </a:lnTo>
                    <a:lnTo>
                      <a:pt x="132" y="119"/>
                    </a:lnTo>
                    <a:lnTo>
                      <a:pt x="134" y="119"/>
                    </a:lnTo>
                    <a:lnTo>
                      <a:pt x="134" y="119"/>
                    </a:lnTo>
                    <a:lnTo>
                      <a:pt x="134" y="119"/>
                    </a:lnTo>
                    <a:lnTo>
                      <a:pt x="137" y="119"/>
                    </a:lnTo>
                    <a:lnTo>
                      <a:pt x="137" y="119"/>
                    </a:lnTo>
                    <a:lnTo>
                      <a:pt x="139" y="119"/>
                    </a:lnTo>
                    <a:lnTo>
                      <a:pt x="139" y="119"/>
                    </a:lnTo>
                    <a:lnTo>
                      <a:pt x="139" y="116"/>
                    </a:lnTo>
                    <a:lnTo>
                      <a:pt x="139" y="116"/>
                    </a:lnTo>
                    <a:lnTo>
                      <a:pt x="139" y="114"/>
                    </a:lnTo>
                    <a:lnTo>
                      <a:pt x="141" y="114"/>
                    </a:lnTo>
                    <a:lnTo>
                      <a:pt x="141" y="114"/>
                    </a:lnTo>
                    <a:lnTo>
                      <a:pt x="144" y="114"/>
                    </a:lnTo>
                    <a:lnTo>
                      <a:pt x="144" y="114"/>
                    </a:lnTo>
                    <a:lnTo>
                      <a:pt x="144" y="114"/>
                    </a:lnTo>
                    <a:lnTo>
                      <a:pt x="146" y="114"/>
                    </a:lnTo>
                    <a:lnTo>
                      <a:pt x="146" y="114"/>
                    </a:lnTo>
                    <a:lnTo>
                      <a:pt x="148" y="114"/>
                    </a:lnTo>
                    <a:lnTo>
                      <a:pt x="148" y="114"/>
                    </a:lnTo>
                    <a:lnTo>
                      <a:pt x="148" y="114"/>
                    </a:lnTo>
                    <a:lnTo>
                      <a:pt x="151" y="114"/>
                    </a:lnTo>
                    <a:lnTo>
                      <a:pt x="148" y="114"/>
                    </a:lnTo>
                    <a:lnTo>
                      <a:pt x="151" y="114"/>
                    </a:lnTo>
                    <a:lnTo>
                      <a:pt x="151" y="114"/>
                    </a:lnTo>
                    <a:lnTo>
                      <a:pt x="151" y="116"/>
                    </a:lnTo>
                    <a:lnTo>
                      <a:pt x="153" y="116"/>
                    </a:lnTo>
                    <a:lnTo>
                      <a:pt x="155" y="116"/>
                    </a:lnTo>
                    <a:lnTo>
                      <a:pt x="155" y="116"/>
                    </a:lnTo>
                    <a:lnTo>
                      <a:pt x="155" y="116"/>
                    </a:lnTo>
                    <a:lnTo>
                      <a:pt x="155" y="119"/>
                    </a:lnTo>
                    <a:lnTo>
                      <a:pt x="158" y="119"/>
                    </a:lnTo>
                    <a:lnTo>
                      <a:pt x="158" y="119"/>
                    </a:lnTo>
                    <a:lnTo>
                      <a:pt x="160" y="119"/>
                    </a:lnTo>
                    <a:lnTo>
                      <a:pt x="160" y="116"/>
                    </a:lnTo>
                    <a:lnTo>
                      <a:pt x="163" y="116"/>
                    </a:lnTo>
                    <a:lnTo>
                      <a:pt x="163" y="119"/>
                    </a:lnTo>
                    <a:lnTo>
                      <a:pt x="165" y="116"/>
                    </a:lnTo>
                    <a:lnTo>
                      <a:pt x="165" y="116"/>
                    </a:lnTo>
                    <a:lnTo>
                      <a:pt x="167" y="116"/>
                    </a:lnTo>
                    <a:lnTo>
                      <a:pt x="167" y="119"/>
                    </a:lnTo>
                    <a:lnTo>
                      <a:pt x="167" y="119"/>
                    </a:lnTo>
                    <a:lnTo>
                      <a:pt x="167" y="116"/>
                    </a:lnTo>
                    <a:lnTo>
                      <a:pt x="170" y="119"/>
                    </a:lnTo>
                    <a:lnTo>
                      <a:pt x="170" y="116"/>
                    </a:lnTo>
                    <a:lnTo>
                      <a:pt x="172" y="116"/>
                    </a:lnTo>
                    <a:lnTo>
                      <a:pt x="172" y="116"/>
                    </a:lnTo>
                    <a:lnTo>
                      <a:pt x="172" y="114"/>
                    </a:lnTo>
                    <a:lnTo>
                      <a:pt x="172" y="114"/>
                    </a:lnTo>
                    <a:lnTo>
                      <a:pt x="174" y="114"/>
                    </a:lnTo>
                    <a:lnTo>
                      <a:pt x="174" y="114"/>
                    </a:lnTo>
                    <a:lnTo>
                      <a:pt x="174" y="114"/>
                    </a:lnTo>
                    <a:lnTo>
                      <a:pt x="174" y="111"/>
                    </a:lnTo>
                    <a:lnTo>
                      <a:pt x="174" y="109"/>
                    </a:lnTo>
                    <a:lnTo>
                      <a:pt x="177" y="109"/>
                    </a:lnTo>
                    <a:lnTo>
                      <a:pt x="177" y="109"/>
                    </a:lnTo>
                    <a:lnTo>
                      <a:pt x="177" y="107"/>
                    </a:lnTo>
                    <a:lnTo>
                      <a:pt x="177" y="104"/>
                    </a:lnTo>
                    <a:lnTo>
                      <a:pt x="177" y="104"/>
                    </a:lnTo>
                    <a:lnTo>
                      <a:pt x="179" y="104"/>
                    </a:lnTo>
                    <a:lnTo>
                      <a:pt x="179" y="104"/>
                    </a:lnTo>
                    <a:lnTo>
                      <a:pt x="184" y="102"/>
                    </a:lnTo>
                    <a:lnTo>
                      <a:pt x="184" y="102"/>
                    </a:lnTo>
                    <a:lnTo>
                      <a:pt x="184" y="100"/>
                    </a:lnTo>
                    <a:lnTo>
                      <a:pt x="184" y="100"/>
                    </a:lnTo>
                    <a:lnTo>
                      <a:pt x="184" y="97"/>
                    </a:lnTo>
                    <a:lnTo>
                      <a:pt x="186" y="97"/>
                    </a:lnTo>
                    <a:lnTo>
                      <a:pt x="184" y="95"/>
                    </a:lnTo>
                    <a:lnTo>
                      <a:pt x="186" y="93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90"/>
                    </a:lnTo>
                    <a:lnTo>
                      <a:pt x="186" y="90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91" y="88"/>
                    </a:lnTo>
                    <a:lnTo>
                      <a:pt x="193" y="88"/>
                    </a:lnTo>
                    <a:lnTo>
                      <a:pt x="193" y="88"/>
                    </a:lnTo>
                    <a:lnTo>
                      <a:pt x="196" y="85"/>
                    </a:lnTo>
                    <a:lnTo>
                      <a:pt x="196" y="83"/>
                    </a:lnTo>
                    <a:lnTo>
                      <a:pt x="193" y="83"/>
                    </a:lnTo>
                    <a:lnTo>
                      <a:pt x="196" y="83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198" y="81"/>
                    </a:lnTo>
                    <a:lnTo>
                      <a:pt x="200" y="81"/>
                    </a:lnTo>
                    <a:lnTo>
                      <a:pt x="200" y="78"/>
                    </a:lnTo>
                    <a:lnTo>
                      <a:pt x="205" y="81"/>
                    </a:lnTo>
                    <a:lnTo>
                      <a:pt x="207" y="81"/>
                    </a:lnTo>
                    <a:lnTo>
                      <a:pt x="205" y="81"/>
                    </a:lnTo>
                    <a:lnTo>
                      <a:pt x="207" y="83"/>
                    </a:lnTo>
                    <a:lnTo>
                      <a:pt x="207" y="83"/>
                    </a:lnTo>
                    <a:lnTo>
                      <a:pt x="210" y="83"/>
                    </a:lnTo>
                    <a:lnTo>
                      <a:pt x="210" y="85"/>
                    </a:lnTo>
                    <a:lnTo>
                      <a:pt x="210" y="85"/>
                    </a:lnTo>
                    <a:lnTo>
                      <a:pt x="210" y="83"/>
                    </a:lnTo>
                    <a:lnTo>
                      <a:pt x="212" y="83"/>
                    </a:lnTo>
                    <a:lnTo>
                      <a:pt x="215" y="81"/>
                    </a:lnTo>
                    <a:lnTo>
                      <a:pt x="217" y="81"/>
                    </a:lnTo>
                    <a:lnTo>
                      <a:pt x="217" y="78"/>
                    </a:lnTo>
                    <a:lnTo>
                      <a:pt x="219" y="78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6" y="76"/>
                    </a:lnTo>
                    <a:lnTo>
                      <a:pt x="226" y="76"/>
                    </a:lnTo>
                    <a:lnTo>
                      <a:pt x="226" y="74"/>
                    </a:lnTo>
                    <a:lnTo>
                      <a:pt x="226" y="74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6"/>
                    </a:lnTo>
                    <a:lnTo>
                      <a:pt x="231" y="78"/>
                    </a:lnTo>
                    <a:lnTo>
                      <a:pt x="231" y="78"/>
                    </a:lnTo>
                    <a:lnTo>
                      <a:pt x="231" y="81"/>
                    </a:lnTo>
                    <a:lnTo>
                      <a:pt x="231" y="83"/>
                    </a:lnTo>
                    <a:lnTo>
                      <a:pt x="233" y="83"/>
                    </a:lnTo>
                    <a:lnTo>
                      <a:pt x="233" y="83"/>
                    </a:lnTo>
                    <a:lnTo>
                      <a:pt x="236" y="83"/>
                    </a:lnTo>
                    <a:lnTo>
                      <a:pt x="236" y="85"/>
                    </a:lnTo>
                    <a:lnTo>
                      <a:pt x="238" y="88"/>
                    </a:lnTo>
                    <a:lnTo>
                      <a:pt x="238" y="88"/>
                    </a:lnTo>
                    <a:lnTo>
                      <a:pt x="238" y="88"/>
                    </a:lnTo>
                    <a:lnTo>
                      <a:pt x="241" y="90"/>
                    </a:lnTo>
                    <a:lnTo>
                      <a:pt x="243" y="90"/>
                    </a:lnTo>
                    <a:lnTo>
                      <a:pt x="243" y="90"/>
                    </a:lnTo>
                    <a:lnTo>
                      <a:pt x="245" y="88"/>
                    </a:lnTo>
                    <a:lnTo>
                      <a:pt x="245" y="88"/>
                    </a:lnTo>
                    <a:lnTo>
                      <a:pt x="245" y="88"/>
                    </a:lnTo>
                    <a:lnTo>
                      <a:pt x="248" y="88"/>
                    </a:lnTo>
                    <a:lnTo>
                      <a:pt x="250" y="88"/>
                    </a:lnTo>
                    <a:lnTo>
                      <a:pt x="252" y="88"/>
                    </a:lnTo>
                    <a:lnTo>
                      <a:pt x="252" y="90"/>
                    </a:lnTo>
                    <a:lnTo>
                      <a:pt x="255" y="90"/>
                    </a:lnTo>
                    <a:lnTo>
                      <a:pt x="255" y="90"/>
                    </a:lnTo>
                    <a:lnTo>
                      <a:pt x="257" y="90"/>
                    </a:lnTo>
                    <a:lnTo>
                      <a:pt x="257" y="90"/>
                    </a:lnTo>
                    <a:lnTo>
                      <a:pt x="257" y="93"/>
                    </a:lnTo>
                    <a:lnTo>
                      <a:pt x="259" y="90"/>
                    </a:lnTo>
                    <a:lnTo>
                      <a:pt x="259" y="93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4" y="93"/>
                    </a:lnTo>
                    <a:lnTo>
                      <a:pt x="264" y="93"/>
                    </a:lnTo>
                    <a:lnTo>
                      <a:pt x="266" y="95"/>
                    </a:lnTo>
                    <a:lnTo>
                      <a:pt x="264" y="95"/>
                    </a:lnTo>
                    <a:lnTo>
                      <a:pt x="266" y="95"/>
                    </a:lnTo>
                    <a:lnTo>
                      <a:pt x="266" y="97"/>
                    </a:lnTo>
                    <a:lnTo>
                      <a:pt x="266" y="97"/>
                    </a:lnTo>
                    <a:lnTo>
                      <a:pt x="266" y="97"/>
                    </a:lnTo>
                    <a:lnTo>
                      <a:pt x="266" y="95"/>
                    </a:lnTo>
                    <a:lnTo>
                      <a:pt x="269" y="95"/>
                    </a:lnTo>
                    <a:lnTo>
                      <a:pt x="269" y="93"/>
                    </a:lnTo>
                    <a:lnTo>
                      <a:pt x="269" y="93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74" y="90"/>
                    </a:lnTo>
                    <a:lnTo>
                      <a:pt x="274" y="88"/>
                    </a:lnTo>
                    <a:lnTo>
                      <a:pt x="274" y="88"/>
                    </a:lnTo>
                    <a:lnTo>
                      <a:pt x="276" y="88"/>
                    </a:lnTo>
                    <a:lnTo>
                      <a:pt x="278" y="88"/>
                    </a:lnTo>
                    <a:lnTo>
                      <a:pt x="281" y="88"/>
                    </a:lnTo>
                    <a:lnTo>
                      <a:pt x="281" y="88"/>
                    </a:lnTo>
                    <a:lnTo>
                      <a:pt x="281" y="88"/>
                    </a:lnTo>
                    <a:lnTo>
                      <a:pt x="285" y="88"/>
                    </a:lnTo>
                    <a:lnTo>
                      <a:pt x="285" y="88"/>
                    </a:lnTo>
                    <a:lnTo>
                      <a:pt x="285" y="88"/>
                    </a:lnTo>
                    <a:lnTo>
                      <a:pt x="288" y="85"/>
                    </a:lnTo>
                    <a:lnTo>
                      <a:pt x="288" y="83"/>
                    </a:lnTo>
                    <a:lnTo>
                      <a:pt x="290" y="85"/>
                    </a:lnTo>
                    <a:lnTo>
                      <a:pt x="290" y="85"/>
                    </a:lnTo>
                    <a:lnTo>
                      <a:pt x="292" y="88"/>
                    </a:lnTo>
                    <a:lnTo>
                      <a:pt x="292" y="90"/>
                    </a:lnTo>
                    <a:lnTo>
                      <a:pt x="295" y="90"/>
                    </a:lnTo>
                    <a:lnTo>
                      <a:pt x="297" y="88"/>
                    </a:lnTo>
                    <a:lnTo>
                      <a:pt x="300" y="88"/>
                    </a:lnTo>
                    <a:lnTo>
                      <a:pt x="300" y="88"/>
                    </a:lnTo>
                    <a:lnTo>
                      <a:pt x="302" y="85"/>
                    </a:lnTo>
                    <a:lnTo>
                      <a:pt x="304" y="85"/>
                    </a:lnTo>
                    <a:lnTo>
                      <a:pt x="304" y="83"/>
                    </a:lnTo>
                    <a:lnTo>
                      <a:pt x="307" y="83"/>
                    </a:lnTo>
                    <a:lnTo>
                      <a:pt x="309" y="83"/>
                    </a:lnTo>
                    <a:lnTo>
                      <a:pt x="311" y="83"/>
                    </a:lnTo>
                    <a:lnTo>
                      <a:pt x="311" y="83"/>
                    </a:lnTo>
                    <a:lnTo>
                      <a:pt x="311" y="83"/>
                    </a:lnTo>
                    <a:lnTo>
                      <a:pt x="314" y="83"/>
                    </a:lnTo>
                    <a:lnTo>
                      <a:pt x="314" y="85"/>
                    </a:lnTo>
                    <a:lnTo>
                      <a:pt x="314" y="88"/>
                    </a:lnTo>
                    <a:lnTo>
                      <a:pt x="316" y="88"/>
                    </a:lnTo>
                    <a:lnTo>
                      <a:pt x="316" y="88"/>
                    </a:lnTo>
                    <a:lnTo>
                      <a:pt x="318" y="88"/>
                    </a:lnTo>
                    <a:lnTo>
                      <a:pt x="318" y="85"/>
                    </a:lnTo>
                    <a:lnTo>
                      <a:pt x="321" y="85"/>
                    </a:lnTo>
                    <a:lnTo>
                      <a:pt x="321" y="85"/>
                    </a:lnTo>
                    <a:lnTo>
                      <a:pt x="323" y="85"/>
                    </a:lnTo>
                    <a:lnTo>
                      <a:pt x="323" y="85"/>
                    </a:lnTo>
                    <a:lnTo>
                      <a:pt x="326" y="88"/>
                    </a:lnTo>
                    <a:lnTo>
                      <a:pt x="328" y="88"/>
                    </a:lnTo>
                    <a:lnTo>
                      <a:pt x="328" y="90"/>
                    </a:lnTo>
                    <a:lnTo>
                      <a:pt x="330" y="90"/>
                    </a:lnTo>
                    <a:lnTo>
                      <a:pt x="330" y="90"/>
                    </a:lnTo>
                    <a:lnTo>
                      <a:pt x="333" y="90"/>
                    </a:lnTo>
                    <a:lnTo>
                      <a:pt x="333" y="93"/>
                    </a:lnTo>
                    <a:lnTo>
                      <a:pt x="337" y="93"/>
                    </a:lnTo>
                    <a:lnTo>
                      <a:pt x="337" y="90"/>
                    </a:lnTo>
                    <a:lnTo>
                      <a:pt x="340" y="90"/>
                    </a:lnTo>
                    <a:lnTo>
                      <a:pt x="340" y="90"/>
                    </a:lnTo>
                    <a:lnTo>
                      <a:pt x="342" y="90"/>
                    </a:lnTo>
                    <a:lnTo>
                      <a:pt x="344" y="90"/>
                    </a:lnTo>
                    <a:lnTo>
                      <a:pt x="344" y="90"/>
                    </a:lnTo>
                    <a:lnTo>
                      <a:pt x="347" y="93"/>
                    </a:lnTo>
                    <a:lnTo>
                      <a:pt x="347" y="93"/>
                    </a:lnTo>
                    <a:lnTo>
                      <a:pt x="347" y="93"/>
                    </a:lnTo>
                    <a:lnTo>
                      <a:pt x="349" y="93"/>
                    </a:lnTo>
                    <a:lnTo>
                      <a:pt x="349" y="95"/>
                    </a:lnTo>
                    <a:lnTo>
                      <a:pt x="349" y="97"/>
                    </a:lnTo>
                    <a:lnTo>
                      <a:pt x="352" y="97"/>
                    </a:lnTo>
                    <a:lnTo>
                      <a:pt x="352" y="97"/>
                    </a:lnTo>
                    <a:lnTo>
                      <a:pt x="352" y="97"/>
                    </a:lnTo>
                    <a:lnTo>
                      <a:pt x="354" y="97"/>
                    </a:lnTo>
                    <a:lnTo>
                      <a:pt x="356" y="97"/>
                    </a:lnTo>
                    <a:lnTo>
                      <a:pt x="356" y="97"/>
                    </a:lnTo>
                    <a:lnTo>
                      <a:pt x="356" y="97"/>
                    </a:lnTo>
                    <a:lnTo>
                      <a:pt x="356" y="97"/>
                    </a:lnTo>
                    <a:lnTo>
                      <a:pt x="356" y="97"/>
                    </a:lnTo>
                    <a:lnTo>
                      <a:pt x="359" y="97"/>
                    </a:lnTo>
                    <a:lnTo>
                      <a:pt x="361" y="97"/>
                    </a:lnTo>
                    <a:lnTo>
                      <a:pt x="361" y="97"/>
                    </a:lnTo>
                    <a:lnTo>
                      <a:pt x="361" y="97"/>
                    </a:lnTo>
                    <a:lnTo>
                      <a:pt x="363" y="97"/>
                    </a:lnTo>
                    <a:lnTo>
                      <a:pt x="363" y="97"/>
                    </a:lnTo>
                    <a:lnTo>
                      <a:pt x="368" y="100"/>
                    </a:lnTo>
                    <a:lnTo>
                      <a:pt x="368" y="100"/>
                    </a:lnTo>
                    <a:lnTo>
                      <a:pt x="368" y="100"/>
                    </a:lnTo>
                    <a:lnTo>
                      <a:pt x="370" y="97"/>
                    </a:lnTo>
                    <a:lnTo>
                      <a:pt x="370" y="97"/>
                    </a:lnTo>
                    <a:lnTo>
                      <a:pt x="373" y="97"/>
                    </a:lnTo>
                    <a:lnTo>
                      <a:pt x="375" y="95"/>
                    </a:lnTo>
                    <a:lnTo>
                      <a:pt x="378" y="93"/>
                    </a:lnTo>
                    <a:lnTo>
                      <a:pt x="380" y="93"/>
                    </a:lnTo>
                    <a:lnTo>
                      <a:pt x="380" y="90"/>
                    </a:lnTo>
                    <a:lnTo>
                      <a:pt x="378" y="88"/>
                    </a:lnTo>
                    <a:lnTo>
                      <a:pt x="378" y="85"/>
                    </a:lnTo>
                    <a:lnTo>
                      <a:pt x="375" y="85"/>
                    </a:lnTo>
                    <a:lnTo>
                      <a:pt x="378" y="83"/>
                    </a:lnTo>
                    <a:lnTo>
                      <a:pt x="375" y="78"/>
                    </a:lnTo>
                    <a:lnTo>
                      <a:pt x="375" y="78"/>
                    </a:lnTo>
                    <a:lnTo>
                      <a:pt x="375" y="78"/>
                    </a:lnTo>
                    <a:lnTo>
                      <a:pt x="378" y="78"/>
                    </a:lnTo>
                    <a:lnTo>
                      <a:pt x="378" y="78"/>
                    </a:lnTo>
                    <a:lnTo>
                      <a:pt x="378" y="78"/>
                    </a:lnTo>
                    <a:lnTo>
                      <a:pt x="378" y="76"/>
                    </a:lnTo>
                    <a:lnTo>
                      <a:pt x="378" y="76"/>
                    </a:lnTo>
                    <a:lnTo>
                      <a:pt x="378" y="74"/>
                    </a:lnTo>
                    <a:lnTo>
                      <a:pt x="380" y="74"/>
                    </a:lnTo>
                    <a:lnTo>
                      <a:pt x="380" y="71"/>
                    </a:lnTo>
                    <a:lnTo>
                      <a:pt x="378" y="71"/>
                    </a:lnTo>
                    <a:lnTo>
                      <a:pt x="375" y="69"/>
                    </a:lnTo>
                    <a:lnTo>
                      <a:pt x="375" y="69"/>
                    </a:lnTo>
                    <a:lnTo>
                      <a:pt x="375" y="67"/>
                    </a:lnTo>
                    <a:lnTo>
                      <a:pt x="375" y="67"/>
                    </a:lnTo>
                    <a:lnTo>
                      <a:pt x="373" y="64"/>
                    </a:lnTo>
                    <a:lnTo>
                      <a:pt x="370" y="67"/>
                    </a:lnTo>
                    <a:lnTo>
                      <a:pt x="370" y="64"/>
                    </a:lnTo>
                    <a:lnTo>
                      <a:pt x="370" y="62"/>
                    </a:lnTo>
                    <a:lnTo>
                      <a:pt x="370" y="62"/>
                    </a:lnTo>
                    <a:lnTo>
                      <a:pt x="370" y="62"/>
                    </a:lnTo>
                    <a:lnTo>
                      <a:pt x="368" y="59"/>
                    </a:lnTo>
                    <a:lnTo>
                      <a:pt x="368" y="59"/>
                    </a:lnTo>
                    <a:lnTo>
                      <a:pt x="368" y="59"/>
                    </a:lnTo>
                    <a:lnTo>
                      <a:pt x="368" y="59"/>
                    </a:lnTo>
                    <a:lnTo>
                      <a:pt x="366" y="55"/>
                    </a:lnTo>
                    <a:lnTo>
                      <a:pt x="366" y="55"/>
                    </a:lnTo>
                    <a:lnTo>
                      <a:pt x="361" y="55"/>
                    </a:lnTo>
                    <a:lnTo>
                      <a:pt x="361" y="55"/>
                    </a:lnTo>
                    <a:lnTo>
                      <a:pt x="361" y="52"/>
                    </a:lnTo>
                    <a:lnTo>
                      <a:pt x="359" y="52"/>
                    </a:lnTo>
                    <a:lnTo>
                      <a:pt x="359" y="52"/>
                    </a:lnTo>
                    <a:lnTo>
                      <a:pt x="361" y="52"/>
                    </a:lnTo>
                    <a:lnTo>
                      <a:pt x="361" y="50"/>
                    </a:lnTo>
                    <a:lnTo>
                      <a:pt x="361" y="50"/>
                    </a:lnTo>
                    <a:lnTo>
                      <a:pt x="361" y="50"/>
                    </a:lnTo>
                    <a:lnTo>
                      <a:pt x="361" y="48"/>
                    </a:lnTo>
                    <a:lnTo>
                      <a:pt x="361" y="48"/>
                    </a:lnTo>
                    <a:lnTo>
                      <a:pt x="359" y="48"/>
                    </a:lnTo>
                    <a:lnTo>
                      <a:pt x="359" y="45"/>
                    </a:lnTo>
                    <a:lnTo>
                      <a:pt x="356" y="45"/>
                    </a:lnTo>
                    <a:lnTo>
                      <a:pt x="356" y="45"/>
                    </a:lnTo>
                    <a:lnTo>
                      <a:pt x="354" y="45"/>
                    </a:lnTo>
                    <a:lnTo>
                      <a:pt x="352" y="45"/>
                    </a:lnTo>
                    <a:lnTo>
                      <a:pt x="352" y="45"/>
                    </a:lnTo>
                    <a:lnTo>
                      <a:pt x="352" y="43"/>
                    </a:lnTo>
                    <a:lnTo>
                      <a:pt x="349" y="43"/>
                    </a:lnTo>
                    <a:lnTo>
                      <a:pt x="349" y="43"/>
                    </a:lnTo>
                    <a:lnTo>
                      <a:pt x="352" y="41"/>
                    </a:lnTo>
                    <a:lnTo>
                      <a:pt x="352" y="41"/>
                    </a:lnTo>
                    <a:lnTo>
                      <a:pt x="352" y="38"/>
                    </a:lnTo>
                    <a:lnTo>
                      <a:pt x="352" y="36"/>
                    </a:lnTo>
                    <a:lnTo>
                      <a:pt x="354" y="36"/>
                    </a:lnTo>
                    <a:lnTo>
                      <a:pt x="356" y="36"/>
                    </a:lnTo>
                    <a:lnTo>
                      <a:pt x="356" y="33"/>
                    </a:lnTo>
                    <a:lnTo>
                      <a:pt x="354" y="33"/>
                    </a:lnTo>
                    <a:lnTo>
                      <a:pt x="356" y="31"/>
                    </a:lnTo>
                    <a:lnTo>
                      <a:pt x="356" y="31"/>
                    </a:lnTo>
                    <a:lnTo>
                      <a:pt x="356" y="29"/>
                    </a:lnTo>
                    <a:lnTo>
                      <a:pt x="356" y="29"/>
                    </a:lnTo>
                    <a:lnTo>
                      <a:pt x="356" y="29"/>
                    </a:lnTo>
                    <a:lnTo>
                      <a:pt x="356" y="29"/>
                    </a:lnTo>
                    <a:lnTo>
                      <a:pt x="359" y="29"/>
                    </a:lnTo>
                    <a:lnTo>
                      <a:pt x="359" y="31"/>
                    </a:lnTo>
                    <a:lnTo>
                      <a:pt x="359" y="33"/>
                    </a:lnTo>
                    <a:lnTo>
                      <a:pt x="361" y="33"/>
                    </a:lnTo>
                    <a:lnTo>
                      <a:pt x="363" y="33"/>
                    </a:lnTo>
                    <a:lnTo>
                      <a:pt x="363" y="33"/>
                    </a:lnTo>
                    <a:lnTo>
                      <a:pt x="363" y="33"/>
                    </a:lnTo>
                    <a:lnTo>
                      <a:pt x="363" y="31"/>
                    </a:lnTo>
                    <a:lnTo>
                      <a:pt x="363" y="31"/>
                    </a:lnTo>
                    <a:lnTo>
                      <a:pt x="363" y="31"/>
                    </a:lnTo>
                    <a:lnTo>
                      <a:pt x="361" y="31"/>
                    </a:lnTo>
                    <a:lnTo>
                      <a:pt x="361" y="29"/>
                    </a:lnTo>
                    <a:lnTo>
                      <a:pt x="363" y="26"/>
                    </a:lnTo>
                    <a:lnTo>
                      <a:pt x="363" y="26"/>
                    </a:lnTo>
                    <a:lnTo>
                      <a:pt x="366" y="24"/>
                    </a:lnTo>
                    <a:lnTo>
                      <a:pt x="366" y="24"/>
                    </a:lnTo>
                    <a:lnTo>
                      <a:pt x="366" y="24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19"/>
                    </a:lnTo>
                    <a:lnTo>
                      <a:pt x="368" y="19"/>
                    </a:lnTo>
                    <a:lnTo>
                      <a:pt x="368" y="19"/>
                    </a:lnTo>
                    <a:lnTo>
                      <a:pt x="366" y="19"/>
                    </a:lnTo>
                    <a:lnTo>
                      <a:pt x="366" y="19"/>
                    </a:lnTo>
                    <a:lnTo>
                      <a:pt x="366" y="17"/>
                    </a:lnTo>
                    <a:lnTo>
                      <a:pt x="368" y="17"/>
                    </a:lnTo>
                    <a:lnTo>
                      <a:pt x="368" y="15"/>
                    </a:lnTo>
                    <a:lnTo>
                      <a:pt x="368" y="15"/>
                    </a:lnTo>
                    <a:lnTo>
                      <a:pt x="370" y="12"/>
                    </a:lnTo>
                    <a:lnTo>
                      <a:pt x="368" y="12"/>
                    </a:lnTo>
                    <a:lnTo>
                      <a:pt x="368" y="10"/>
                    </a:lnTo>
                    <a:lnTo>
                      <a:pt x="368" y="10"/>
                    </a:lnTo>
                    <a:lnTo>
                      <a:pt x="370" y="7"/>
                    </a:lnTo>
                    <a:lnTo>
                      <a:pt x="370" y="7"/>
                    </a:lnTo>
                    <a:lnTo>
                      <a:pt x="375" y="7"/>
                    </a:lnTo>
                    <a:lnTo>
                      <a:pt x="378" y="7"/>
                    </a:lnTo>
                    <a:lnTo>
                      <a:pt x="378" y="10"/>
                    </a:lnTo>
                    <a:lnTo>
                      <a:pt x="378" y="10"/>
                    </a:lnTo>
                    <a:lnTo>
                      <a:pt x="380" y="10"/>
                    </a:lnTo>
                    <a:lnTo>
                      <a:pt x="380" y="10"/>
                    </a:lnTo>
                    <a:lnTo>
                      <a:pt x="382" y="12"/>
                    </a:lnTo>
                    <a:lnTo>
                      <a:pt x="382" y="15"/>
                    </a:lnTo>
                    <a:lnTo>
                      <a:pt x="382" y="15"/>
                    </a:lnTo>
                    <a:lnTo>
                      <a:pt x="385" y="15"/>
                    </a:lnTo>
                    <a:lnTo>
                      <a:pt x="385" y="15"/>
                    </a:lnTo>
                    <a:lnTo>
                      <a:pt x="385" y="17"/>
                    </a:lnTo>
                    <a:lnTo>
                      <a:pt x="387" y="17"/>
                    </a:lnTo>
                    <a:lnTo>
                      <a:pt x="394" y="17"/>
                    </a:lnTo>
                    <a:lnTo>
                      <a:pt x="394" y="17"/>
                    </a:lnTo>
                    <a:lnTo>
                      <a:pt x="396" y="17"/>
                    </a:lnTo>
                    <a:lnTo>
                      <a:pt x="396" y="19"/>
                    </a:lnTo>
                    <a:lnTo>
                      <a:pt x="396" y="19"/>
                    </a:lnTo>
                    <a:lnTo>
                      <a:pt x="396" y="22"/>
                    </a:lnTo>
                    <a:lnTo>
                      <a:pt x="399" y="24"/>
                    </a:lnTo>
                    <a:lnTo>
                      <a:pt x="403" y="24"/>
                    </a:lnTo>
                    <a:lnTo>
                      <a:pt x="403" y="24"/>
                    </a:lnTo>
                    <a:lnTo>
                      <a:pt x="406" y="22"/>
                    </a:lnTo>
                    <a:lnTo>
                      <a:pt x="408" y="24"/>
                    </a:lnTo>
                    <a:lnTo>
                      <a:pt x="411" y="22"/>
                    </a:lnTo>
                    <a:lnTo>
                      <a:pt x="413" y="24"/>
                    </a:lnTo>
                    <a:lnTo>
                      <a:pt x="413" y="24"/>
                    </a:lnTo>
                    <a:lnTo>
                      <a:pt x="415" y="22"/>
                    </a:lnTo>
                    <a:lnTo>
                      <a:pt x="415" y="22"/>
                    </a:lnTo>
                    <a:lnTo>
                      <a:pt x="418" y="22"/>
                    </a:lnTo>
                    <a:lnTo>
                      <a:pt x="418" y="19"/>
                    </a:lnTo>
                    <a:lnTo>
                      <a:pt x="420" y="22"/>
                    </a:lnTo>
                    <a:lnTo>
                      <a:pt x="420" y="19"/>
                    </a:lnTo>
                    <a:lnTo>
                      <a:pt x="422" y="22"/>
                    </a:lnTo>
                    <a:lnTo>
                      <a:pt x="425" y="22"/>
                    </a:lnTo>
                    <a:lnTo>
                      <a:pt x="427" y="22"/>
                    </a:lnTo>
                    <a:lnTo>
                      <a:pt x="427" y="19"/>
                    </a:lnTo>
                    <a:lnTo>
                      <a:pt x="429" y="19"/>
                    </a:lnTo>
                    <a:lnTo>
                      <a:pt x="432" y="19"/>
                    </a:lnTo>
                    <a:lnTo>
                      <a:pt x="439" y="19"/>
                    </a:lnTo>
                    <a:lnTo>
                      <a:pt x="444" y="24"/>
                    </a:lnTo>
                    <a:lnTo>
                      <a:pt x="451" y="19"/>
                    </a:lnTo>
                    <a:lnTo>
                      <a:pt x="448" y="15"/>
                    </a:lnTo>
                    <a:lnTo>
                      <a:pt x="453" y="10"/>
                    </a:lnTo>
                    <a:lnTo>
                      <a:pt x="458" y="10"/>
                    </a:lnTo>
                    <a:lnTo>
                      <a:pt x="465" y="12"/>
                    </a:lnTo>
                    <a:lnTo>
                      <a:pt x="467" y="10"/>
                    </a:lnTo>
                    <a:lnTo>
                      <a:pt x="472" y="5"/>
                    </a:lnTo>
                    <a:lnTo>
                      <a:pt x="479" y="3"/>
                    </a:lnTo>
                    <a:lnTo>
                      <a:pt x="481" y="7"/>
                    </a:lnTo>
                    <a:lnTo>
                      <a:pt x="486" y="5"/>
                    </a:lnTo>
                    <a:lnTo>
                      <a:pt x="493" y="0"/>
                    </a:lnTo>
                    <a:lnTo>
                      <a:pt x="500" y="0"/>
                    </a:lnTo>
                    <a:lnTo>
                      <a:pt x="503" y="10"/>
                    </a:lnTo>
                    <a:lnTo>
                      <a:pt x="505" y="12"/>
                    </a:lnTo>
                    <a:lnTo>
                      <a:pt x="510" y="19"/>
                    </a:lnTo>
                    <a:lnTo>
                      <a:pt x="510" y="22"/>
                    </a:lnTo>
                    <a:lnTo>
                      <a:pt x="510" y="24"/>
                    </a:lnTo>
                    <a:lnTo>
                      <a:pt x="510" y="24"/>
                    </a:lnTo>
                    <a:lnTo>
                      <a:pt x="512" y="24"/>
                    </a:lnTo>
                    <a:lnTo>
                      <a:pt x="517" y="33"/>
                    </a:lnTo>
                    <a:lnTo>
                      <a:pt x="519" y="33"/>
                    </a:lnTo>
                    <a:lnTo>
                      <a:pt x="519" y="36"/>
                    </a:lnTo>
                    <a:lnTo>
                      <a:pt x="519" y="36"/>
                    </a:lnTo>
                    <a:lnTo>
                      <a:pt x="517" y="38"/>
                    </a:lnTo>
                    <a:lnTo>
                      <a:pt x="519" y="41"/>
                    </a:lnTo>
                    <a:lnTo>
                      <a:pt x="517" y="41"/>
                    </a:lnTo>
                    <a:lnTo>
                      <a:pt x="517" y="43"/>
                    </a:lnTo>
                    <a:lnTo>
                      <a:pt x="519" y="45"/>
                    </a:lnTo>
                    <a:lnTo>
                      <a:pt x="522" y="48"/>
                    </a:lnTo>
                    <a:lnTo>
                      <a:pt x="522" y="50"/>
                    </a:lnTo>
                    <a:lnTo>
                      <a:pt x="524" y="50"/>
                    </a:lnTo>
                    <a:lnTo>
                      <a:pt x="524" y="50"/>
                    </a:lnTo>
                    <a:lnTo>
                      <a:pt x="524" y="52"/>
                    </a:lnTo>
                    <a:lnTo>
                      <a:pt x="524" y="52"/>
                    </a:lnTo>
                    <a:lnTo>
                      <a:pt x="524" y="55"/>
                    </a:lnTo>
                    <a:lnTo>
                      <a:pt x="522" y="55"/>
                    </a:lnTo>
                    <a:lnTo>
                      <a:pt x="522" y="55"/>
                    </a:lnTo>
                    <a:lnTo>
                      <a:pt x="522" y="57"/>
                    </a:lnTo>
                    <a:lnTo>
                      <a:pt x="519" y="57"/>
                    </a:lnTo>
                    <a:lnTo>
                      <a:pt x="519" y="59"/>
                    </a:lnTo>
                    <a:lnTo>
                      <a:pt x="517" y="59"/>
                    </a:lnTo>
                    <a:lnTo>
                      <a:pt x="519" y="59"/>
                    </a:lnTo>
                    <a:lnTo>
                      <a:pt x="517" y="62"/>
                    </a:lnTo>
                    <a:lnTo>
                      <a:pt x="519" y="64"/>
                    </a:lnTo>
                    <a:lnTo>
                      <a:pt x="517" y="64"/>
                    </a:lnTo>
                    <a:lnTo>
                      <a:pt x="517" y="69"/>
                    </a:lnTo>
                    <a:lnTo>
                      <a:pt x="517" y="69"/>
                    </a:lnTo>
                    <a:lnTo>
                      <a:pt x="517" y="69"/>
                    </a:lnTo>
                    <a:lnTo>
                      <a:pt x="517" y="71"/>
                    </a:lnTo>
                    <a:lnTo>
                      <a:pt x="517" y="71"/>
                    </a:lnTo>
                    <a:lnTo>
                      <a:pt x="519" y="74"/>
                    </a:lnTo>
                    <a:lnTo>
                      <a:pt x="519" y="76"/>
                    </a:lnTo>
                    <a:lnTo>
                      <a:pt x="522" y="76"/>
                    </a:lnTo>
                    <a:lnTo>
                      <a:pt x="522" y="78"/>
                    </a:lnTo>
                    <a:lnTo>
                      <a:pt x="524" y="78"/>
                    </a:lnTo>
                    <a:lnTo>
                      <a:pt x="522" y="81"/>
                    </a:lnTo>
                    <a:lnTo>
                      <a:pt x="524" y="81"/>
                    </a:lnTo>
                    <a:lnTo>
                      <a:pt x="524" y="81"/>
                    </a:lnTo>
                    <a:lnTo>
                      <a:pt x="524" y="81"/>
                    </a:lnTo>
                    <a:lnTo>
                      <a:pt x="524" y="83"/>
                    </a:lnTo>
                    <a:lnTo>
                      <a:pt x="524" y="83"/>
                    </a:lnTo>
                    <a:lnTo>
                      <a:pt x="524" y="83"/>
                    </a:lnTo>
                    <a:lnTo>
                      <a:pt x="524" y="85"/>
                    </a:lnTo>
                    <a:lnTo>
                      <a:pt x="522" y="85"/>
                    </a:lnTo>
                    <a:lnTo>
                      <a:pt x="524" y="90"/>
                    </a:lnTo>
                    <a:lnTo>
                      <a:pt x="524" y="90"/>
                    </a:lnTo>
                    <a:lnTo>
                      <a:pt x="524" y="90"/>
                    </a:lnTo>
                    <a:lnTo>
                      <a:pt x="524" y="93"/>
                    </a:lnTo>
                    <a:lnTo>
                      <a:pt x="524" y="93"/>
                    </a:lnTo>
                    <a:lnTo>
                      <a:pt x="524" y="97"/>
                    </a:lnTo>
                    <a:lnTo>
                      <a:pt x="526" y="97"/>
                    </a:lnTo>
                    <a:lnTo>
                      <a:pt x="526" y="100"/>
                    </a:lnTo>
                    <a:lnTo>
                      <a:pt x="526" y="100"/>
                    </a:lnTo>
                    <a:lnTo>
                      <a:pt x="526" y="100"/>
                    </a:lnTo>
                    <a:lnTo>
                      <a:pt x="524" y="102"/>
                    </a:lnTo>
                    <a:lnTo>
                      <a:pt x="526" y="102"/>
                    </a:lnTo>
                    <a:lnTo>
                      <a:pt x="524" y="104"/>
                    </a:lnTo>
                    <a:lnTo>
                      <a:pt x="524" y="104"/>
                    </a:lnTo>
                    <a:lnTo>
                      <a:pt x="526" y="107"/>
                    </a:lnTo>
                    <a:lnTo>
                      <a:pt x="526" y="107"/>
                    </a:lnTo>
                    <a:lnTo>
                      <a:pt x="529" y="107"/>
                    </a:lnTo>
                    <a:lnTo>
                      <a:pt x="531" y="107"/>
                    </a:lnTo>
                    <a:lnTo>
                      <a:pt x="531" y="107"/>
                    </a:lnTo>
                    <a:lnTo>
                      <a:pt x="533" y="107"/>
                    </a:lnTo>
                    <a:lnTo>
                      <a:pt x="533" y="107"/>
                    </a:lnTo>
                    <a:lnTo>
                      <a:pt x="536" y="109"/>
                    </a:lnTo>
                    <a:lnTo>
                      <a:pt x="538" y="107"/>
                    </a:lnTo>
                    <a:lnTo>
                      <a:pt x="538" y="107"/>
                    </a:lnTo>
                    <a:lnTo>
                      <a:pt x="541" y="107"/>
                    </a:lnTo>
                    <a:lnTo>
                      <a:pt x="543" y="107"/>
                    </a:lnTo>
                    <a:lnTo>
                      <a:pt x="543" y="107"/>
                    </a:lnTo>
                    <a:lnTo>
                      <a:pt x="548" y="107"/>
                    </a:lnTo>
                    <a:lnTo>
                      <a:pt x="548" y="107"/>
                    </a:lnTo>
                    <a:lnTo>
                      <a:pt x="548" y="107"/>
                    </a:lnTo>
                    <a:lnTo>
                      <a:pt x="552" y="107"/>
                    </a:lnTo>
                    <a:lnTo>
                      <a:pt x="552" y="109"/>
                    </a:lnTo>
                    <a:lnTo>
                      <a:pt x="555" y="109"/>
                    </a:lnTo>
                    <a:lnTo>
                      <a:pt x="557" y="109"/>
                    </a:lnTo>
                    <a:lnTo>
                      <a:pt x="557" y="109"/>
                    </a:lnTo>
                    <a:lnTo>
                      <a:pt x="557" y="111"/>
                    </a:lnTo>
                    <a:lnTo>
                      <a:pt x="559" y="109"/>
                    </a:lnTo>
                    <a:lnTo>
                      <a:pt x="559" y="109"/>
                    </a:lnTo>
                    <a:lnTo>
                      <a:pt x="562" y="109"/>
                    </a:lnTo>
                    <a:lnTo>
                      <a:pt x="562" y="109"/>
                    </a:lnTo>
                    <a:lnTo>
                      <a:pt x="562" y="109"/>
                    </a:lnTo>
                    <a:lnTo>
                      <a:pt x="566" y="109"/>
                    </a:lnTo>
                    <a:lnTo>
                      <a:pt x="566" y="109"/>
                    </a:lnTo>
                    <a:lnTo>
                      <a:pt x="569" y="109"/>
                    </a:lnTo>
                    <a:lnTo>
                      <a:pt x="569" y="109"/>
                    </a:lnTo>
                    <a:lnTo>
                      <a:pt x="571" y="111"/>
                    </a:lnTo>
                    <a:lnTo>
                      <a:pt x="571" y="109"/>
                    </a:lnTo>
                    <a:lnTo>
                      <a:pt x="576" y="109"/>
                    </a:lnTo>
                    <a:lnTo>
                      <a:pt x="576" y="111"/>
                    </a:lnTo>
                    <a:lnTo>
                      <a:pt x="576" y="111"/>
                    </a:lnTo>
                    <a:lnTo>
                      <a:pt x="576" y="111"/>
                    </a:lnTo>
                    <a:lnTo>
                      <a:pt x="578" y="111"/>
                    </a:lnTo>
                    <a:lnTo>
                      <a:pt x="578" y="111"/>
                    </a:lnTo>
                    <a:lnTo>
                      <a:pt x="578" y="111"/>
                    </a:lnTo>
                    <a:lnTo>
                      <a:pt x="581" y="111"/>
                    </a:lnTo>
                    <a:lnTo>
                      <a:pt x="581" y="111"/>
                    </a:lnTo>
                    <a:lnTo>
                      <a:pt x="581" y="114"/>
                    </a:lnTo>
                    <a:lnTo>
                      <a:pt x="581" y="114"/>
                    </a:lnTo>
                    <a:lnTo>
                      <a:pt x="583" y="114"/>
                    </a:lnTo>
                    <a:lnTo>
                      <a:pt x="583" y="114"/>
                    </a:lnTo>
                    <a:lnTo>
                      <a:pt x="583" y="114"/>
                    </a:lnTo>
                    <a:lnTo>
                      <a:pt x="585" y="114"/>
                    </a:lnTo>
                    <a:lnTo>
                      <a:pt x="585" y="114"/>
                    </a:lnTo>
                    <a:lnTo>
                      <a:pt x="583" y="116"/>
                    </a:lnTo>
                    <a:lnTo>
                      <a:pt x="585" y="116"/>
                    </a:lnTo>
                    <a:lnTo>
                      <a:pt x="585" y="116"/>
                    </a:lnTo>
                    <a:lnTo>
                      <a:pt x="588" y="116"/>
                    </a:lnTo>
                    <a:lnTo>
                      <a:pt x="585" y="116"/>
                    </a:lnTo>
                    <a:lnTo>
                      <a:pt x="588" y="116"/>
                    </a:lnTo>
                    <a:lnTo>
                      <a:pt x="585" y="119"/>
                    </a:lnTo>
                    <a:lnTo>
                      <a:pt x="588" y="119"/>
                    </a:lnTo>
                    <a:lnTo>
                      <a:pt x="588" y="119"/>
                    </a:lnTo>
                    <a:lnTo>
                      <a:pt x="588" y="119"/>
                    </a:lnTo>
                    <a:lnTo>
                      <a:pt x="590" y="119"/>
                    </a:lnTo>
                    <a:lnTo>
                      <a:pt x="590" y="119"/>
                    </a:lnTo>
                    <a:lnTo>
                      <a:pt x="590" y="121"/>
                    </a:lnTo>
                    <a:lnTo>
                      <a:pt x="592" y="123"/>
                    </a:lnTo>
                    <a:lnTo>
                      <a:pt x="595" y="123"/>
                    </a:lnTo>
                    <a:lnTo>
                      <a:pt x="595" y="126"/>
                    </a:lnTo>
                    <a:lnTo>
                      <a:pt x="597" y="126"/>
                    </a:lnTo>
                    <a:lnTo>
                      <a:pt x="597" y="123"/>
                    </a:lnTo>
                    <a:lnTo>
                      <a:pt x="597" y="123"/>
                    </a:lnTo>
                    <a:lnTo>
                      <a:pt x="597" y="123"/>
                    </a:lnTo>
                    <a:lnTo>
                      <a:pt x="597" y="123"/>
                    </a:lnTo>
                    <a:lnTo>
                      <a:pt x="600" y="123"/>
                    </a:lnTo>
                    <a:lnTo>
                      <a:pt x="600" y="123"/>
                    </a:lnTo>
                    <a:lnTo>
                      <a:pt x="602" y="126"/>
                    </a:lnTo>
                    <a:lnTo>
                      <a:pt x="602" y="123"/>
                    </a:lnTo>
                    <a:lnTo>
                      <a:pt x="602" y="126"/>
                    </a:lnTo>
                    <a:lnTo>
                      <a:pt x="602" y="126"/>
                    </a:lnTo>
                    <a:lnTo>
                      <a:pt x="604" y="126"/>
                    </a:lnTo>
                    <a:lnTo>
                      <a:pt x="604" y="128"/>
                    </a:lnTo>
                    <a:lnTo>
                      <a:pt x="604" y="128"/>
                    </a:lnTo>
                    <a:lnTo>
                      <a:pt x="604" y="130"/>
                    </a:lnTo>
                    <a:lnTo>
                      <a:pt x="604" y="130"/>
                    </a:lnTo>
                    <a:lnTo>
                      <a:pt x="604" y="130"/>
                    </a:lnTo>
                    <a:lnTo>
                      <a:pt x="604" y="130"/>
                    </a:lnTo>
                    <a:lnTo>
                      <a:pt x="607" y="133"/>
                    </a:lnTo>
                    <a:lnTo>
                      <a:pt x="607" y="133"/>
                    </a:lnTo>
                    <a:lnTo>
                      <a:pt x="607" y="130"/>
                    </a:lnTo>
                    <a:lnTo>
                      <a:pt x="607" y="133"/>
                    </a:lnTo>
                    <a:lnTo>
                      <a:pt x="607" y="133"/>
                    </a:lnTo>
                    <a:lnTo>
                      <a:pt x="607" y="135"/>
                    </a:lnTo>
                    <a:lnTo>
                      <a:pt x="607" y="135"/>
                    </a:lnTo>
                    <a:lnTo>
                      <a:pt x="609" y="135"/>
                    </a:lnTo>
                    <a:lnTo>
                      <a:pt x="609" y="140"/>
                    </a:lnTo>
                    <a:lnTo>
                      <a:pt x="609" y="142"/>
                    </a:lnTo>
                    <a:lnTo>
                      <a:pt x="609" y="142"/>
                    </a:lnTo>
                    <a:lnTo>
                      <a:pt x="609" y="144"/>
                    </a:lnTo>
                    <a:lnTo>
                      <a:pt x="609" y="144"/>
                    </a:lnTo>
                    <a:lnTo>
                      <a:pt x="611" y="144"/>
                    </a:lnTo>
                    <a:lnTo>
                      <a:pt x="609" y="144"/>
                    </a:lnTo>
                    <a:lnTo>
                      <a:pt x="611" y="142"/>
                    </a:lnTo>
                    <a:lnTo>
                      <a:pt x="614" y="144"/>
                    </a:lnTo>
                    <a:lnTo>
                      <a:pt x="614" y="144"/>
                    </a:lnTo>
                    <a:lnTo>
                      <a:pt x="616" y="142"/>
                    </a:lnTo>
                    <a:lnTo>
                      <a:pt x="616" y="142"/>
                    </a:lnTo>
                    <a:lnTo>
                      <a:pt x="618" y="142"/>
                    </a:lnTo>
                    <a:lnTo>
                      <a:pt x="616" y="142"/>
                    </a:lnTo>
                    <a:lnTo>
                      <a:pt x="618" y="142"/>
                    </a:lnTo>
                    <a:lnTo>
                      <a:pt x="618" y="140"/>
                    </a:lnTo>
                    <a:lnTo>
                      <a:pt x="621" y="142"/>
                    </a:lnTo>
                    <a:lnTo>
                      <a:pt x="621" y="144"/>
                    </a:lnTo>
                    <a:lnTo>
                      <a:pt x="621" y="147"/>
                    </a:lnTo>
                    <a:lnTo>
                      <a:pt x="623" y="144"/>
                    </a:lnTo>
                    <a:lnTo>
                      <a:pt x="623" y="147"/>
                    </a:lnTo>
                    <a:lnTo>
                      <a:pt x="626" y="144"/>
                    </a:lnTo>
                    <a:lnTo>
                      <a:pt x="626" y="144"/>
                    </a:lnTo>
                    <a:lnTo>
                      <a:pt x="626" y="147"/>
                    </a:lnTo>
                    <a:lnTo>
                      <a:pt x="628" y="147"/>
                    </a:lnTo>
                    <a:lnTo>
                      <a:pt x="630" y="147"/>
                    </a:lnTo>
                    <a:lnTo>
                      <a:pt x="630" y="147"/>
                    </a:lnTo>
                    <a:lnTo>
                      <a:pt x="630" y="149"/>
                    </a:lnTo>
                    <a:lnTo>
                      <a:pt x="630" y="149"/>
                    </a:lnTo>
                    <a:lnTo>
                      <a:pt x="628" y="152"/>
                    </a:lnTo>
                    <a:lnTo>
                      <a:pt x="628" y="152"/>
                    </a:lnTo>
                    <a:lnTo>
                      <a:pt x="630" y="152"/>
                    </a:lnTo>
                    <a:lnTo>
                      <a:pt x="630" y="152"/>
                    </a:lnTo>
                    <a:lnTo>
                      <a:pt x="630" y="149"/>
                    </a:lnTo>
                    <a:lnTo>
                      <a:pt x="633" y="149"/>
                    </a:lnTo>
                    <a:lnTo>
                      <a:pt x="635" y="152"/>
                    </a:lnTo>
                    <a:lnTo>
                      <a:pt x="635" y="152"/>
                    </a:lnTo>
                    <a:lnTo>
                      <a:pt x="635" y="152"/>
                    </a:lnTo>
                    <a:lnTo>
                      <a:pt x="635" y="154"/>
                    </a:lnTo>
                    <a:lnTo>
                      <a:pt x="635" y="156"/>
                    </a:lnTo>
                    <a:lnTo>
                      <a:pt x="635" y="154"/>
                    </a:lnTo>
                    <a:lnTo>
                      <a:pt x="640" y="156"/>
                    </a:lnTo>
                    <a:lnTo>
                      <a:pt x="640" y="154"/>
                    </a:lnTo>
                    <a:lnTo>
                      <a:pt x="640" y="156"/>
                    </a:lnTo>
                    <a:lnTo>
                      <a:pt x="640" y="156"/>
                    </a:lnTo>
                    <a:lnTo>
                      <a:pt x="640" y="156"/>
                    </a:lnTo>
                    <a:lnTo>
                      <a:pt x="642" y="156"/>
                    </a:lnTo>
                    <a:lnTo>
                      <a:pt x="642" y="156"/>
                    </a:lnTo>
                    <a:lnTo>
                      <a:pt x="644" y="156"/>
                    </a:lnTo>
                    <a:lnTo>
                      <a:pt x="644" y="156"/>
                    </a:lnTo>
                    <a:lnTo>
                      <a:pt x="644" y="156"/>
                    </a:lnTo>
                    <a:lnTo>
                      <a:pt x="642" y="154"/>
                    </a:lnTo>
                    <a:lnTo>
                      <a:pt x="644" y="154"/>
                    </a:lnTo>
                    <a:lnTo>
                      <a:pt x="644" y="154"/>
                    </a:lnTo>
                    <a:lnTo>
                      <a:pt x="647" y="154"/>
                    </a:lnTo>
                    <a:lnTo>
                      <a:pt x="649" y="156"/>
                    </a:lnTo>
                    <a:lnTo>
                      <a:pt x="649" y="156"/>
                    </a:lnTo>
                    <a:lnTo>
                      <a:pt x="649" y="156"/>
                    </a:lnTo>
                    <a:lnTo>
                      <a:pt x="652" y="154"/>
                    </a:lnTo>
                    <a:lnTo>
                      <a:pt x="652" y="156"/>
                    </a:lnTo>
                    <a:lnTo>
                      <a:pt x="654" y="156"/>
                    </a:lnTo>
                    <a:lnTo>
                      <a:pt x="654" y="156"/>
                    </a:lnTo>
                    <a:lnTo>
                      <a:pt x="656" y="154"/>
                    </a:lnTo>
                    <a:lnTo>
                      <a:pt x="656" y="154"/>
                    </a:lnTo>
                    <a:lnTo>
                      <a:pt x="656" y="152"/>
                    </a:lnTo>
                    <a:lnTo>
                      <a:pt x="656" y="152"/>
                    </a:lnTo>
                    <a:lnTo>
                      <a:pt x="659" y="154"/>
                    </a:lnTo>
                    <a:lnTo>
                      <a:pt x="659" y="154"/>
                    </a:lnTo>
                    <a:lnTo>
                      <a:pt x="656" y="156"/>
                    </a:lnTo>
                    <a:lnTo>
                      <a:pt x="659" y="159"/>
                    </a:lnTo>
                    <a:lnTo>
                      <a:pt x="659" y="159"/>
                    </a:lnTo>
                    <a:lnTo>
                      <a:pt x="661" y="156"/>
                    </a:lnTo>
                    <a:lnTo>
                      <a:pt x="661" y="159"/>
                    </a:lnTo>
                    <a:lnTo>
                      <a:pt x="661" y="159"/>
                    </a:lnTo>
                    <a:lnTo>
                      <a:pt x="663" y="159"/>
                    </a:lnTo>
                    <a:lnTo>
                      <a:pt x="663" y="156"/>
                    </a:lnTo>
                    <a:lnTo>
                      <a:pt x="666" y="154"/>
                    </a:lnTo>
                    <a:lnTo>
                      <a:pt x="666" y="156"/>
                    </a:lnTo>
                    <a:lnTo>
                      <a:pt x="666" y="159"/>
                    </a:lnTo>
                    <a:lnTo>
                      <a:pt x="666" y="161"/>
                    </a:lnTo>
                    <a:lnTo>
                      <a:pt x="666" y="161"/>
                    </a:lnTo>
                    <a:lnTo>
                      <a:pt x="663" y="163"/>
                    </a:lnTo>
                    <a:lnTo>
                      <a:pt x="663" y="163"/>
                    </a:lnTo>
                    <a:lnTo>
                      <a:pt x="666" y="163"/>
                    </a:lnTo>
                    <a:lnTo>
                      <a:pt x="668" y="163"/>
                    </a:lnTo>
                    <a:lnTo>
                      <a:pt x="673" y="161"/>
                    </a:lnTo>
                    <a:lnTo>
                      <a:pt x="675" y="163"/>
                    </a:lnTo>
                    <a:lnTo>
                      <a:pt x="675" y="163"/>
                    </a:lnTo>
                    <a:lnTo>
                      <a:pt x="675" y="163"/>
                    </a:lnTo>
                    <a:lnTo>
                      <a:pt x="678" y="163"/>
                    </a:lnTo>
                    <a:lnTo>
                      <a:pt x="680" y="163"/>
                    </a:lnTo>
                    <a:lnTo>
                      <a:pt x="680" y="166"/>
                    </a:lnTo>
                    <a:lnTo>
                      <a:pt x="678" y="166"/>
                    </a:lnTo>
                    <a:lnTo>
                      <a:pt x="678" y="168"/>
                    </a:lnTo>
                    <a:lnTo>
                      <a:pt x="678" y="170"/>
                    </a:lnTo>
                    <a:lnTo>
                      <a:pt x="678" y="170"/>
                    </a:lnTo>
                    <a:lnTo>
                      <a:pt x="680" y="173"/>
                    </a:lnTo>
                    <a:lnTo>
                      <a:pt x="680" y="173"/>
                    </a:lnTo>
                    <a:lnTo>
                      <a:pt x="680" y="175"/>
                    </a:lnTo>
                    <a:lnTo>
                      <a:pt x="678" y="178"/>
                    </a:lnTo>
                    <a:lnTo>
                      <a:pt x="678" y="180"/>
                    </a:lnTo>
                    <a:lnTo>
                      <a:pt x="680" y="180"/>
                    </a:lnTo>
                    <a:lnTo>
                      <a:pt x="680" y="180"/>
                    </a:lnTo>
                    <a:lnTo>
                      <a:pt x="687" y="178"/>
                    </a:lnTo>
                    <a:lnTo>
                      <a:pt x="692" y="178"/>
                    </a:lnTo>
                    <a:lnTo>
                      <a:pt x="692" y="178"/>
                    </a:lnTo>
                    <a:lnTo>
                      <a:pt x="692" y="175"/>
                    </a:lnTo>
                    <a:lnTo>
                      <a:pt x="694" y="175"/>
                    </a:lnTo>
                    <a:lnTo>
                      <a:pt x="694" y="180"/>
                    </a:lnTo>
                    <a:lnTo>
                      <a:pt x="694" y="182"/>
                    </a:lnTo>
                    <a:lnTo>
                      <a:pt x="696" y="182"/>
                    </a:lnTo>
                    <a:lnTo>
                      <a:pt x="696" y="185"/>
                    </a:lnTo>
                    <a:lnTo>
                      <a:pt x="696" y="187"/>
                    </a:lnTo>
                    <a:lnTo>
                      <a:pt x="696" y="189"/>
                    </a:lnTo>
                    <a:lnTo>
                      <a:pt x="696" y="189"/>
                    </a:lnTo>
                    <a:lnTo>
                      <a:pt x="694" y="189"/>
                    </a:lnTo>
                    <a:lnTo>
                      <a:pt x="692" y="189"/>
                    </a:lnTo>
                    <a:lnTo>
                      <a:pt x="692" y="189"/>
                    </a:lnTo>
                    <a:lnTo>
                      <a:pt x="689" y="189"/>
                    </a:lnTo>
                    <a:lnTo>
                      <a:pt x="689" y="192"/>
                    </a:lnTo>
                    <a:lnTo>
                      <a:pt x="689" y="194"/>
                    </a:lnTo>
                    <a:lnTo>
                      <a:pt x="689" y="199"/>
                    </a:lnTo>
                    <a:lnTo>
                      <a:pt x="689" y="199"/>
                    </a:lnTo>
                    <a:lnTo>
                      <a:pt x="692" y="201"/>
                    </a:lnTo>
                    <a:lnTo>
                      <a:pt x="692" y="201"/>
                    </a:lnTo>
                    <a:lnTo>
                      <a:pt x="692" y="201"/>
                    </a:lnTo>
                    <a:lnTo>
                      <a:pt x="694" y="204"/>
                    </a:lnTo>
                    <a:lnTo>
                      <a:pt x="694" y="206"/>
                    </a:lnTo>
                    <a:lnTo>
                      <a:pt x="692" y="206"/>
                    </a:lnTo>
                    <a:lnTo>
                      <a:pt x="692" y="206"/>
                    </a:lnTo>
                    <a:lnTo>
                      <a:pt x="694" y="208"/>
                    </a:lnTo>
                    <a:lnTo>
                      <a:pt x="694" y="211"/>
                    </a:lnTo>
                    <a:lnTo>
                      <a:pt x="696" y="211"/>
                    </a:lnTo>
                    <a:lnTo>
                      <a:pt x="696" y="215"/>
                    </a:lnTo>
                    <a:lnTo>
                      <a:pt x="694" y="215"/>
                    </a:lnTo>
                    <a:lnTo>
                      <a:pt x="696" y="218"/>
                    </a:lnTo>
                    <a:lnTo>
                      <a:pt x="701" y="222"/>
                    </a:lnTo>
                    <a:lnTo>
                      <a:pt x="701" y="222"/>
                    </a:lnTo>
                    <a:lnTo>
                      <a:pt x="708" y="227"/>
                    </a:lnTo>
                    <a:lnTo>
                      <a:pt x="711" y="227"/>
                    </a:lnTo>
                    <a:lnTo>
                      <a:pt x="713" y="232"/>
                    </a:lnTo>
                    <a:lnTo>
                      <a:pt x="715" y="234"/>
                    </a:lnTo>
                    <a:lnTo>
                      <a:pt x="720" y="237"/>
                    </a:lnTo>
                    <a:lnTo>
                      <a:pt x="722" y="237"/>
                    </a:lnTo>
                    <a:lnTo>
                      <a:pt x="722" y="237"/>
                    </a:lnTo>
                    <a:lnTo>
                      <a:pt x="722" y="239"/>
                    </a:lnTo>
                    <a:lnTo>
                      <a:pt x="725" y="241"/>
                    </a:lnTo>
                    <a:lnTo>
                      <a:pt x="727" y="244"/>
                    </a:lnTo>
                    <a:lnTo>
                      <a:pt x="727" y="246"/>
                    </a:lnTo>
                    <a:lnTo>
                      <a:pt x="729" y="248"/>
                    </a:lnTo>
                    <a:lnTo>
                      <a:pt x="729" y="248"/>
                    </a:lnTo>
                    <a:lnTo>
                      <a:pt x="732" y="248"/>
                    </a:lnTo>
                    <a:lnTo>
                      <a:pt x="734" y="248"/>
                    </a:lnTo>
                    <a:lnTo>
                      <a:pt x="734" y="251"/>
                    </a:lnTo>
                    <a:lnTo>
                      <a:pt x="734" y="251"/>
                    </a:lnTo>
                    <a:lnTo>
                      <a:pt x="732" y="256"/>
                    </a:lnTo>
                    <a:lnTo>
                      <a:pt x="729" y="260"/>
                    </a:lnTo>
                    <a:lnTo>
                      <a:pt x="727" y="263"/>
                    </a:lnTo>
                    <a:lnTo>
                      <a:pt x="727" y="265"/>
                    </a:lnTo>
                    <a:lnTo>
                      <a:pt x="729" y="267"/>
                    </a:lnTo>
                    <a:lnTo>
                      <a:pt x="729" y="267"/>
                    </a:lnTo>
                    <a:lnTo>
                      <a:pt x="727" y="270"/>
                    </a:lnTo>
                    <a:lnTo>
                      <a:pt x="727" y="272"/>
                    </a:lnTo>
                    <a:lnTo>
                      <a:pt x="727" y="272"/>
                    </a:lnTo>
                    <a:lnTo>
                      <a:pt x="725" y="274"/>
                    </a:lnTo>
                    <a:lnTo>
                      <a:pt x="727" y="274"/>
                    </a:lnTo>
                    <a:lnTo>
                      <a:pt x="727" y="277"/>
                    </a:lnTo>
                    <a:lnTo>
                      <a:pt x="727" y="281"/>
                    </a:lnTo>
                    <a:lnTo>
                      <a:pt x="727" y="284"/>
                    </a:lnTo>
                    <a:lnTo>
                      <a:pt x="727" y="286"/>
                    </a:lnTo>
                    <a:lnTo>
                      <a:pt x="727" y="286"/>
                    </a:lnTo>
                    <a:lnTo>
                      <a:pt x="725" y="289"/>
                    </a:lnTo>
                    <a:lnTo>
                      <a:pt x="727" y="291"/>
                    </a:lnTo>
                    <a:lnTo>
                      <a:pt x="729" y="293"/>
                    </a:lnTo>
                    <a:lnTo>
                      <a:pt x="729" y="296"/>
                    </a:lnTo>
                    <a:lnTo>
                      <a:pt x="732" y="300"/>
                    </a:lnTo>
                    <a:lnTo>
                      <a:pt x="734" y="300"/>
                    </a:lnTo>
                    <a:lnTo>
                      <a:pt x="737" y="305"/>
                    </a:lnTo>
                    <a:lnTo>
                      <a:pt x="734" y="307"/>
                    </a:lnTo>
                    <a:lnTo>
                      <a:pt x="734" y="310"/>
                    </a:lnTo>
                    <a:lnTo>
                      <a:pt x="734" y="312"/>
                    </a:lnTo>
                    <a:lnTo>
                      <a:pt x="737" y="315"/>
                    </a:lnTo>
                    <a:lnTo>
                      <a:pt x="739" y="317"/>
                    </a:lnTo>
                    <a:lnTo>
                      <a:pt x="741" y="319"/>
                    </a:lnTo>
                    <a:lnTo>
                      <a:pt x="741" y="319"/>
                    </a:lnTo>
                    <a:lnTo>
                      <a:pt x="744" y="322"/>
                    </a:lnTo>
                    <a:lnTo>
                      <a:pt x="744" y="324"/>
                    </a:lnTo>
                    <a:lnTo>
                      <a:pt x="744" y="326"/>
                    </a:lnTo>
                    <a:lnTo>
                      <a:pt x="746" y="326"/>
                    </a:lnTo>
                    <a:lnTo>
                      <a:pt x="746" y="331"/>
                    </a:lnTo>
                    <a:lnTo>
                      <a:pt x="746" y="333"/>
                    </a:lnTo>
                    <a:lnTo>
                      <a:pt x="751" y="336"/>
                    </a:lnTo>
                    <a:lnTo>
                      <a:pt x="751" y="336"/>
                    </a:lnTo>
                    <a:lnTo>
                      <a:pt x="751" y="341"/>
                    </a:lnTo>
                    <a:lnTo>
                      <a:pt x="751" y="345"/>
                    </a:lnTo>
                    <a:lnTo>
                      <a:pt x="753" y="348"/>
                    </a:lnTo>
                    <a:lnTo>
                      <a:pt x="755" y="357"/>
                    </a:lnTo>
                    <a:lnTo>
                      <a:pt x="755" y="357"/>
                    </a:lnTo>
                    <a:lnTo>
                      <a:pt x="760" y="359"/>
                    </a:lnTo>
                    <a:lnTo>
                      <a:pt x="763" y="357"/>
                    </a:lnTo>
                    <a:lnTo>
                      <a:pt x="765" y="359"/>
                    </a:lnTo>
                    <a:lnTo>
                      <a:pt x="767" y="359"/>
                    </a:lnTo>
                    <a:lnTo>
                      <a:pt x="767" y="362"/>
                    </a:lnTo>
                    <a:lnTo>
                      <a:pt x="770" y="364"/>
                    </a:lnTo>
                    <a:lnTo>
                      <a:pt x="779" y="371"/>
                    </a:lnTo>
                    <a:lnTo>
                      <a:pt x="779" y="374"/>
                    </a:lnTo>
                    <a:lnTo>
                      <a:pt x="781" y="376"/>
                    </a:lnTo>
                    <a:lnTo>
                      <a:pt x="784" y="376"/>
                    </a:lnTo>
                    <a:lnTo>
                      <a:pt x="784" y="376"/>
                    </a:lnTo>
                    <a:lnTo>
                      <a:pt x="786" y="378"/>
                    </a:lnTo>
                    <a:lnTo>
                      <a:pt x="789" y="381"/>
                    </a:lnTo>
                    <a:lnTo>
                      <a:pt x="789" y="383"/>
                    </a:lnTo>
                    <a:lnTo>
                      <a:pt x="786" y="388"/>
                    </a:lnTo>
                    <a:lnTo>
                      <a:pt x="786" y="390"/>
                    </a:lnTo>
                    <a:lnTo>
                      <a:pt x="789" y="393"/>
                    </a:lnTo>
                    <a:lnTo>
                      <a:pt x="789" y="395"/>
                    </a:lnTo>
                    <a:lnTo>
                      <a:pt x="784" y="400"/>
                    </a:lnTo>
                    <a:lnTo>
                      <a:pt x="786" y="402"/>
                    </a:lnTo>
                    <a:lnTo>
                      <a:pt x="786" y="404"/>
                    </a:lnTo>
                    <a:lnTo>
                      <a:pt x="789" y="407"/>
                    </a:lnTo>
                    <a:lnTo>
                      <a:pt x="789" y="409"/>
                    </a:lnTo>
                    <a:lnTo>
                      <a:pt x="789" y="409"/>
                    </a:lnTo>
                    <a:lnTo>
                      <a:pt x="789" y="411"/>
                    </a:lnTo>
                    <a:lnTo>
                      <a:pt x="793" y="416"/>
                    </a:lnTo>
                    <a:lnTo>
                      <a:pt x="793" y="416"/>
                    </a:lnTo>
                    <a:lnTo>
                      <a:pt x="796" y="416"/>
                    </a:lnTo>
                    <a:lnTo>
                      <a:pt x="798" y="414"/>
                    </a:lnTo>
                    <a:lnTo>
                      <a:pt x="803" y="414"/>
                    </a:lnTo>
                    <a:lnTo>
                      <a:pt x="807" y="414"/>
                    </a:lnTo>
                    <a:lnTo>
                      <a:pt x="807" y="416"/>
                    </a:lnTo>
                    <a:lnTo>
                      <a:pt x="810" y="421"/>
                    </a:lnTo>
                    <a:lnTo>
                      <a:pt x="810" y="423"/>
                    </a:lnTo>
                    <a:lnTo>
                      <a:pt x="810" y="426"/>
                    </a:lnTo>
                    <a:lnTo>
                      <a:pt x="810" y="426"/>
                    </a:lnTo>
                    <a:lnTo>
                      <a:pt x="810" y="428"/>
                    </a:lnTo>
                    <a:lnTo>
                      <a:pt x="810" y="430"/>
                    </a:lnTo>
                    <a:lnTo>
                      <a:pt x="810" y="433"/>
                    </a:lnTo>
                    <a:lnTo>
                      <a:pt x="810" y="433"/>
                    </a:lnTo>
                    <a:lnTo>
                      <a:pt x="810" y="433"/>
                    </a:lnTo>
                    <a:lnTo>
                      <a:pt x="810" y="435"/>
                    </a:lnTo>
                    <a:lnTo>
                      <a:pt x="810" y="437"/>
                    </a:lnTo>
                    <a:lnTo>
                      <a:pt x="807" y="440"/>
                    </a:lnTo>
                    <a:lnTo>
                      <a:pt x="807" y="442"/>
                    </a:lnTo>
                    <a:lnTo>
                      <a:pt x="807" y="444"/>
                    </a:lnTo>
                    <a:lnTo>
                      <a:pt x="810" y="444"/>
                    </a:lnTo>
                    <a:lnTo>
                      <a:pt x="807" y="449"/>
                    </a:lnTo>
                    <a:lnTo>
                      <a:pt x="805" y="452"/>
                    </a:lnTo>
                    <a:lnTo>
                      <a:pt x="807" y="452"/>
                    </a:lnTo>
                    <a:lnTo>
                      <a:pt x="810" y="452"/>
                    </a:lnTo>
                    <a:lnTo>
                      <a:pt x="812" y="449"/>
                    </a:lnTo>
                    <a:lnTo>
                      <a:pt x="815" y="449"/>
                    </a:lnTo>
                    <a:lnTo>
                      <a:pt x="815" y="449"/>
                    </a:lnTo>
                    <a:lnTo>
                      <a:pt x="817" y="447"/>
                    </a:lnTo>
                    <a:lnTo>
                      <a:pt x="817" y="449"/>
                    </a:lnTo>
                    <a:lnTo>
                      <a:pt x="819" y="449"/>
                    </a:lnTo>
                    <a:lnTo>
                      <a:pt x="822" y="452"/>
                    </a:lnTo>
                    <a:lnTo>
                      <a:pt x="824" y="454"/>
                    </a:lnTo>
                    <a:lnTo>
                      <a:pt x="824" y="456"/>
                    </a:lnTo>
                    <a:lnTo>
                      <a:pt x="824" y="459"/>
                    </a:lnTo>
                    <a:lnTo>
                      <a:pt x="822" y="459"/>
                    </a:lnTo>
                    <a:lnTo>
                      <a:pt x="819" y="459"/>
                    </a:lnTo>
                    <a:lnTo>
                      <a:pt x="819" y="459"/>
                    </a:lnTo>
                    <a:lnTo>
                      <a:pt x="819" y="461"/>
                    </a:lnTo>
                    <a:lnTo>
                      <a:pt x="819" y="461"/>
                    </a:lnTo>
                    <a:lnTo>
                      <a:pt x="819" y="463"/>
                    </a:lnTo>
                    <a:lnTo>
                      <a:pt x="822" y="466"/>
                    </a:lnTo>
                    <a:lnTo>
                      <a:pt x="822" y="470"/>
                    </a:lnTo>
                    <a:lnTo>
                      <a:pt x="822" y="470"/>
                    </a:lnTo>
                    <a:lnTo>
                      <a:pt x="822" y="473"/>
                    </a:lnTo>
                    <a:lnTo>
                      <a:pt x="819" y="475"/>
                    </a:lnTo>
                    <a:lnTo>
                      <a:pt x="819" y="475"/>
                    </a:lnTo>
                    <a:lnTo>
                      <a:pt x="822" y="478"/>
                    </a:lnTo>
                    <a:lnTo>
                      <a:pt x="824" y="475"/>
                    </a:lnTo>
                    <a:lnTo>
                      <a:pt x="826" y="478"/>
                    </a:lnTo>
                    <a:lnTo>
                      <a:pt x="829" y="478"/>
                    </a:lnTo>
                    <a:lnTo>
                      <a:pt x="829" y="478"/>
                    </a:lnTo>
                    <a:lnTo>
                      <a:pt x="833" y="485"/>
                    </a:lnTo>
                    <a:lnTo>
                      <a:pt x="836" y="485"/>
                    </a:lnTo>
                    <a:lnTo>
                      <a:pt x="838" y="487"/>
                    </a:lnTo>
                    <a:lnTo>
                      <a:pt x="845" y="487"/>
                    </a:lnTo>
                    <a:lnTo>
                      <a:pt x="845" y="487"/>
                    </a:lnTo>
                    <a:lnTo>
                      <a:pt x="852" y="487"/>
                    </a:lnTo>
                    <a:lnTo>
                      <a:pt x="855" y="487"/>
                    </a:lnTo>
                    <a:lnTo>
                      <a:pt x="855" y="489"/>
                    </a:lnTo>
                    <a:lnTo>
                      <a:pt x="859" y="489"/>
                    </a:lnTo>
                    <a:lnTo>
                      <a:pt x="859" y="489"/>
                    </a:lnTo>
                    <a:lnTo>
                      <a:pt x="862" y="494"/>
                    </a:lnTo>
                    <a:lnTo>
                      <a:pt x="859" y="496"/>
                    </a:lnTo>
                    <a:lnTo>
                      <a:pt x="859" y="499"/>
                    </a:lnTo>
                    <a:lnTo>
                      <a:pt x="862" y="499"/>
                    </a:lnTo>
                    <a:lnTo>
                      <a:pt x="862" y="499"/>
                    </a:lnTo>
                    <a:lnTo>
                      <a:pt x="864" y="501"/>
                    </a:lnTo>
                    <a:lnTo>
                      <a:pt x="867" y="501"/>
                    </a:lnTo>
                    <a:lnTo>
                      <a:pt x="869" y="499"/>
                    </a:lnTo>
                    <a:lnTo>
                      <a:pt x="869" y="496"/>
                    </a:lnTo>
                    <a:lnTo>
                      <a:pt x="867" y="496"/>
                    </a:lnTo>
                    <a:lnTo>
                      <a:pt x="867" y="494"/>
                    </a:lnTo>
                    <a:lnTo>
                      <a:pt x="867" y="494"/>
                    </a:lnTo>
                    <a:lnTo>
                      <a:pt x="867" y="494"/>
                    </a:lnTo>
                    <a:lnTo>
                      <a:pt x="869" y="492"/>
                    </a:lnTo>
                    <a:lnTo>
                      <a:pt x="874" y="492"/>
                    </a:lnTo>
                    <a:lnTo>
                      <a:pt x="876" y="492"/>
                    </a:lnTo>
                    <a:lnTo>
                      <a:pt x="876" y="492"/>
                    </a:lnTo>
                    <a:lnTo>
                      <a:pt x="876" y="492"/>
                    </a:lnTo>
                    <a:lnTo>
                      <a:pt x="876" y="487"/>
                    </a:lnTo>
                    <a:lnTo>
                      <a:pt x="876" y="485"/>
                    </a:lnTo>
                    <a:lnTo>
                      <a:pt x="876" y="485"/>
                    </a:lnTo>
                    <a:lnTo>
                      <a:pt x="878" y="487"/>
                    </a:lnTo>
                    <a:lnTo>
                      <a:pt x="878" y="487"/>
                    </a:lnTo>
                    <a:lnTo>
                      <a:pt x="878" y="492"/>
                    </a:lnTo>
                    <a:lnTo>
                      <a:pt x="878" y="492"/>
                    </a:lnTo>
                    <a:lnTo>
                      <a:pt x="881" y="492"/>
                    </a:lnTo>
                    <a:lnTo>
                      <a:pt x="881" y="492"/>
                    </a:lnTo>
                    <a:lnTo>
                      <a:pt x="881" y="492"/>
                    </a:lnTo>
                    <a:lnTo>
                      <a:pt x="883" y="487"/>
                    </a:lnTo>
                    <a:lnTo>
                      <a:pt x="883" y="487"/>
                    </a:lnTo>
                    <a:lnTo>
                      <a:pt x="888" y="492"/>
                    </a:lnTo>
                    <a:lnTo>
                      <a:pt x="888" y="492"/>
                    </a:lnTo>
                    <a:lnTo>
                      <a:pt x="900" y="492"/>
                    </a:lnTo>
                    <a:lnTo>
                      <a:pt x="902" y="487"/>
                    </a:lnTo>
                    <a:lnTo>
                      <a:pt x="911" y="478"/>
                    </a:lnTo>
                    <a:lnTo>
                      <a:pt x="914" y="475"/>
                    </a:lnTo>
                    <a:lnTo>
                      <a:pt x="914" y="475"/>
                    </a:lnTo>
                    <a:lnTo>
                      <a:pt x="914" y="473"/>
                    </a:lnTo>
                    <a:lnTo>
                      <a:pt x="914" y="468"/>
                    </a:lnTo>
                    <a:lnTo>
                      <a:pt x="911" y="459"/>
                    </a:lnTo>
                    <a:lnTo>
                      <a:pt x="914" y="459"/>
                    </a:lnTo>
                    <a:lnTo>
                      <a:pt x="914" y="456"/>
                    </a:lnTo>
                    <a:lnTo>
                      <a:pt x="914" y="447"/>
                    </a:lnTo>
                    <a:lnTo>
                      <a:pt x="914" y="442"/>
                    </a:lnTo>
                    <a:lnTo>
                      <a:pt x="914" y="442"/>
                    </a:lnTo>
                    <a:lnTo>
                      <a:pt x="916" y="442"/>
                    </a:lnTo>
                    <a:lnTo>
                      <a:pt x="916" y="440"/>
                    </a:lnTo>
                    <a:lnTo>
                      <a:pt x="916" y="440"/>
                    </a:lnTo>
                    <a:lnTo>
                      <a:pt x="926" y="423"/>
                    </a:lnTo>
                    <a:lnTo>
                      <a:pt x="928" y="421"/>
                    </a:lnTo>
                    <a:lnTo>
                      <a:pt x="935" y="414"/>
                    </a:lnTo>
                    <a:lnTo>
                      <a:pt x="935" y="414"/>
                    </a:lnTo>
                    <a:lnTo>
                      <a:pt x="940" y="411"/>
                    </a:lnTo>
                    <a:lnTo>
                      <a:pt x="944" y="407"/>
                    </a:lnTo>
                    <a:lnTo>
                      <a:pt x="947" y="402"/>
                    </a:lnTo>
                    <a:lnTo>
                      <a:pt x="947" y="395"/>
                    </a:lnTo>
                    <a:lnTo>
                      <a:pt x="949" y="393"/>
                    </a:lnTo>
                    <a:lnTo>
                      <a:pt x="956" y="388"/>
                    </a:lnTo>
                    <a:lnTo>
                      <a:pt x="956" y="381"/>
                    </a:lnTo>
                    <a:lnTo>
                      <a:pt x="956" y="381"/>
                    </a:lnTo>
                    <a:lnTo>
                      <a:pt x="956" y="378"/>
                    </a:lnTo>
                    <a:lnTo>
                      <a:pt x="959" y="376"/>
                    </a:lnTo>
                    <a:lnTo>
                      <a:pt x="959" y="374"/>
                    </a:lnTo>
                    <a:lnTo>
                      <a:pt x="963" y="371"/>
                    </a:lnTo>
                    <a:lnTo>
                      <a:pt x="963" y="369"/>
                    </a:lnTo>
                    <a:lnTo>
                      <a:pt x="968" y="364"/>
                    </a:lnTo>
                    <a:lnTo>
                      <a:pt x="970" y="362"/>
                    </a:lnTo>
                    <a:lnTo>
                      <a:pt x="973" y="355"/>
                    </a:lnTo>
                    <a:lnTo>
                      <a:pt x="980" y="352"/>
                    </a:lnTo>
                    <a:lnTo>
                      <a:pt x="987" y="352"/>
                    </a:lnTo>
                    <a:lnTo>
                      <a:pt x="989" y="350"/>
                    </a:lnTo>
                    <a:lnTo>
                      <a:pt x="989" y="350"/>
                    </a:lnTo>
                    <a:lnTo>
                      <a:pt x="992" y="348"/>
                    </a:lnTo>
                    <a:lnTo>
                      <a:pt x="994" y="345"/>
                    </a:lnTo>
                    <a:lnTo>
                      <a:pt x="996" y="343"/>
                    </a:lnTo>
                    <a:lnTo>
                      <a:pt x="999" y="343"/>
                    </a:lnTo>
                    <a:lnTo>
                      <a:pt x="1001" y="338"/>
                    </a:lnTo>
                    <a:lnTo>
                      <a:pt x="1001" y="338"/>
                    </a:lnTo>
                    <a:lnTo>
                      <a:pt x="1001" y="338"/>
                    </a:lnTo>
                    <a:lnTo>
                      <a:pt x="1004" y="336"/>
                    </a:lnTo>
                    <a:lnTo>
                      <a:pt x="1004" y="333"/>
                    </a:lnTo>
                    <a:lnTo>
                      <a:pt x="1011" y="329"/>
                    </a:lnTo>
                    <a:lnTo>
                      <a:pt x="1011" y="329"/>
                    </a:lnTo>
                    <a:lnTo>
                      <a:pt x="1013" y="329"/>
                    </a:lnTo>
                    <a:lnTo>
                      <a:pt x="1025" y="326"/>
                    </a:lnTo>
                    <a:lnTo>
                      <a:pt x="1030" y="324"/>
                    </a:lnTo>
                    <a:lnTo>
                      <a:pt x="1034" y="322"/>
                    </a:lnTo>
                    <a:lnTo>
                      <a:pt x="1044" y="315"/>
                    </a:lnTo>
                    <a:lnTo>
                      <a:pt x="1046" y="312"/>
                    </a:lnTo>
                    <a:lnTo>
                      <a:pt x="1048" y="310"/>
                    </a:lnTo>
                    <a:lnTo>
                      <a:pt x="1053" y="307"/>
                    </a:lnTo>
                    <a:lnTo>
                      <a:pt x="1055" y="303"/>
                    </a:lnTo>
                    <a:lnTo>
                      <a:pt x="1058" y="298"/>
                    </a:lnTo>
                    <a:lnTo>
                      <a:pt x="1060" y="293"/>
                    </a:lnTo>
                    <a:lnTo>
                      <a:pt x="1063" y="291"/>
                    </a:lnTo>
                    <a:lnTo>
                      <a:pt x="1065" y="281"/>
                    </a:lnTo>
                    <a:lnTo>
                      <a:pt x="1067" y="279"/>
                    </a:lnTo>
                    <a:lnTo>
                      <a:pt x="1067" y="277"/>
                    </a:lnTo>
                    <a:lnTo>
                      <a:pt x="1067" y="270"/>
                    </a:lnTo>
                    <a:lnTo>
                      <a:pt x="1072" y="265"/>
                    </a:lnTo>
                    <a:lnTo>
                      <a:pt x="1072" y="260"/>
                    </a:lnTo>
                    <a:lnTo>
                      <a:pt x="1077" y="258"/>
                    </a:lnTo>
                    <a:lnTo>
                      <a:pt x="1077" y="258"/>
                    </a:lnTo>
                    <a:lnTo>
                      <a:pt x="1077" y="256"/>
                    </a:lnTo>
                    <a:lnTo>
                      <a:pt x="1084" y="253"/>
                    </a:lnTo>
                    <a:lnTo>
                      <a:pt x="1089" y="251"/>
                    </a:lnTo>
                    <a:lnTo>
                      <a:pt x="1096" y="248"/>
                    </a:lnTo>
                    <a:lnTo>
                      <a:pt x="1098" y="248"/>
                    </a:lnTo>
                    <a:lnTo>
                      <a:pt x="1103" y="246"/>
                    </a:lnTo>
                    <a:lnTo>
                      <a:pt x="1107" y="246"/>
                    </a:lnTo>
                    <a:lnTo>
                      <a:pt x="1115" y="246"/>
                    </a:lnTo>
                    <a:lnTo>
                      <a:pt x="1117" y="256"/>
                    </a:lnTo>
                    <a:lnTo>
                      <a:pt x="1122" y="258"/>
                    </a:lnTo>
                    <a:lnTo>
                      <a:pt x="1122" y="265"/>
                    </a:lnTo>
                    <a:lnTo>
                      <a:pt x="1124" y="272"/>
                    </a:lnTo>
                    <a:lnTo>
                      <a:pt x="1122" y="274"/>
                    </a:lnTo>
                    <a:lnTo>
                      <a:pt x="1122" y="286"/>
                    </a:lnTo>
                    <a:lnTo>
                      <a:pt x="1122" y="291"/>
                    </a:lnTo>
                    <a:lnTo>
                      <a:pt x="1119" y="296"/>
                    </a:lnTo>
                    <a:lnTo>
                      <a:pt x="1126" y="296"/>
                    </a:lnTo>
                    <a:lnTo>
                      <a:pt x="1131" y="298"/>
                    </a:lnTo>
                    <a:lnTo>
                      <a:pt x="1131" y="298"/>
                    </a:lnTo>
                    <a:lnTo>
                      <a:pt x="1131" y="298"/>
                    </a:lnTo>
                    <a:lnTo>
                      <a:pt x="1133" y="296"/>
                    </a:lnTo>
                    <a:lnTo>
                      <a:pt x="1136" y="298"/>
                    </a:lnTo>
                    <a:lnTo>
                      <a:pt x="1136" y="298"/>
                    </a:lnTo>
                    <a:lnTo>
                      <a:pt x="1136" y="298"/>
                    </a:lnTo>
                    <a:lnTo>
                      <a:pt x="1138" y="298"/>
                    </a:lnTo>
                    <a:lnTo>
                      <a:pt x="1141" y="298"/>
                    </a:lnTo>
                    <a:lnTo>
                      <a:pt x="1148" y="296"/>
                    </a:lnTo>
                    <a:lnTo>
                      <a:pt x="1148" y="293"/>
                    </a:lnTo>
                    <a:lnTo>
                      <a:pt x="1150" y="296"/>
                    </a:lnTo>
                    <a:lnTo>
                      <a:pt x="1152" y="296"/>
                    </a:lnTo>
                    <a:lnTo>
                      <a:pt x="1155" y="296"/>
                    </a:lnTo>
                    <a:lnTo>
                      <a:pt x="1155" y="296"/>
                    </a:lnTo>
                    <a:lnTo>
                      <a:pt x="1157" y="293"/>
                    </a:lnTo>
                    <a:lnTo>
                      <a:pt x="1159" y="296"/>
                    </a:lnTo>
                    <a:lnTo>
                      <a:pt x="1162" y="298"/>
                    </a:lnTo>
                    <a:lnTo>
                      <a:pt x="1162" y="296"/>
                    </a:lnTo>
                    <a:lnTo>
                      <a:pt x="1159" y="293"/>
                    </a:lnTo>
                    <a:lnTo>
                      <a:pt x="1159" y="293"/>
                    </a:lnTo>
                    <a:lnTo>
                      <a:pt x="1162" y="293"/>
                    </a:lnTo>
                    <a:lnTo>
                      <a:pt x="1162" y="293"/>
                    </a:lnTo>
                    <a:lnTo>
                      <a:pt x="1162" y="293"/>
                    </a:lnTo>
                    <a:lnTo>
                      <a:pt x="1164" y="293"/>
                    </a:lnTo>
                    <a:lnTo>
                      <a:pt x="1164" y="293"/>
                    </a:lnTo>
                    <a:lnTo>
                      <a:pt x="1164" y="291"/>
                    </a:lnTo>
                    <a:lnTo>
                      <a:pt x="1169" y="291"/>
                    </a:lnTo>
                    <a:lnTo>
                      <a:pt x="1169" y="293"/>
                    </a:lnTo>
                    <a:lnTo>
                      <a:pt x="1171" y="293"/>
                    </a:lnTo>
                    <a:lnTo>
                      <a:pt x="1169" y="293"/>
                    </a:lnTo>
                    <a:lnTo>
                      <a:pt x="1171" y="293"/>
                    </a:lnTo>
                    <a:lnTo>
                      <a:pt x="1171" y="293"/>
                    </a:lnTo>
                    <a:lnTo>
                      <a:pt x="1174" y="293"/>
                    </a:lnTo>
                    <a:lnTo>
                      <a:pt x="1174" y="293"/>
                    </a:lnTo>
                    <a:lnTo>
                      <a:pt x="1174" y="296"/>
                    </a:lnTo>
                    <a:lnTo>
                      <a:pt x="1174" y="296"/>
                    </a:lnTo>
                    <a:lnTo>
                      <a:pt x="1176" y="298"/>
                    </a:lnTo>
                    <a:lnTo>
                      <a:pt x="1178" y="303"/>
                    </a:lnTo>
                    <a:lnTo>
                      <a:pt x="1181" y="307"/>
                    </a:lnTo>
                    <a:lnTo>
                      <a:pt x="1183" y="312"/>
                    </a:lnTo>
                    <a:lnTo>
                      <a:pt x="1188" y="319"/>
                    </a:lnTo>
                    <a:lnTo>
                      <a:pt x="1195" y="329"/>
                    </a:lnTo>
                    <a:lnTo>
                      <a:pt x="1195" y="329"/>
                    </a:lnTo>
                    <a:lnTo>
                      <a:pt x="1197" y="331"/>
                    </a:lnTo>
                    <a:lnTo>
                      <a:pt x="1197" y="329"/>
                    </a:lnTo>
                    <a:lnTo>
                      <a:pt x="1200" y="331"/>
                    </a:lnTo>
                    <a:lnTo>
                      <a:pt x="1200" y="331"/>
                    </a:lnTo>
                    <a:lnTo>
                      <a:pt x="1202" y="331"/>
                    </a:lnTo>
                    <a:lnTo>
                      <a:pt x="1202" y="331"/>
                    </a:lnTo>
                    <a:lnTo>
                      <a:pt x="1204" y="333"/>
                    </a:lnTo>
                    <a:lnTo>
                      <a:pt x="1204" y="333"/>
                    </a:lnTo>
                    <a:lnTo>
                      <a:pt x="1207" y="336"/>
                    </a:lnTo>
                    <a:lnTo>
                      <a:pt x="1207" y="336"/>
                    </a:lnTo>
                    <a:lnTo>
                      <a:pt x="1204" y="336"/>
                    </a:lnTo>
                    <a:lnTo>
                      <a:pt x="1204" y="336"/>
                    </a:lnTo>
                    <a:lnTo>
                      <a:pt x="1204" y="338"/>
                    </a:lnTo>
                    <a:lnTo>
                      <a:pt x="1207" y="338"/>
                    </a:lnTo>
                    <a:lnTo>
                      <a:pt x="1207" y="338"/>
                    </a:lnTo>
                    <a:lnTo>
                      <a:pt x="1254" y="359"/>
                    </a:lnTo>
                    <a:lnTo>
                      <a:pt x="1256" y="364"/>
                    </a:lnTo>
                    <a:lnTo>
                      <a:pt x="1261" y="367"/>
                    </a:lnTo>
                    <a:lnTo>
                      <a:pt x="1263" y="369"/>
                    </a:lnTo>
                    <a:lnTo>
                      <a:pt x="1266" y="369"/>
                    </a:lnTo>
                    <a:lnTo>
                      <a:pt x="1268" y="369"/>
                    </a:lnTo>
                    <a:lnTo>
                      <a:pt x="1268" y="369"/>
                    </a:lnTo>
                    <a:lnTo>
                      <a:pt x="1268" y="369"/>
                    </a:lnTo>
                    <a:lnTo>
                      <a:pt x="1270" y="367"/>
                    </a:lnTo>
                    <a:lnTo>
                      <a:pt x="1275" y="367"/>
                    </a:lnTo>
                    <a:lnTo>
                      <a:pt x="1275" y="369"/>
                    </a:lnTo>
                    <a:lnTo>
                      <a:pt x="1278" y="367"/>
                    </a:lnTo>
                    <a:lnTo>
                      <a:pt x="1278" y="369"/>
                    </a:lnTo>
                    <a:lnTo>
                      <a:pt x="1280" y="367"/>
                    </a:lnTo>
                    <a:lnTo>
                      <a:pt x="1280" y="367"/>
                    </a:lnTo>
                    <a:lnTo>
                      <a:pt x="1282" y="369"/>
                    </a:lnTo>
                    <a:lnTo>
                      <a:pt x="1285" y="371"/>
                    </a:lnTo>
                    <a:lnTo>
                      <a:pt x="1285" y="371"/>
                    </a:lnTo>
                    <a:lnTo>
                      <a:pt x="1287" y="371"/>
                    </a:lnTo>
                    <a:lnTo>
                      <a:pt x="1289" y="371"/>
                    </a:lnTo>
                    <a:lnTo>
                      <a:pt x="1292" y="374"/>
                    </a:lnTo>
                    <a:lnTo>
                      <a:pt x="1294" y="374"/>
                    </a:lnTo>
                    <a:lnTo>
                      <a:pt x="1296" y="371"/>
                    </a:lnTo>
                    <a:lnTo>
                      <a:pt x="1296" y="371"/>
                    </a:lnTo>
                    <a:lnTo>
                      <a:pt x="1301" y="369"/>
                    </a:lnTo>
                    <a:lnTo>
                      <a:pt x="1306" y="369"/>
                    </a:lnTo>
                    <a:lnTo>
                      <a:pt x="1306" y="371"/>
                    </a:lnTo>
                    <a:lnTo>
                      <a:pt x="1306" y="369"/>
                    </a:lnTo>
                    <a:lnTo>
                      <a:pt x="1311" y="371"/>
                    </a:lnTo>
                    <a:lnTo>
                      <a:pt x="1311" y="371"/>
                    </a:lnTo>
                    <a:lnTo>
                      <a:pt x="1311" y="371"/>
                    </a:lnTo>
                    <a:lnTo>
                      <a:pt x="1313" y="371"/>
                    </a:lnTo>
                    <a:lnTo>
                      <a:pt x="1315" y="371"/>
                    </a:lnTo>
                    <a:lnTo>
                      <a:pt x="1318" y="371"/>
                    </a:lnTo>
                    <a:lnTo>
                      <a:pt x="1322" y="369"/>
                    </a:lnTo>
                    <a:lnTo>
                      <a:pt x="1325" y="371"/>
                    </a:lnTo>
                    <a:lnTo>
                      <a:pt x="1327" y="374"/>
                    </a:lnTo>
                    <a:lnTo>
                      <a:pt x="1330" y="374"/>
                    </a:lnTo>
                    <a:lnTo>
                      <a:pt x="1330" y="374"/>
                    </a:lnTo>
                    <a:lnTo>
                      <a:pt x="1332" y="374"/>
                    </a:lnTo>
                    <a:lnTo>
                      <a:pt x="1332" y="376"/>
                    </a:lnTo>
                    <a:lnTo>
                      <a:pt x="1332" y="378"/>
                    </a:lnTo>
                    <a:lnTo>
                      <a:pt x="1332" y="385"/>
                    </a:lnTo>
                    <a:lnTo>
                      <a:pt x="1332" y="388"/>
                    </a:lnTo>
                    <a:lnTo>
                      <a:pt x="1327" y="393"/>
                    </a:lnTo>
                    <a:lnTo>
                      <a:pt x="1325" y="395"/>
                    </a:lnTo>
                    <a:lnTo>
                      <a:pt x="1325" y="402"/>
                    </a:lnTo>
                    <a:lnTo>
                      <a:pt x="1322" y="404"/>
                    </a:lnTo>
                    <a:lnTo>
                      <a:pt x="1351" y="414"/>
                    </a:lnTo>
                    <a:lnTo>
                      <a:pt x="1381" y="426"/>
                    </a:lnTo>
                    <a:lnTo>
                      <a:pt x="1381" y="428"/>
                    </a:lnTo>
                    <a:lnTo>
                      <a:pt x="1381" y="430"/>
                    </a:lnTo>
                    <a:lnTo>
                      <a:pt x="1381" y="430"/>
                    </a:lnTo>
                    <a:lnTo>
                      <a:pt x="1381" y="430"/>
                    </a:lnTo>
                    <a:lnTo>
                      <a:pt x="1384" y="430"/>
                    </a:lnTo>
                    <a:lnTo>
                      <a:pt x="1384" y="430"/>
                    </a:lnTo>
                    <a:lnTo>
                      <a:pt x="1384" y="430"/>
                    </a:lnTo>
                    <a:lnTo>
                      <a:pt x="1384" y="428"/>
                    </a:lnTo>
                    <a:lnTo>
                      <a:pt x="1386" y="428"/>
                    </a:lnTo>
                    <a:lnTo>
                      <a:pt x="1386" y="426"/>
                    </a:lnTo>
                    <a:lnTo>
                      <a:pt x="1386" y="423"/>
                    </a:lnTo>
                    <a:lnTo>
                      <a:pt x="1386" y="423"/>
                    </a:lnTo>
                    <a:lnTo>
                      <a:pt x="1389" y="421"/>
                    </a:lnTo>
                    <a:lnTo>
                      <a:pt x="1389" y="421"/>
                    </a:lnTo>
                    <a:lnTo>
                      <a:pt x="1391" y="421"/>
                    </a:lnTo>
                    <a:lnTo>
                      <a:pt x="1393" y="421"/>
                    </a:lnTo>
                    <a:lnTo>
                      <a:pt x="1393" y="418"/>
                    </a:lnTo>
                    <a:lnTo>
                      <a:pt x="1393" y="418"/>
                    </a:lnTo>
                    <a:lnTo>
                      <a:pt x="1393" y="418"/>
                    </a:lnTo>
                    <a:lnTo>
                      <a:pt x="1393" y="416"/>
                    </a:lnTo>
                    <a:lnTo>
                      <a:pt x="1393" y="416"/>
                    </a:lnTo>
                    <a:lnTo>
                      <a:pt x="1393" y="414"/>
                    </a:lnTo>
                    <a:lnTo>
                      <a:pt x="1396" y="414"/>
                    </a:lnTo>
                    <a:lnTo>
                      <a:pt x="1396" y="414"/>
                    </a:lnTo>
                    <a:lnTo>
                      <a:pt x="1393" y="414"/>
                    </a:lnTo>
                    <a:lnTo>
                      <a:pt x="1393" y="411"/>
                    </a:lnTo>
                    <a:lnTo>
                      <a:pt x="1396" y="411"/>
                    </a:lnTo>
                    <a:lnTo>
                      <a:pt x="1396" y="411"/>
                    </a:lnTo>
                    <a:lnTo>
                      <a:pt x="1398" y="411"/>
                    </a:lnTo>
                    <a:lnTo>
                      <a:pt x="1400" y="414"/>
                    </a:lnTo>
                    <a:lnTo>
                      <a:pt x="1400" y="414"/>
                    </a:lnTo>
                    <a:lnTo>
                      <a:pt x="1400" y="416"/>
                    </a:lnTo>
                    <a:lnTo>
                      <a:pt x="1403" y="416"/>
                    </a:lnTo>
                    <a:lnTo>
                      <a:pt x="1400" y="416"/>
                    </a:lnTo>
                    <a:lnTo>
                      <a:pt x="1403" y="418"/>
                    </a:lnTo>
                    <a:lnTo>
                      <a:pt x="1400" y="418"/>
                    </a:lnTo>
                    <a:lnTo>
                      <a:pt x="1403" y="421"/>
                    </a:lnTo>
                    <a:lnTo>
                      <a:pt x="1400" y="421"/>
                    </a:lnTo>
                    <a:lnTo>
                      <a:pt x="1400" y="423"/>
                    </a:lnTo>
                    <a:lnTo>
                      <a:pt x="1398" y="426"/>
                    </a:lnTo>
                    <a:lnTo>
                      <a:pt x="1398" y="426"/>
                    </a:lnTo>
                    <a:lnTo>
                      <a:pt x="1398" y="428"/>
                    </a:lnTo>
                    <a:lnTo>
                      <a:pt x="1398" y="428"/>
                    </a:lnTo>
                    <a:lnTo>
                      <a:pt x="1400" y="428"/>
                    </a:lnTo>
                    <a:lnTo>
                      <a:pt x="1400" y="426"/>
                    </a:lnTo>
                    <a:lnTo>
                      <a:pt x="1403" y="428"/>
                    </a:lnTo>
                    <a:lnTo>
                      <a:pt x="1403" y="428"/>
                    </a:lnTo>
                    <a:lnTo>
                      <a:pt x="1405" y="426"/>
                    </a:lnTo>
                    <a:lnTo>
                      <a:pt x="1405" y="423"/>
                    </a:lnTo>
                    <a:lnTo>
                      <a:pt x="1405" y="423"/>
                    </a:lnTo>
                    <a:lnTo>
                      <a:pt x="1405" y="421"/>
                    </a:lnTo>
                    <a:lnTo>
                      <a:pt x="1405" y="418"/>
                    </a:lnTo>
                    <a:lnTo>
                      <a:pt x="1405" y="418"/>
                    </a:lnTo>
                    <a:lnTo>
                      <a:pt x="1405" y="416"/>
                    </a:lnTo>
                    <a:lnTo>
                      <a:pt x="1405" y="416"/>
                    </a:lnTo>
                    <a:lnTo>
                      <a:pt x="1405" y="414"/>
                    </a:lnTo>
                    <a:lnTo>
                      <a:pt x="1405" y="411"/>
                    </a:lnTo>
                    <a:lnTo>
                      <a:pt x="1407" y="411"/>
                    </a:lnTo>
                    <a:lnTo>
                      <a:pt x="1407" y="411"/>
                    </a:lnTo>
                    <a:lnTo>
                      <a:pt x="1407" y="411"/>
                    </a:lnTo>
                    <a:lnTo>
                      <a:pt x="1407" y="414"/>
                    </a:lnTo>
                    <a:lnTo>
                      <a:pt x="1407" y="414"/>
                    </a:lnTo>
                    <a:lnTo>
                      <a:pt x="1407" y="416"/>
                    </a:lnTo>
                    <a:lnTo>
                      <a:pt x="1407" y="416"/>
                    </a:lnTo>
                    <a:lnTo>
                      <a:pt x="1410" y="414"/>
                    </a:lnTo>
                    <a:lnTo>
                      <a:pt x="1412" y="416"/>
                    </a:lnTo>
                    <a:lnTo>
                      <a:pt x="1410" y="416"/>
                    </a:lnTo>
                    <a:lnTo>
                      <a:pt x="1412" y="421"/>
                    </a:lnTo>
                    <a:lnTo>
                      <a:pt x="1412" y="423"/>
                    </a:lnTo>
                    <a:lnTo>
                      <a:pt x="1412" y="421"/>
                    </a:lnTo>
                    <a:lnTo>
                      <a:pt x="1412" y="421"/>
                    </a:lnTo>
                    <a:lnTo>
                      <a:pt x="1412" y="418"/>
                    </a:lnTo>
                    <a:lnTo>
                      <a:pt x="1415" y="418"/>
                    </a:lnTo>
                    <a:lnTo>
                      <a:pt x="1415" y="416"/>
                    </a:lnTo>
                    <a:lnTo>
                      <a:pt x="1412" y="414"/>
                    </a:lnTo>
                    <a:lnTo>
                      <a:pt x="1412" y="414"/>
                    </a:lnTo>
                    <a:lnTo>
                      <a:pt x="1412" y="414"/>
                    </a:lnTo>
                    <a:lnTo>
                      <a:pt x="1412" y="411"/>
                    </a:lnTo>
                    <a:lnTo>
                      <a:pt x="1415" y="414"/>
                    </a:lnTo>
                    <a:lnTo>
                      <a:pt x="1415" y="411"/>
                    </a:lnTo>
                    <a:lnTo>
                      <a:pt x="1415" y="411"/>
                    </a:lnTo>
                    <a:lnTo>
                      <a:pt x="1417" y="409"/>
                    </a:lnTo>
                    <a:lnTo>
                      <a:pt x="1417" y="409"/>
                    </a:lnTo>
                    <a:lnTo>
                      <a:pt x="1419" y="409"/>
                    </a:lnTo>
                    <a:lnTo>
                      <a:pt x="1422" y="409"/>
                    </a:lnTo>
                    <a:lnTo>
                      <a:pt x="1419" y="411"/>
                    </a:lnTo>
                    <a:lnTo>
                      <a:pt x="1422" y="414"/>
                    </a:lnTo>
                    <a:lnTo>
                      <a:pt x="1422" y="414"/>
                    </a:lnTo>
                    <a:lnTo>
                      <a:pt x="1419" y="416"/>
                    </a:lnTo>
                    <a:lnTo>
                      <a:pt x="1422" y="418"/>
                    </a:lnTo>
                    <a:lnTo>
                      <a:pt x="1422" y="416"/>
                    </a:lnTo>
                    <a:lnTo>
                      <a:pt x="1422" y="416"/>
                    </a:lnTo>
                    <a:lnTo>
                      <a:pt x="1424" y="414"/>
                    </a:lnTo>
                    <a:lnTo>
                      <a:pt x="1426" y="416"/>
                    </a:lnTo>
                    <a:lnTo>
                      <a:pt x="1426" y="418"/>
                    </a:lnTo>
                    <a:lnTo>
                      <a:pt x="1429" y="421"/>
                    </a:lnTo>
                    <a:lnTo>
                      <a:pt x="1429" y="421"/>
                    </a:lnTo>
                    <a:lnTo>
                      <a:pt x="1429" y="421"/>
                    </a:lnTo>
                    <a:lnTo>
                      <a:pt x="1429" y="423"/>
                    </a:lnTo>
                    <a:lnTo>
                      <a:pt x="1429" y="423"/>
                    </a:lnTo>
                    <a:lnTo>
                      <a:pt x="1426" y="423"/>
                    </a:lnTo>
                    <a:lnTo>
                      <a:pt x="1429" y="426"/>
                    </a:lnTo>
                    <a:lnTo>
                      <a:pt x="1429" y="426"/>
                    </a:lnTo>
                    <a:lnTo>
                      <a:pt x="1426" y="430"/>
                    </a:lnTo>
                    <a:lnTo>
                      <a:pt x="1429" y="430"/>
                    </a:lnTo>
                    <a:lnTo>
                      <a:pt x="1429" y="430"/>
                    </a:lnTo>
                    <a:lnTo>
                      <a:pt x="1431" y="430"/>
                    </a:lnTo>
                    <a:lnTo>
                      <a:pt x="1431" y="430"/>
                    </a:lnTo>
                    <a:lnTo>
                      <a:pt x="1436" y="423"/>
                    </a:lnTo>
                    <a:lnTo>
                      <a:pt x="1433" y="421"/>
                    </a:lnTo>
                    <a:lnTo>
                      <a:pt x="1436" y="418"/>
                    </a:lnTo>
                    <a:lnTo>
                      <a:pt x="1433" y="416"/>
                    </a:lnTo>
                    <a:lnTo>
                      <a:pt x="1436" y="416"/>
                    </a:lnTo>
                    <a:lnTo>
                      <a:pt x="1436" y="414"/>
                    </a:lnTo>
                    <a:lnTo>
                      <a:pt x="1438" y="416"/>
                    </a:lnTo>
                    <a:lnTo>
                      <a:pt x="1438" y="418"/>
                    </a:lnTo>
                    <a:lnTo>
                      <a:pt x="1441" y="418"/>
                    </a:lnTo>
                    <a:lnTo>
                      <a:pt x="1441" y="421"/>
                    </a:lnTo>
                    <a:lnTo>
                      <a:pt x="1441" y="423"/>
                    </a:lnTo>
                    <a:lnTo>
                      <a:pt x="1441" y="423"/>
                    </a:lnTo>
                    <a:lnTo>
                      <a:pt x="1441" y="423"/>
                    </a:lnTo>
                    <a:lnTo>
                      <a:pt x="1443" y="423"/>
                    </a:lnTo>
                    <a:lnTo>
                      <a:pt x="1441" y="426"/>
                    </a:lnTo>
                    <a:lnTo>
                      <a:pt x="1443" y="428"/>
                    </a:lnTo>
                    <a:lnTo>
                      <a:pt x="1443" y="428"/>
                    </a:lnTo>
                    <a:lnTo>
                      <a:pt x="1443" y="428"/>
                    </a:lnTo>
                    <a:lnTo>
                      <a:pt x="1443" y="430"/>
                    </a:lnTo>
                    <a:lnTo>
                      <a:pt x="1445" y="430"/>
                    </a:lnTo>
                    <a:lnTo>
                      <a:pt x="1448" y="435"/>
                    </a:lnTo>
                    <a:lnTo>
                      <a:pt x="1448" y="437"/>
                    </a:lnTo>
                    <a:lnTo>
                      <a:pt x="1445" y="440"/>
                    </a:lnTo>
                    <a:lnTo>
                      <a:pt x="1448" y="437"/>
                    </a:lnTo>
                    <a:lnTo>
                      <a:pt x="1450" y="440"/>
                    </a:lnTo>
                    <a:lnTo>
                      <a:pt x="1450" y="437"/>
                    </a:lnTo>
                    <a:lnTo>
                      <a:pt x="1450" y="435"/>
                    </a:lnTo>
                    <a:lnTo>
                      <a:pt x="1450" y="430"/>
                    </a:lnTo>
                    <a:lnTo>
                      <a:pt x="1448" y="426"/>
                    </a:lnTo>
                    <a:lnTo>
                      <a:pt x="1450" y="421"/>
                    </a:lnTo>
                    <a:lnTo>
                      <a:pt x="1448" y="421"/>
                    </a:lnTo>
                    <a:lnTo>
                      <a:pt x="1448" y="421"/>
                    </a:lnTo>
                    <a:lnTo>
                      <a:pt x="1450" y="418"/>
                    </a:lnTo>
                    <a:lnTo>
                      <a:pt x="1448" y="418"/>
                    </a:lnTo>
                    <a:lnTo>
                      <a:pt x="1452" y="416"/>
                    </a:lnTo>
                    <a:lnTo>
                      <a:pt x="1455" y="416"/>
                    </a:lnTo>
                    <a:lnTo>
                      <a:pt x="1455" y="418"/>
                    </a:lnTo>
                    <a:lnTo>
                      <a:pt x="1455" y="421"/>
                    </a:lnTo>
                    <a:lnTo>
                      <a:pt x="1455" y="421"/>
                    </a:lnTo>
                    <a:lnTo>
                      <a:pt x="1455" y="423"/>
                    </a:lnTo>
                    <a:lnTo>
                      <a:pt x="1455" y="423"/>
                    </a:lnTo>
                    <a:lnTo>
                      <a:pt x="1455" y="423"/>
                    </a:lnTo>
                    <a:lnTo>
                      <a:pt x="1455" y="423"/>
                    </a:lnTo>
                    <a:lnTo>
                      <a:pt x="1455" y="423"/>
                    </a:lnTo>
                    <a:lnTo>
                      <a:pt x="1457" y="426"/>
                    </a:lnTo>
                    <a:lnTo>
                      <a:pt x="1457" y="426"/>
                    </a:lnTo>
                    <a:lnTo>
                      <a:pt x="1459" y="423"/>
                    </a:lnTo>
                    <a:lnTo>
                      <a:pt x="1459" y="421"/>
                    </a:lnTo>
                    <a:lnTo>
                      <a:pt x="1462" y="421"/>
                    </a:lnTo>
                    <a:lnTo>
                      <a:pt x="1462" y="421"/>
                    </a:lnTo>
                    <a:lnTo>
                      <a:pt x="1459" y="421"/>
                    </a:lnTo>
                    <a:lnTo>
                      <a:pt x="1459" y="418"/>
                    </a:lnTo>
                    <a:lnTo>
                      <a:pt x="1459" y="418"/>
                    </a:lnTo>
                    <a:lnTo>
                      <a:pt x="1464" y="418"/>
                    </a:lnTo>
                    <a:lnTo>
                      <a:pt x="1464" y="418"/>
                    </a:lnTo>
                    <a:lnTo>
                      <a:pt x="1467" y="418"/>
                    </a:lnTo>
                    <a:lnTo>
                      <a:pt x="1469" y="416"/>
                    </a:lnTo>
                    <a:lnTo>
                      <a:pt x="1471" y="418"/>
                    </a:lnTo>
                    <a:lnTo>
                      <a:pt x="1474" y="418"/>
                    </a:lnTo>
                    <a:lnTo>
                      <a:pt x="1471" y="418"/>
                    </a:lnTo>
                    <a:lnTo>
                      <a:pt x="1471" y="421"/>
                    </a:lnTo>
                    <a:lnTo>
                      <a:pt x="1471" y="418"/>
                    </a:lnTo>
                    <a:lnTo>
                      <a:pt x="1471" y="418"/>
                    </a:lnTo>
                    <a:lnTo>
                      <a:pt x="1471" y="421"/>
                    </a:lnTo>
                    <a:lnTo>
                      <a:pt x="1471" y="421"/>
                    </a:lnTo>
                    <a:lnTo>
                      <a:pt x="1471" y="423"/>
                    </a:lnTo>
                    <a:lnTo>
                      <a:pt x="1471" y="423"/>
                    </a:lnTo>
                    <a:lnTo>
                      <a:pt x="1474" y="423"/>
                    </a:lnTo>
                    <a:lnTo>
                      <a:pt x="1474" y="423"/>
                    </a:lnTo>
                    <a:lnTo>
                      <a:pt x="1474" y="423"/>
                    </a:lnTo>
                    <a:lnTo>
                      <a:pt x="1476" y="423"/>
                    </a:lnTo>
                    <a:lnTo>
                      <a:pt x="1476" y="423"/>
                    </a:lnTo>
                    <a:lnTo>
                      <a:pt x="1474" y="421"/>
                    </a:lnTo>
                    <a:lnTo>
                      <a:pt x="1476" y="421"/>
                    </a:lnTo>
                    <a:lnTo>
                      <a:pt x="1476" y="421"/>
                    </a:lnTo>
                    <a:lnTo>
                      <a:pt x="1476" y="421"/>
                    </a:lnTo>
                    <a:lnTo>
                      <a:pt x="1478" y="421"/>
                    </a:lnTo>
                    <a:lnTo>
                      <a:pt x="1481" y="423"/>
                    </a:lnTo>
                    <a:lnTo>
                      <a:pt x="1483" y="426"/>
                    </a:lnTo>
                    <a:lnTo>
                      <a:pt x="1481" y="428"/>
                    </a:lnTo>
                    <a:lnTo>
                      <a:pt x="1481" y="428"/>
                    </a:lnTo>
                    <a:lnTo>
                      <a:pt x="1481" y="428"/>
                    </a:lnTo>
                    <a:lnTo>
                      <a:pt x="1478" y="428"/>
                    </a:lnTo>
                    <a:lnTo>
                      <a:pt x="1478" y="428"/>
                    </a:lnTo>
                    <a:lnTo>
                      <a:pt x="1478" y="430"/>
                    </a:lnTo>
                    <a:lnTo>
                      <a:pt x="1481" y="430"/>
                    </a:lnTo>
                    <a:lnTo>
                      <a:pt x="1478" y="430"/>
                    </a:lnTo>
                    <a:lnTo>
                      <a:pt x="1481" y="430"/>
                    </a:lnTo>
                    <a:lnTo>
                      <a:pt x="1481" y="430"/>
                    </a:lnTo>
                    <a:lnTo>
                      <a:pt x="1481" y="430"/>
                    </a:lnTo>
                    <a:lnTo>
                      <a:pt x="1481" y="430"/>
                    </a:lnTo>
                    <a:lnTo>
                      <a:pt x="1483" y="430"/>
                    </a:lnTo>
                    <a:lnTo>
                      <a:pt x="1483" y="430"/>
                    </a:lnTo>
                    <a:lnTo>
                      <a:pt x="1485" y="430"/>
                    </a:lnTo>
                    <a:lnTo>
                      <a:pt x="1483" y="430"/>
                    </a:lnTo>
                    <a:lnTo>
                      <a:pt x="1483" y="428"/>
                    </a:lnTo>
                    <a:lnTo>
                      <a:pt x="1485" y="428"/>
                    </a:lnTo>
                    <a:lnTo>
                      <a:pt x="1485" y="426"/>
                    </a:lnTo>
                    <a:lnTo>
                      <a:pt x="1485" y="426"/>
                    </a:lnTo>
                    <a:lnTo>
                      <a:pt x="1485" y="428"/>
                    </a:lnTo>
                    <a:lnTo>
                      <a:pt x="1488" y="426"/>
                    </a:lnTo>
                    <a:lnTo>
                      <a:pt x="1488" y="426"/>
                    </a:lnTo>
                    <a:lnTo>
                      <a:pt x="1488" y="428"/>
                    </a:lnTo>
                    <a:lnTo>
                      <a:pt x="1488" y="428"/>
                    </a:lnTo>
                    <a:lnTo>
                      <a:pt x="1488" y="428"/>
                    </a:lnTo>
                    <a:lnTo>
                      <a:pt x="1488" y="428"/>
                    </a:lnTo>
                    <a:lnTo>
                      <a:pt x="1488" y="430"/>
                    </a:lnTo>
                    <a:lnTo>
                      <a:pt x="1488" y="435"/>
                    </a:lnTo>
                    <a:lnTo>
                      <a:pt x="1488" y="435"/>
                    </a:lnTo>
                    <a:lnTo>
                      <a:pt x="1485" y="437"/>
                    </a:lnTo>
                    <a:lnTo>
                      <a:pt x="1488" y="440"/>
                    </a:lnTo>
                    <a:lnTo>
                      <a:pt x="1488" y="440"/>
                    </a:lnTo>
                    <a:lnTo>
                      <a:pt x="1488" y="440"/>
                    </a:lnTo>
                    <a:lnTo>
                      <a:pt x="1488" y="440"/>
                    </a:lnTo>
                    <a:lnTo>
                      <a:pt x="1488" y="437"/>
                    </a:lnTo>
                    <a:lnTo>
                      <a:pt x="1488" y="440"/>
                    </a:lnTo>
                    <a:lnTo>
                      <a:pt x="1488" y="437"/>
                    </a:lnTo>
                    <a:lnTo>
                      <a:pt x="1488" y="437"/>
                    </a:lnTo>
                    <a:lnTo>
                      <a:pt x="1488" y="437"/>
                    </a:lnTo>
                    <a:lnTo>
                      <a:pt x="1490" y="433"/>
                    </a:lnTo>
                    <a:lnTo>
                      <a:pt x="1490" y="433"/>
                    </a:lnTo>
                    <a:lnTo>
                      <a:pt x="1490" y="435"/>
                    </a:lnTo>
                    <a:lnTo>
                      <a:pt x="1490" y="433"/>
                    </a:lnTo>
                    <a:lnTo>
                      <a:pt x="1490" y="433"/>
                    </a:lnTo>
                    <a:lnTo>
                      <a:pt x="1490" y="430"/>
                    </a:lnTo>
                    <a:lnTo>
                      <a:pt x="1490" y="430"/>
                    </a:lnTo>
                    <a:lnTo>
                      <a:pt x="1490" y="430"/>
                    </a:lnTo>
                    <a:lnTo>
                      <a:pt x="1490" y="428"/>
                    </a:lnTo>
                    <a:lnTo>
                      <a:pt x="1490" y="428"/>
                    </a:lnTo>
                    <a:lnTo>
                      <a:pt x="1493" y="428"/>
                    </a:lnTo>
                    <a:lnTo>
                      <a:pt x="1493" y="428"/>
                    </a:lnTo>
                    <a:lnTo>
                      <a:pt x="1495" y="428"/>
                    </a:lnTo>
                    <a:lnTo>
                      <a:pt x="1495" y="428"/>
                    </a:lnTo>
                    <a:lnTo>
                      <a:pt x="1497" y="426"/>
                    </a:lnTo>
                    <a:lnTo>
                      <a:pt x="1497" y="428"/>
                    </a:lnTo>
                    <a:lnTo>
                      <a:pt x="1497" y="428"/>
                    </a:lnTo>
                    <a:lnTo>
                      <a:pt x="1500" y="428"/>
                    </a:lnTo>
                    <a:lnTo>
                      <a:pt x="1500" y="430"/>
                    </a:lnTo>
                    <a:lnTo>
                      <a:pt x="1497" y="433"/>
                    </a:lnTo>
                    <a:lnTo>
                      <a:pt x="1497" y="433"/>
                    </a:lnTo>
                    <a:lnTo>
                      <a:pt x="1500" y="433"/>
                    </a:lnTo>
                    <a:lnTo>
                      <a:pt x="1500" y="435"/>
                    </a:lnTo>
                    <a:lnTo>
                      <a:pt x="1500" y="435"/>
                    </a:lnTo>
                    <a:lnTo>
                      <a:pt x="1500" y="435"/>
                    </a:lnTo>
                    <a:lnTo>
                      <a:pt x="1497" y="437"/>
                    </a:lnTo>
                    <a:lnTo>
                      <a:pt x="1500" y="437"/>
                    </a:lnTo>
                    <a:lnTo>
                      <a:pt x="1500" y="437"/>
                    </a:lnTo>
                    <a:lnTo>
                      <a:pt x="1500" y="437"/>
                    </a:lnTo>
                    <a:lnTo>
                      <a:pt x="1500" y="440"/>
                    </a:lnTo>
                    <a:lnTo>
                      <a:pt x="1500" y="440"/>
                    </a:lnTo>
                    <a:lnTo>
                      <a:pt x="1500" y="440"/>
                    </a:lnTo>
                    <a:lnTo>
                      <a:pt x="1500" y="440"/>
                    </a:lnTo>
                    <a:lnTo>
                      <a:pt x="1500" y="440"/>
                    </a:lnTo>
                    <a:lnTo>
                      <a:pt x="1500" y="440"/>
                    </a:lnTo>
                    <a:lnTo>
                      <a:pt x="1500" y="437"/>
                    </a:lnTo>
                    <a:lnTo>
                      <a:pt x="1502" y="435"/>
                    </a:lnTo>
                    <a:lnTo>
                      <a:pt x="1500" y="430"/>
                    </a:lnTo>
                    <a:lnTo>
                      <a:pt x="1502" y="433"/>
                    </a:lnTo>
                    <a:lnTo>
                      <a:pt x="1502" y="435"/>
                    </a:lnTo>
                    <a:lnTo>
                      <a:pt x="1502" y="440"/>
                    </a:lnTo>
                    <a:lnTo>
                      <a:pt x="1500" y="442"/>
                    </a:lnTo>
                    <a:lnTo>
                      <a:pt x="1500" y="444"/>
                    </a:lnTo>
                    <a:lnTo>
                      <a:pt x="1502" y="444"/>
                    </a:lnTo>
                    <a:lnTo>
                      <a:pt x="1502" y="442"/>
                    </a:lnTo>
                    <a:lnTo>
                      <a:pt x="1504" y="444"/>
                    </a:lnTo>
                    <a:lnTo>
                      <a:pt x="1504" y="444"/>
                    </a:lnTo>
                    <a:lnTo>
                      <a:pt x="1504" y="442"/>
                    </a:lnTo>
                    <a:lnTo>
                      <a:pt x="1502" y="442"/>
                    </a:lnTo>
                    <a:lnTo>
                      <a:pt x="1502" y="440"/>
                    </a:lnTo>
                    <a:lnTo>
                      <a:pt x="1504" y="440"/>
                    </a:lnTo>
                    <a:lnTo>
                      <a:pt x="1504" y="437"/>
                    </a:lnTo>
                    <a:lnTo>
                      <a:pt x="1504" y="435"/>
                    </a:lnTo>
                    <a:lnTo>
                      <a:pt x="1504" y="435"/>
                    </a:lnTo>
                    <a:lnTo>
                      <a:pt x="1504" y="435"/>
                    </a:lnTo>
                    <a:lnTo>
                      <a:pt x="1504" y="435"/>
                    </a:lnTo>
                    <a:lnTo>
                      <a:pt x="1507" y="435"/>
                    </a:lnTo>
                    <a:lnTo>
                      <a:pt x="1507" y="433"/>
                    </a:lnTo>
                    <a:lnTo>
                      <a:pt x="1509" y="433"/>
                    </a:lnTo>
                    <a:lnTo>
                      <a:pt x="1509" y="433"/>
                    </a:lnTo>
                    <a:lnTo>
                      <a:pt x="1511" y="430"/>
                    </a:lnTo>
                    <a:lnTo>
                      <a:pt x="1511" y="430"/>
                    </a:lnTo>
                    <a:lnTo>
                      <a:pt x="1514" y="430"/>
                    </a:lnTo>
                    <a:lnTo>
                      <a:pt x="1514" y="433"/>
                    </a:lnTo>
                    <a:lnTo>
                      <a:pt x="1516" y="435"/>
                    </a:lnTo>
                    <a:lnTo>
                      <a:pt x="1514" y="435"/>
                    </a:lnTo>
                    <a:lnTo>
                      <a:pt x="1514" y="435"/>
                    </a:lnTo>
                    <a:lnTo>
                      <a:pt x="1514" y="435"/>
                    </a:lnTo>
                    <a:lnTo>
                      <a:pt x="1514" y="437"/>
                    </a:lnTo>
                    <a:lnTo>
                      <a:pt x="1514" y="437"/>
                    </a:lnTo>
                    <a:lnTo>
                      <a:pt x="1514" y="437"/>
                    </a:lnTo>
                    <a:lnTo>
                      <a:pt x="1514" y="437"/>
                    </a:lnTo>
                    <a:lnTo>
                      <a:pt x="1514" y="440"/>
                    </a:lnTo>
                    <a:lnTo>
                      <a:pt x="1511" y="440"/>
                    </a:lnTo>
                    <a:lnTo>
                      <a:pt x="1511" y="442"/>
                    </a:lnTo>
                    <a:lnTo>
                      <a:pt x="1511" y="442"/>
                    </a:lnTo>
                    <a:lnTo>
                      <a:pt x="1514" y="440"/>
                    </a:lnTo>
                    <a:lnTo>
                      <a:pt x="1514" y="442"/>
                    </a:lnTo>
                    <a:lnTo>
                      <a:pt x="1514" y="442"/>
                    </a:lnTo>
                    <a:lnTo>
                      <a:pt x="1514" y="442"/>
                    </a:lnTo>
                    <a:lnTo>
                      <a:pt x="1514" y="442"/>
                    </a:lnTo>
                    <a:lnTo>
                      <a:pt x="1516" y="442"/>
                    </a:lnTo>
                    <a:lnTo>
                      <a:pt x="1516" y="442"/>
                    </a:lnTo>
                    <a:lnTo>
                      <a:pt x="1514" y="444"/>
                    </a:lnTo>
                    <a:lnTo>
                      <a:pt x="1516" y="444"/>
                    </a:lnTo>
                    <a:lnTo>
                      <a:pt x="1516" y="449"/>
                    </a:lnTo>
                    <a:lnTo>
                      <a:pt x="1516" y="449"/>
                    </a:lnTo>
                    <a:lnTo>
                      <a:pt x="1516" y="452"/>
                    </a:lnTo>
                    <a:lnTo>
                      <a:pt x="1516" y="452"/>
                    </a:lnTo>
                    <a:lnTo>
                      <a:pt x="1514" y="452"/>
                    </a:lnTo>
                    <a:lnTo>
                      <a:pt x="1514" y="452"/>
                    </a:lnTo>
                    <a:lnTo>
                      <a:pt x="1516" y="454"/>
                    </a:lnTo>
                    <a:lnTo>
                      <a:pt x="1518" y="454"/>
                    </a:lnTo>
                    <a:lnTo>
                      <a:pt x="1518" y="454"/>
                    </a:lnTo>
                    <a:lnTo>
                      <a:pt x="1518" y="452"/>
                    </a:lnTo>
                    <a:lnTo>
                      <a:pt x="1518" y="452"/>
                    </a:lnTo>
                    <a:lnTo>
                      <a:pt x="1518" y="452"/>
                    </a:lnTo>
                    <a:lnTo>
                      <a:pt x="1518" y="452"/>
                    </a:lnTo>
                    <a:lnTo>
                      <a:pt x="1521" y="452"/>
                    </a:lnTo>
                    <a:lnTo>
                      <a:pt x="1518" y="452"/>
                    </a:lnTo>
                    <a:lnTo>
                      <a:pt x="1518" y="449"/>
                    </a:lnTo>
                    <a:lnTo>
                      <a:pt x="1518" y="449"/>
                    </a:lnTo>
                    <a:lnTo>
                      <a:pt x="1518" y="447"/>
                    </a:lnTo>
                    <a:lnTo>
                      <a:pt x="1518" y="447"/>
                    </a:lnTo>
                    <a:lnTo>
                      <a:pt x="1521" y="444"/>
                    </a:lnTo>
                    <a:lnTo>
                      <a:pt x="1523" y="444"/>
                    </a:lnTo>
                    <a:lnTo>
                      <a:pt x="1523" y="444"/>
                    </a:lnTo>
                    <a:lnTo>
                      <a:pt x="1523" y="444"/>
                    </a:lnTo>
                    <a:lnTo>
                      <a:pt x="1523" y="442"/>
                    </a:lnTo>
                    <a:lnTo>
                      <a:pt x="1523" y="442"/>
                    </a:lnTo>
                    <a:lnTo>
                      <a:pt x="1523" y="442"/>
                    </a:lnTo>
                    <a:lnTo>
                      <a:pt x="1523" y="442"/>
                    </a:lnTo>
                    <a:lnTo>
                      <a:pt x="1523" y="440"/>
                    </a:lnTo>
                    <a:lnTo>
                      <a:pt x="1523" y="440"/>
                    </a:lnTo>
                    <a:lnTo>
                      <a:pt x="1526" y="437"/>
                    </a:lnTo>
                    <a:lnTo>
                      <a:pt x="1526" y="440"/>
                    </a:lnTo>
                    <a:lnTo>
                      <a:pt x="1526" y="440"/>
                    </a:lnTo>
                    <a:lnTo>
                      <a:pt x="1526" y="440"/>
                    </a:lnTo>
                    <a:lnTo>
                      <a:pt x="1526" y="437"/>
                    </a:lnTo>
                    <a:lnTo>
                      <a:pt x="1528" y="437"/>
                    </a:lnTo>
                    <a:lnTo>
                      <a:pt x="1528" y="437"/>
                    </a:lnTo>
                    <a:lnTo>
                      <a:pt x="1526" y="437"/>
                    </a:lnTo>
                    <a:lnTo>
                      <a:pt x="1526" y="435"/>
                    </a:lnTo>
                    <a:lnTo>
                      <a:pt x="1526" y="435"/>
                    </a:lnTo>
                    <a:lnTo>
                      <a:pt x="1528" y="435"/>
                    </a:lnTo>
                    <a:lnTo>
                      <a:pt x="1530" y="437"/>
                    </a:lnTo>
                    <a:lnTo>
                      <a:pt x="1530" y="437"/>
                    </a:lnTo>
                    <a:lnTo>
                      <a:pt x="1528" y="440"/>
                    </a:lnTo>
                    <a:lnTo>
                      <a:pt x="1528" y="440"/>
                    </a:lnTo>
                    <a:lnTo>
                      <a:pt x="1530" y="440"/>
                    </a:lnTo>
                    <a:lnTo>
                      <a:pt x="1530" y="442"/>
                    </a:lnTo>
                    <a:lnTo>
                      <a:pt x="1526" y="442"/>
                    </a:lnTo>
                    <a:lnTo>
                      <a:pt x="1528" y="442"/>
                    </a:lnTo>
                    <a:lnTo>
                      <a:pt x="1530" y="444"/>
                    </a:lnTo>
                    <a:lnTo>
                      <a:pt x="1528" y="447"/>
                    </a:lnTo>
                    <a:lnTo>
                      <a:pt x="1528" y="447"/>
                    </a:lnTo>
                    <a:lnTo>
                      <a:pt x="1528" y="447"/>
                    </a:lnTo>
                    <a:lnTo>
                      <a:pt x="1526" y="449"/>
                    </a:lnTo>
                    <a:lnTo>
                      <a:pt x="1528" y="449"/>
                    </a:lnTo>
                    <a:lnTo>
                      <a:pt x="1528" y="447"/>
                    </a:lnTo>
                    <a:lnTo>
                      <a:pt x="1530" y="447"/>
                    </a:lnTo>
                    <a:lnTo>
                      <a:pt x="1528" y="449"/>
                    </a:lnTo>
                    <a:lnTo>
                      <a:pt x="1528" y="449"/>
                    </a:lnTo>
                    <a:lnTo>
                      <a:pt x="1528" y="452"/>
                    </a:lnTo>
                    <a:lnTo>
                      <a:pt x="1528" y="452"/>
                    </a:lnTo>
                    <a:lnTo>
                      <a:pt x="1528" y="449"/>
                    </a:lnTo>
                    <a:lnTo>
                      <a:pt x="1528" y="449"/>
                    </a:lnTo>
                    <a:lnTo>
                      <a:pt x="1528" y="449"/>
                    </a:lnTo>
                    <a:lnTo>
                      <a:pt x="1530" y="449"/>
                    </a:lnTo>
                    <a:lnTo>
                      <a:pt x="1530" y="447"/>
                    </a:lnTo>
                    <a:lnTo>
                      <a:pt x="1533" y="447"/>
                    </a:lnTo>
                    <a:lnTo>
                      <a:pt x="1533" y="449"/>
                    </a:lnTo>
                    <a:lnTo>
                      <a:pt x="1533" y="452"/>
                    </a:lnTo>
                    <a:lnTo>
                      <a:pt x="1533" y="452"/>
                    </a:lnTo>
                    <a:lnTo>
                      <a:pt x="1533" y="452"/>
                    </a:lnTo>
                    <a:lnTo>
                      <a:pt x="1533" y="452"/>
                    </a:lnTo>
                    <a:lnTo>
                      <a:pt x="1530" y="454"/>
                    </a:lnTo>
                    <a:lnTo>
                      <a:pt x="1530" y="456"/>
                    </a:lnTo>
                    <a:lnTo>
                      <a:pt x="1530" y="456"/>
                    </a:lnTo>
                    <a:lnTo>
                      <a:pt x="1533" y="456"/>
                    </a:lnTo>
                    <a:lnTo>
                      <a:pt x="1533" y="456"/>
                    </a:lnTo>
                    <a:lnTo>
                      <a:pt x="1533" y="454"/>
                    </a:lnTo>
                    <a:lnTo>
                      <a:pt x="1533" y="452"/>
                    </a:lnTo>
                    <a:lnTo>
                      <a:pt x="1535" y="454"/>
                    </a:lnTo>
                    <a:lnTo>
                      <a:pt x="1535" y="456"/>
                    </a:lnTo>
                    <a:lnTo>
                      <a:pt x="1535" y="456"/>
                    </a:lnTo>
                    <a:lnTo>
                      <a:pt x="1535" y="456"/>
                    </a:lnTo>
                    <a:lnTo>
                      <a:pt x="1535" y="456"/>
                    </a:lnTo>
                    <a:lnTo>
                      <a:pt x="1535" y="454"/>
                    </a:lnTo>
                    <a:lnTo>
                      <a:pt x="1535" y="452"/>
                    </a:lnTo>
                    <a:lnTo>
                      <a:pt x="1535" y="452"/>
                    </a:lnTo>
                    <a:lnTo>
                      <a:pt x="1535" y="452"/>
                    </a:lnTo>
                    <a:lnTo>
                      <a:pt x="1535" y="452"/>
                    </a:lnTo>
                    <a:lnTo>
                      <a:pt x="1535" y="452"/>
                    </a:lnTo>
                    <a:lnTo>
                      <a:pt x="1535" y="449"/>
                    </a:lnTo>
                    <a:lnTo>
                      <a:pt x="1535" y="449"/>
                    </a:lnTo>
                    <a:lnTo>
                      <a:pt x="1537" y="449"/>
                    </a:lnTo>
                    <a:lnTo>
                      <a:pt x="1537" y="449"/>
                    </a:lnTo>
                    <a:lnTo>
                      <a:pt x="1537" y="447"/>
                    </a:lnTo>
                    <a:lnTo>
                      <a:pt x="1537" y="447"/>
                    </a:lnTo>
                    <a:lnTo>
                      <a:pt x="1540" y="447"/>
                    </a:lnTo>
                    <a:lnTo>
                      <a:pt x="1540" y="447"/>
                    </a:lnTo>
                    <a:lnTo>
                      <a:pt x="1542" y="452"/>
                    </a:lnTo>
                    <a:lnTo>
                      <a:pt x="1542" y="456"/>
                    </a:lnTo>
                    <a:lnTo>
                      <a:pt x="1542" y="456"/>
                    </a:lnTo>
                    <a:lnTo>
                      <a:pt x="1542" y="459"/>
                    </a:lnTo>
                    <a:lnTo>
                      <a:pt x="1542" y="459"/>
                    </a:lnTo>
                    <a:lnTo>
                      <a:pt x="1542" y="459"/>
                    </a:lnTo>
                    <a:lnTo>
                      <a:pt x="1542" y="456"/>
                    </a:lnTo>
                    <a:lnTo>
                      <a:pt x="1544" y="456"/>
                    </a:lnTo>
                    <a:lnTo>
                      <a:pt x="1544" y="454"/>
                    </a:lnTo>
                    <a:lnTo>
                      <a:pt x="1542" y="452"/>
                    </a:lnTo>
                    <a:lnTo>
                      <a:pt x="1544" y="447"/>
                    </a:lnTo>
                    <a:lnTo>
                      <a:pt x="1547" y="447"/>
                    </a:lnTo>
                    <a:lnTo>
                      <a:pt x="1547" y="447"/>
                    </a:lnTo>
                    <a:lnTo>
                      <a:pt x="1547" y="449"/>
                    </a:lnTo>
                    <a:lnTo>
                      <a:pt x="1549" y="452"/>
                    </a:lnTo>
                    <a:lnTo>
                      <a:pt x="1549" y="452"/>
                    </a:lnTo>
                    <a:lnTo>
                      <a:pt x="1549" y="452"/>
                    </a:lnTo>
                    <a:lnTo>
                      <a:pt x="1549" y="449"/>
                    </a:lnTo>
                    <a:lnTo>
                      <a:pt x="1552" y="449"/>
                    </a:lnTo>
                    <a:lnTo>
                      <a:pt x="1552" y="452"/>
                    </a:lnTo>
                    <a:lnTo>
                      <a:pt x="1552" y="449"/>
                    </a:lnTo>
                    <a:lnTo>
                      <a:pt x="1552" y="449"/>
                    </a:lnTo>
                    <a:lnTo>
                      <a:pt x="1549" y="449"/>
                    </a:lnTo>
                    <a:lnTo>
                      <a:pt x="1547" y="447"/>
                    </a:lnTo>
                    <a:lnTo>
                      <a:pt x="1547" y="444"/>
                    </a:lnTo>
                    <a:lnTo>
                      <a:pt x="1549" y="444"/>
                    </a:lnTo>
                    <a:lnTo>
                      <a:pt x="1552" y="447"/>
                    </a:lnTo>
                    <a:lnTo>
                      <a:pt x="1552" y="444"/>
                    </a:lnTo>
                    <a:lnTo>
                      <a:pt x="1549" y="442"/>
                    </a:lnTo>
                    <a:lnTo>
                      <a:pt x="1552" y="442"/>
                    </a:lnTo>
                    <a:lnTo>
                      <a:pt x="1552" y="442"/>
                    </a:lnTo>
                    <a:lnTo>
                      <a:pt x="1552" y="442"/>
                    </a:lnTo>
                    <a:lnTo>
                      <a:pt x="1554" y="442"/>
                    </a:lnTo>
                    <a:lnTo>
                      <a:pt x="1554" y="442"/>
                    </a:lnTo>
                    <a:lnTo>
                      <a:pt x="1554" y="442"/>
                    </a:lnTo>
                    <a:lnTo>
                      <a:pt x="1554" y="444"/>
                    </a:lnTo>
                    <a:lnTo>
                      <a:pt x="1554" y="444"/>
                    </a:lnTo>
                    <a:lnTo>
                      <a:pt x="1556" y="447"/>
                    </a:lnTo>
                    <a:lnTo>
                      <a:pt x="1556" y="447"/>
                    </a:lnTo>
                    <a:lnTo>
                      <a:pt x="1556" y="447"/>
                    </a:lnTo>
                    <a:lnTo>
                      <a:pt x="1556" y="449"/>
                    </a:lnTo>
                    <a:lnTo>
                      <a:pt x="1559" y="449"/>
                    </a:lnTo>
                    <a:lnTo>
                      <a:pt x="1559" y="449"/>
                    </a:lnTo>
                    <a:lnTo>
                      <a:pt x="1559" y="452"/>
                    </a:lnTo>
                    <a:lnTo>
                      <a:pt x="1559" y="452"/>
                    </a:lnTo>
                    <a:lnTo>
                      <a:pt x="1559" y="452"/>
                    </a:lnTo>
                    <a:lnTo>
                      <a:pt x="1559" y="449"/>
                    </a:lnTo>
                    <a:lnTo>
                      <a:pt x="1556" y="452"/>
                    </a:lnTo>
                    <a:lnTo>
                      <a:pt x="1556" y="449"/>
                    </a:lnTo>
                    <a:lnTo>
                      <a:pt x="1556" y="449"/>
                    </a:lnTo>
                    <a:lnTo>
                      <a:pt x="1556" y="452"/>
                    </a:lnTo>
                    <a:lnTo>
                      <a:pt x="1556" y="452"/>
                    </a:lnTo>
                    <a:lnTo>
                      <a:pt x="1556" y="452"/>
                    </a:lnTo>
                    <a:lnTo>
                      <a:pt x="1554" y="454"/>
                    </a:lnTo>
                    <a:lnTo>
                      <a:pt x="1554" y="452"/>
                    </a:lnTo>
                    <a:lnTo>
                      <a:pt x="1554" y="452"/>
                    </a:lnTo>
                    <a:lnTo>
                      <a:pt x="1554" y="456"/>
                    </a:lnTo>
                    <a:lnTo>
                      <a:pt x="1552" y="456"/>
                    </a:lnTo>
                    <a:lnTo>
                      <a:pt x="1554" y="456"/>
                    </a:lnTo>
                    <a:lnTo>
                      <a:pt x="1554" y="456"/>
                    </a:lnTo>
                    <a:lnTo>
                      <a:pt x="1554" y="459"/>
                    </a:lnTo>
                    <a:lnTo>
                      <a:pt x="1554" y="461"/>
                    </a:lnTo>
                    <a:lnTo>
                      <a:pt x="1554" y="463"/>
                    </a:lnTo>
                    <a:lnTo>
                      <a:pt x="1552" y="463"/>
                    </a:lnTo>
                    <a:lnTo>
                      <a:pt x="1552" y="463"/>
                    </a:lnTo>
                    <a:lnTo>
                      <a:pt x="1552" y="463"/>
                    </a:lnTo>
                    <a:lnTo>
                      <a:pt x="1552" y="463"/>
                    </a:lnTo>
                    <a:lnTo>
                      <a:pt x="1549" y="463"/>
                    </a:lnTo>
                    <a:lnTo>
                      <a:pt x="1549" y="463"/>
                    </a:lnTo>
                    <a:lnTo>
                      <a:pt x="1547" y="466"/>
                    </a:lnTo>
                    <a:lnTo>
                      <a:pt x="1549" y="466"/>
                    </a:lnTo>
                    <a:lnTo>
                      <a:pt x="1552" y="466"/>
                    </a:lnTo>
                    <a:lnTo>
                      <a:pt x="1549" y="466"/>
                    </a:lnTo>
                    <a:lnTo>
                      <a:pt x="1552" y="466"/>
                    </a:lnTo>
                    <a:lnTo>
                      <a:pt x="1554" y="463"/>
                    </a:lnTo>
                    <a:lnTo>
                      <a:pt x="1552" y="466"/>
                    </a:lnTo>
                    <a:lnTo>
                      <a:pt x="1554" y="466"/>
                    </a:lnTo>
                    <a:lnTo>
                      <a:pt x="1554" y="466"/>
                    </a:lnTo>
                    <a:lnTo>
                      <a:pt x="1556" y="463"/>
                    </a:lnTo>
                    <a:lnTo>
                      <a:pt x="1559" y="463"/>
                    </a:lnTo>
                    <a:lnTo>
                      <a:pt x="1559" y="463"/>
                    </a:lnTo>
                    <a:lnTo>
                      <a:pt x="1559" y="466"/>
                    </a:lnTo>
                    <a:lnTo>
                      <a:pt x="1561" y="466"/>
                    </a:lnTo>
                    <a:lnTo>
                      <a:pt x="1561" y="466"/>
                    </a:lnTo>
                    <a:lnTo>
                      <a:pt x="1561" y="466"/>
                    </a:lnTo>
                    <a:lnTo>
                      <a:pt x="1563" y="463"/>
                    </a:lnTo>
                    <a:lnTo>
                      <a:pt x="1563" y="463"/>
                    </a:lnTo>
                    <a:lnTo>
                      <a:pt x="1563" y="461"/>
                    </a:lnTo>
                    <a:lnTo>
                      <a:pt x="1563" y="461"/>
                    </a:lnTo>
                    <a:lnTo>
                      <a:pt x="1563" y="459"/>
                    </a:lnTo>
                    <a:lnTo>
                      <a:pt x="1563" y="459"/>
                    </a:lnTo>
                    <a:lnTo>
                      <a:pt x="1566" y="456"/>
                    </a:lnTo>
                    <a:lnTo>
                      <a:pt x="1568" y="459"/>
                    </a:lnTo>
                    <a:lnTo>
                      <a:pt x="1566" y="459"/>
                    </a:lnTo>
                    <a:lnTo>
                      <a:pt x="1566" y="461"/>
                    </a:lnTo>
                    <a:lnTo>
                      <a:pt x="1566" y="463"/>
                    </a:lnTo>
                    <a:lnTo>
                      <a:pt x="1568" y="466"/>
                    </a:lnTo>
                    <a:lnTo>
                      <a:pt x="1568" y="468"/>
                    </a:lnTo>
                    <a:lnTo>
                      <a:pt x="1568" y="466"/>
                    </a:lnTo>
                    <a:lnTo>
                      <a:pt x="1568" y="463"/>
                    </a:lnTo>
                    <a:lnTo>
                      <a:pt x="1568" y="466"/>
                    </a:lnTo>
                    <a:lnTo>
                      <a:pt x="1568" y="463"/>
                    </a:lnTo>
                    <a:lnTo>
                      <a:pt x="1568" y="463"/>
                    </a:lnTo>
                    <a:lnTo>
                      <a:pt x="1568" y="463"/>
                    </a:lnTo>
                    <a:lnTo>
                      <a:pt x="1570" y="463"/>
                    </a:lnTo>
                    <a:lnTo>
                      <a:pt x="1568" y="461"/>
                    </a:lnTo>
                    <a:lnTo>
                      <a:pt x="1568" y="459"/>
                    </a:lnTo>
                    <a:lnTo>
                      <a:pt x="1570" y="459"/>
                    </a:lnTo>
                    <a:lnTo>
                      <a:pt x="1570" y="456"/>
                    </a:lnTo>
                    <a:lnTo>
                      <a:pt x="1570" y="456"/>
                    </a:lnTo>
                    <a:lnTo>
                      <a:pt x="1570" y="456"/>
                    </a:lnTo>
                    <a:lnTo>
                      <a:pt x="1570" y="456"/>
                    </a:lnTo>
                    <a:lnTo>
                      <a:pt x="1570" y="456"/>
                    </a:lnTo>
                    <a:lnTo>
                      <a:pt x="1570" y="454"/>
                    </a:lnTo>
                    <a:lnTo>
                      <a:pt x="1573" y="454"/>
                    </a:lnTo>
                    <a:lnTo>
                      <a:pt x="1573" y="454"/>
                    </a:lnTo>
                    <a:lnTo>
                      <a:pt x="1575" y="454"/>
                    </a:lnTo>
                    <a:lnTo>
                      <a:pt x="1575" y="456"/>
                    </a:lnTo>
                    <a:lnTo>
                      <a:pt x="1578" y="456"/>
                    </a:lnTo>
                    <a:lnTo>
                      <a:pt x="1578" y="454"/>
                    </a:lnTo>
                    <a:lnTo>
                      <a:pt x="1578" y="452"/>
                    </a:lnTo>
                    <a:lnTo>
                      <a:pt x="1580" y="452"/>
                    </a:lnTo>
                    <a:lnTo>
                      <a:pt x="1580" y="452"/>
                    </a:lnTo>
                    <a:lnTo>
                      <a:pt x="1578" y="452"/>
                    </a:lnTo>
                    <a:lnTo>
                      <a:pt x="1582" y="452"/>
                    </a:lnTo>
                    <a:lnTo>
                      <a:pt x="1582" y="452"/>
                    </a:lnTo>
                    <a:lnTo>
                      <a:pt x="1582" y="454"/>
                    </a:lnTo>
                    <a:lnTo>
                      <a:pt x="1582" y="456"/>
                    </a:lnTo>
                    <a:lnTo>
                      <a:pt x="1580" y="456"/>
                    </a:lnTo>
                    <a:lnTo>
                      <a:pt x="1580" y="456"/>
                    </a:lnTo>
                    <a:lnTo>
                      <a:pt x="1578" y="456"/>
                    </a:lnTo>
                    <a:lnTo>
                      <a:pt x="1578" y="456"/>
                    </a:lnTo>
                    <a:lnTo>
                      <a:pt x="1575" y="459"/>
                    </a:lnTo>
                    <a:lnTo>
                      <a:pt x="1575" y="459"/>
                    </a:lnTo>
                    <a:lnTo>
                      <a:pt x="1575" y="459"/>
                    </a:lnTo>
                    <a:lnTo>
                      <a:pt x="1573" y="461"/>
                    </a:lnTo>
                    <a:lnTo>
                      <a:pt x="1575" y="461"/>
                    </a:lnTo>
                    <a:lnTo>
                      <a:pt x="1575" y="461"/>
                    </a:lnTo>
                    <a:lnTo>
                      <a:pt x="1575" y="461"/>
                    </a:lnTo>
                    <a:lnTo>
                      <a:pt x="1575" y="463"/>
                    </a:lnTo>
                    <a:lnTo>
                      <a:pt x="1578" y="463"/>
                    </a:lnTo>
                    <a:lnTo>
                      <a:pt x="1575" y="463"/>
                    </a:lnTo>
                    <a:lnTo>
                      <a:pt x="1575" y="463"/>
                    </a:lnTo>
                    <a:lnTo>
                      <a:pt x="1575" y="463"/>
                    </a:lnTo>
                    <a:lnTo>
                      <a:pt x="1578" y="466"/>
                    </a:lnTo>
                    <a:lnTo>
                      <a:pt x="1575" y="466"/>
                    </a:lnTo>
                    <a:lnTo>
                      <a:pt x="1575" y="466"/>
                    </a:lnTo>
                    <a:lnTo>
                      <a:pt x="1575" y="463"/>
                    </a:lnTo>
                    <a:lnTo>
                      <a:pt x="1573" y="466"/>
                    </a:lnTo>
                    <a:lnTo>
                      <a:pt x="1573" y="466"/>
                    </a:lnTo>
                    <a:lnTo>
                      <a:pt x="1573" y="466"/>
                    </a:lnTo>
                    <a:lnTo>
                      <a:pt x="1575" y="466"/>
                    </a:lnTo>
                    <a:lnTo>
                      <a:pt x="1578" y="466"/>
                    </a:lnTo>
                    <a:lnTo>
                      <a:pt x="1578" y="470"/>
                    </a:lnTo>
                    <a:lnTo>
                      <a:pt x="1575" y="470"/>
                    </a:lnTo>
                    <a:lnTo>
                      <a:pt x="1575" y="468"/>
                    </a:lnTo>
                    <a:lnTo>
                      <a:pt x="1573" y="470"/>
                    </a:lnTo>
                    <a:lnTo>
                      <a:pt x="1575" y="470"/>
                    </a:lnTo>
                    <a:lnTo>
                      <a:pt x="1575" y="473"/>
                    </a:lnTo>
                    <a:lnTo>
                      <a:pt x="1575" y="473"/>
                    </a:lnTo>
                    <a:lnTo>
                      <a:pt x="1575" y="473"/>
                    </a:lnTo>
                    <a:lnTo>
                      <a:pt x="1575" y="475"/>
                    </a:lnTo>
                    <a:lnTo>
                      <a:pt x="1573" y="475"/>
                    </a:lnTo>
                    <a:lnTo>
                      <a:pt x="1575" y="475"/>
                    </a:lnTo>
                    <a:lnTo>
                      <a:pt x="1575" y="478"/>
                    </a:lnTo>
                    <a:lnTo>
                      <a:pt x="1575" y="475"/>
                    </a:lnTo>
                    <a:lnTo>
                      <a:pt x="1578" y="473"/>
                    </a:lnTo>
                    <a:lnTo>
                      <a:pt x="1578" y="475"/>
                    </a:lnTo>
                    <a:lnTo>
                      <a:pt x="1578" y="473"/>
                    </a:lnTo>
                    <a:lnTo>
                      <a:pt x="1578" y="473"/>
                    </a:lnTo>
                    <a:lnTo>
                      <a:pt x="1578" y="473"/>
                    </a:lnTo>
                    <a:lnTo>
                      <a:pt x="1580" y="473"/>
                    </a:lnTo>
                    <a:lnTo>
                      <a:pt x="1582" y="473"/>
                    </a:lnTo>
                    <a:lnTo>
                      <a:pt x="1582" y="473"/>
                    </a:lnTo>
                    <a:lnTo>
                      <a:pt x="1582" y="475"/>
                    </a:lnTo>
                    <a:lnTo>
                      <a:pt x="1582" y="475"/>
                    </a:lnTo>
                    <a:lnTo>
                      <a:pt x="1582" y="475"/>
                    </a:lnTo>
                    <a:lnTo>
                      <a:pt x="1580" y="478"/>
                    </a:lnTo>
                    <a:lnTo>
                      <a:pt x="1580" y="478"/>
                    </a:lnTo>
                    <a:lnTo>
                      <a:pt x="1582" y="478"/>
                    </a:lnTo>
                    <a:lnTo>
                      <a:pt x="1582" y="478"/>
                    </a:lnTo>
                    <a:lnTo>
                      <a:pt x="1582" y="478"/>
                    </a:lnTo>
                    <a:lnTo>
                      <a:pt x="1582" y="478"/>
                    </a:lnTo>
                    <a:lnTo>
                      <a:pt x="1585" y="475"/>
                    </a:lnTo>
                    <a:lnTo>
                      <a:pt x="1582" y="473"/>
                    </a:lnTo>
                    <a:lnTo>
                      <a:pt x="1582" y="470"/>
                    </a:lnTo>
                    <a:lnTo>
                      <a:pt x="1582" y="470"/>
                    </a:lnTo>
                    <a:lnTo>
                      <a:pt x="1582" y="468"/>
                    </a:lnTo>
                    <a:lnTo>
                      <a:pt x="1582" y="468"/>
                    </a:lnTo>
                    <a:lnTo>
                      <a:pt x="1585" y="468"/>
                    </a:lnTo>
                    <a:lnTo>
                      <a:pt x="1587" y="468"/>
                    </a:lnTo>
                    <a:lnTo>
                      <a:pt x="1587" y="473"/>
                    </a:lnTo>
                    <a:lnTo>
                      <a:pt x="1587" y="475"/>
                    </a:lnTo>
                    <a:lnTo>
                      <a:pt x="1587" y="475"/>
                    </a:lnTo>
                    <a:lnTo>
                      <a:pt x="1587" y="478"/>
                    </a:lnTo>
                    <a:lnTo>
                      <a:pt x="1589" y="478"/>
                    </a:lnTo>
                    <a:lnTo>
                      <a:pt x="1587" y="475"/>
                    </a:lnTo>
                    <a:lnTo>
                      <a:pt x="1587" y="473"/>
                    </a:lnTo>
                    <a:lnTo>
                      <a:pt x="1589" y="473"/>
                    </a:lnTo>
                    <a:lnTo>
                      <a:pt x="1589" y="473"/>
                    </a:lnTo>
                    <a:lnTo>
                      <a:pt x="1589" y="470"/>
                    </a:lnTo>
                    <a:lnTo>
                      <a:pt x="1592" y="468"/>
                    </a:lnTo>
                    <a:lnTo>
                      <a:pt x="1592" y="468"/>
                    </a:lnTo>
                    <a:lnTo>
                      <a:pt x="1592" y="470"/>
                    </a:lnTo>
                    <a:lnTo>
                      <a:pt x="1592" y="473"/>
                    </a:lnTo>
                    <a:lnTo>
                      <a:pt x="1592" y="475"/>
                    </a:lnTo>
                    <a:lnTo>
                      <a:pt x="1592" y="475"/>
                    </a:lnTo>
                    <a:lnTo>
                      <a:pt x="1592" y="478"/>
                    </a:lnTo>
                    <a:lnTo>
                      <a:pt x="1592" y="480"/>
                    </a:lnTo>
                    <a:lnTo>
                      <a:pt x="1592" y="480"/>
                    </a:lnTo>
                    <a:lnTo>
                      <a:pt x="1592" y="480"/>
                    </a:lnTo>
                    <a:lnTo>
                      <a:pt x="1594" y="480"/>
                    </a:lnTo>
                    <a:lnTo>
                      <a:pt x="1596" y="482"/>
                    </a:lnTo>
                    <a:lnTo>
                      <a:pt x="1596" y="480"/>
                    </a:lnTo>
                    <a:lnTo>
                      <a:pt x="1596" y="478"/>
                    </a:lnTo>
                    <a:lnTo>
                      <a:pt x="1592" y="478"/>
                    </a:lnTo>
                    <a:lnTo>
                      <a:pt x="1592" y="478"/>
                    </a:lnTo>
                    <a:lnTo>
                      <a:pt x="1594" y="478"/>
                    </a:lnTo>
                    <a:lnTo>
                      <a:pt x="1594" y="475"/>
                    </a:lnTo>
                    <a:lnTo>
                      <a:pt x="1594" y="473"/>
                    </a:lnTo>
                    <a:lnTo>
                      <a:pt x="1596" y="473"/>
                    </a:lnTo>
                    <a:lnTo>
                      <a:pt x="1596" y="473"/>
                    </a:lnTo>
                    <a:lnTo>
                      <a:pt x="1596" y="473"/>
                    </a:lnTo>
                    <a:lnTo>
                      <a:pt x="1599" y="475"/>
                    </a:lnTo>
                    <a:lnTo>
                      <a:pt x="1596" y="478"/>
                    </a:lnTo>
                    <a:lnTo>
                      <a:pt x="1599" y="478"/>
                    </a:lnTo>
                    <a:lnTo>
                      <a:pt x="1599" y="475"/>
                    </a:lnTo>
                    <a:lnTo>
                      <a:pt x="1599" y="475"/>
                    </a:lnTo>
                    <a:lnTo>
                      <a:pt x="1599" y="475"/>
                    </a:lnTo>
                    <a:lnTo>
                      <a:pt x="1599" y="475"/>
                    </a:lnTo>
                    <a:lnTo>
                      <a:pt x="1599" y="473"/>
                    </a:lnTo>
                    <a:lnTo>
                      <a:pt x="1596" y="470"/>
                    </a:lnTo>
                    <a:lnTo>
                      <a:pt x="1599" y="468"/>
                    </a:lnTo>
                    <a:lnTo>
                      <a:pt x="1599" y="470"/>
                    </a:lnTo>
                    <a:lnTo>
                      <a:pt x="1601" y="468"/>
                    </a:lnTo>
                    <a:lnTo>
                      <a:pt x="1601" y="468"/>
                    </a:lnTo>
                    <a:lnTo>
                      <a:pt x="1601" y="468"/>
                    </a:lnTo>
                    <a:lnTo>
                      <a:pt x="1601" y="468"/>
                    </a:lnTo>
                    <a:lnTo>
                      <a:pt x="1599" y="468"/>
                    </a:lnTo>
                    <a:lnTo>
                      <a:pt x="1601" y="466"/>
                    </a:lnTo>
                    <a:lnTo>
                      <a:pt x="1601" y="466"/>
                    </a:lnTo>
                    <a:lnTo>
                      <a:pt x="1601" y="463"/>
                    </a:lnTo>
                    <a:lnTo>
                      <a:pt x="1601" y="463"/>
                    </a:lnTo>
                    <a:lnTo>
                      <a:pt x="1601" y="461"/>
                    </a:lnTo>
                    <a:lnTo>
                      <a:pt x="1604" y="463"/>
                    </a:lnTo>
                    <a:lnTo>
                      <a:pt x="1601" y="461"/>
                    </a:lnTo>
                    <a:lnTo>
                      <a:pt x="1606" y="461"/>
                    </a:lnTo>
                    <a:lnTo>
                      <a:pt x="1604" y="461"/>
                    </a:lnTo>
                    <a:lnTo>
                      <a:pt x="1601" y="461"/>
                    </a:lnTo>
                    <a:lnTo>
                      <a:pt x="1601" y="461"/>
                    </a:lnTo>
                    <a:lnTo>
                      <a:pt x="1601" y="459"/>
                    </a:lnTo>
                    <a:lnTo>
                      <a:pt x="1604" y="459"/>
                    </a:lnTo>
                    <a:lnTo>
                      <a:pt x="1604" y="459"/>
                    </a:lnTo>
                    <a:lnTo>
                      <a:pt x="1604" y="459"/>
                    </a:lnTo>
                    <a:lnTo>
                      <a:pt x="1606" y="459"/>
                    </a:lnTo>
                    <a:lnTo>
                      <a:pt x="1606" y="459"/>
                    </a:lnTo>
                    <a:lnTo>
                      <a:pt x="1608" y="456"/>
                    </a:lnTo>
                    <a:lnTo>
                      <a:pt x="1608" y="456"/>
                    </a:lnTo>
                    <a:lnTo>
                      <a:pt x="1608" y="456"/>
                    </a:lnTo>
                    <a:lnTo>
                      <a:pt x="1611" y="456"/>
                    </a:lnTo>
                    <a:lnTo>
                      <a:pt x="1611" y="456"/>
                    </a:lnTo>
                    <a:lnTo>
                      <a:pt x="1611" y="461"/>
                    </a:lnTo>
                    <a:lnTo>
                      <a:pt x="1611" y="461"/>
                    </a:lnTo>
                    <a:lnTo>
                      <a:pt x="1608" y="461"/>
                    </a:lnTo>
                    <a:lnTo>
                      <a:pt x="1608" y="463"/>
                    </a:lnTo>
                    <a:lnTo>
                      <a:pt x="1608" y="463"/>
                    </a:lnTo>
                    <a:lnTo>
                      <a:pt x="1611" y="463"/>
                    </a:lnTo>
                    <a:lnTo>
                      <a:pt x="1608" y="466"/>
                    </a:lnTo>
                    <a:lnTo>
                      <a:pt x="1608" y="466"/>
                    </a:lnTo>
                    <a:lnTo>
                      <a:pt x="1606" y="466"/>
                    </a:lnTo>
                    <a:lnTo>
                      <a:pt x="1608" y="468"/>
                    </a:lnTo>
                    <a:lnTo>
                      <a:pt x="1606" y="468"/>
                    </a:lnTo>
                    <a:lnTo>
                      <a:pt x="1606" y="468"/>
                    </a:lnTo>
                    <a:lnTo>
                      <a:pt x="1606" y="468"/>
                    </a:lnTo>
                    <a:lnTo>
                      <a:pt x="1604" y="468"/>
                    </a:lnTo>
                    <a:lnTo>
                      <a:pt x="1606" y="468"/>
                    </a:lnTo>
                    <a:lnTo>
                      <a:pt x="1608" y="468"/>
                    </a:lnTo>
                    <a:lnTo>
                      <a:pt x="1608" y="468"/>
                    </a:lnTo>
                    <a:lnTo>
                      <a:pt x="1608" y="468"/>
                    </a:lnTo>
                    <a:lnTo>
                      <a:pt x="1608" y="468"/>
                    </a:lnTo>
                    <a:lnTo>
                      <a:pt x="1608" y="468"/>
                    </a:lnTo>
                    <a:lnTo>
                      <a:pt x="1608" y="473"/>
                    </a:lnTo>
                    <a:lnTo>
                      <a:pt x="1608" y="473"/>
                    </a:lnTo>
                    <a:lnTo>
                      <a:pt x="1608" y="473"/>
                    </a:lnTo>
                    <a:lnTo>
                      <a:pt x="1608" y="475"/>
                    </a:lnTo>
                    <a:lnTo>
                      <a:pt x="1608" y="478"/>
                    </a:lnTo>
                    <a:lnTo>
                      <a:pt x="1608" y="478"/>
                    </a:lnTo>
                    <a:lnTo>
                      <a:pt x="1606" y="480"/>
                    </a:lnTo>
                    <a:lnTo>
                      <a:pt x="1604" y="485"/>
                    </a:lnTo>
                    <a:lnTo>
                      <a:pt x="1601" y="485"/>
                    </a:lnTo>
                    <a:lnTo>
                      <a:pt x="1601" y="487"/>
                    </a:lnTo>
                    <a:lnTo>
                      <a:pt x="1601" y="489"/>
                    </a:lnTo>
                    <a:lnTo>
                      <a:pt x="1601" y="492"/>
                    </a:lnTo>
                    <a:lnTo>
                      <a:pt x="1601" y="492"/>
                    </a:lnTo>
                    <a:lnTo>
                      <a:pt x="1601" y="492"/>
                    </a:lnTo>
                    <a:lnTo>
                      <a:pt x="1604" y="489"/>
                    </a:lnTo>
                    <a:lnTo>
                      <a:pt x="1604" y="487"/>
                    </a:lnTo>
                    <a:lnTo>
                      <a:pt x="1606" y="487"/>
                    </a:lnTo>
                    <a:lnTo>
                      <a:pt x="1606" y="485"/>
                    </a:lnTo>
                    <a:lnTo>
                      <a:pt x="1606" y="482"/>
                    </a:lnTo>
                    <a:lnTo>
                      <a:pt x="1611" y="478"/>
                    </a:lnTo>
                    <a:lnTo>
                      <a:pt x="1611" y="475"/>
                    </a:lnTo>
                    <a:lnTo>
                      <a:pt x="1611" y="473"/>
                    </a:lnTo>
                    <a:lnTo>
                      <a:pt x="1613" y="470"/>
                    </a:lnTo>
                    <a:lnTo>
                      <a:pt x="1613" y="468"/>
                    </a:lnTo>
                    <a:lnTo>
                      <a:pt x="1615" y="468"/>
                    </a:lnTo>
                    <a:lnTo>
                      <a:pt x="1615" y="470"/>
                    </a:lnTo>
                    <a:lnTo>
                      <a:pt x="1615" y="473"/>
                    </a:lnTo>
                    <a:lnTo>
                      <a:pt x="1615" y="473"/>
                    </a:lnTo>
                    <a:lnTo>
                      <a:pt x="1615" y="475"/>
                    </a:lnTo>
                    <a:lnTo>
                      <a:pt x="1615" y="475"/>
                    </a:lnTo>
                    <a:lnTo>
                      <a:pt x="1615" y="478"/>
                    </a:lnTo>
                    <a:lnTo>
                      <a:pt x="1615" y="478"/>
                    </a:lnTo>
                    <a:lnTo>
                      <a:pt x="1613" y="480"/>
                    </a:lnTo>
                    <a:lnTo>
                      <a:pt x="1611" y="485"/>
                    </a:lnTo>
                    <a:lnTo>
                      <a:pt x="1608" y="487"/>
                    </a:lnTo>
                    <a:lnTo>
                      <a:pt x="1611" y="487"/>
                    </a:lnTo>
                    <a:lnTo>
                      <a:pt x="1611" y="487"/>
                    </a:lnTo>
                    <a:lnTo>
                      <a:pt x="1613" y="489"/>
                    </a:lnTo>
                    <a:lnTo>
                      <a:pt x="1613" y="489"/>
                    </a:lnTo>
                    <a:lnTo>
                      <a:pt x="1615" y="489"/>
                    </a:lnTo>
                    <a:lnTo>
                      <a:pt x="1613" y="485"/>
                    </a:lnTo>
                    <a:lnTo>
                      <a:pt x="1613" y="485"/>
                    </a:lnTo>
                    <a:lnTo>
                      <a:pt x="1615" y="480"/>
                    </a:lnTo>
                    <a:lnTo>
                      <a:pt x="1615" y="480"/>
                    </a:lnTo>
                    <a:lnTo>
                      <a:pt x="1615" y="482"/>
                    </a:lnTo>
                    <a:lnTo>
                      <a:pt x="1618" y="487"/>
                    </a:lnTo>
                    <a:lnTo>
                      <a:pt x="1615" y="487"/>
                    </a:lnTo>
                    <a:lnTo>
                      <a:pt x="1618" y="487"/>
                    </a:lnTo>
                    <a:lnTo>
                      <a:pt x="1618" y="485"/>
                    </a:lnTo>
                    <a:lnTo>
                      <a:pt x="1618" y="485"/>
                    </a:lnTo>
                    <a:lnTo>
                      <a:pt x="1618" y="485"/>
                    </a:lnTo>
                    <a:lnTo>
                      <a:pt x="1618" y="482"/>
                    </a:lnTo>
                    <a:lnTo>
                      <a:pt x="1615" y="480"/>
                    </a:lnTo>
                    <a:lnTo>
                      <a:pt x="1618" y="478"/>
                    </a:lnTo>
                    <a:lnTo>
                      <a:pt x="1618" y="478"/>
                    </a:lnTo>
                    <a:lnTo>
                      <a:pt x="1622" y="475"/>
                    </a:lnTo>
                    <a:lnTo>
                      <a:pt x="1622" y="475"/>
                    </a:lnTo>
                    <a:lnTo>
                      <a:pt x="1625" y="475"/>
                    </a:lnTo>
                    <a:lnTo>
                      <a:pt x="1625" y="473"/>
                    </a:lnTo>
                    <a:lnTo>
                      <a:pt x="1625" y="473"/>
                    </a:lnTo>
                    <a:lnTo>
                      <a:pt x="1625" y="473"/>
                    </a:lnTo>
                    <a:lnTo>
                      <a:pt x="1627" y="473"/>
                    </a:lnTo>
                    <a:lnTo>
                      <a:pt x="1627" y="475"/>
                    </a:lnTo>
                    <a:lnTo>
                      <a:pt x="1622" y="478"/>
                    </a:lnTo>
                    <a:lnTo>
                      <a:pt x="1622" y="480"/>
                    </a:lnTo>
                    <a:lnTo>
                      <a:pt x="1625" y="482"/>
                    </a:lnTo>
                    <a:lnTo>
                      <a:pt x="1625" y="482"/>
                    </a:lnTo>
                    <a:lnTo>
                      <a:pt x="1625" y="482"/>
                    </a:lnTo>
                    <a:lnTo>
                      <a:pt x="1627" y="485"/>
                    </a:lnTo>
                    <a:lnTo>
                      <a:pt x="1625" y="487"/>
                    </a:lnTo>
                    <a:lnTo>
                      <a:pt x="1625" y="492"/>
                    </a:lnTo>
                    <a:lnTo>
                      <a:pt x="1625" y="494"/>
                    </a:lnTo>
                    <a:lnTo>
                      <a:pt x="1622" y="496"/>
                    </a:lnTo>
                    <a:lnTo>
                      <a:pt x="1622" y="496"/>
                    </a:lnTo>
                    <a:lnTo>
                      <a:pt x="1620" y="496"/>
                    </a:lnTo>
                    <a:lnTo>
                      <a:pt x="1618" y="496"/>
                    </a:lnTo>
                    <a:lnTo>
                      <a:pt x="1615" y="499"/>
                    </a:lnTo>
                    <a:lnTo>
                      <a:pt x="1618" y="504"/>
                    </a:lnTo>
                    <a:lnTo>
                      <a:pt x="1615" y="506"/>
                    </a:lnTo>
                    <a:lnTo>
                      <a:pt x="1615" y="511"/>
                    </a:lnTo>
                    <a:lnTo>
                      <a:pt x="1618" y="511"/>
                    </a:lnTo>
                    <a:lnTo>
                      <a:pt x="1618" y="513"/>
                    </a:lnTo>
                    <a:lnTo>
                      <a:pt x="1618" y="513"/>
                    </a:lnTo>
                    <a:lnTo>
                      <a:pt x="1622" y="513"/>
                    </a:lnTo>
                    <a:lnTo>
                      <a:pt x="1622" y="513"/>
                    </a:lnTo>
                    <a:lnTo>
                      <a:pt x="1620" y="515"/>
                    </a:lnTo>
                    <a:lnTo>
                      <a:pt x="1620" y="518"/>
                    </a:lnTo>
                    <a:lnTo>
                      <a:pt x="1620" y="520"/>
                    </a:lnTo>
                    <a:lnTo>
                      <a:pt x="1618" y="522"/>
                    </a:lnTo>
                    <a:lnTo>
                      <a:pt x="1615" y="525"/>
                    </a:lnTo>
                    <a:lnTo>
                      <a:pt x="1618" y="527"/>
                    </a:lnTo>
                    <a:lnTo>
                      <a:pt x="1618" y="527"/>
                    </a:lnTo>
                    <a:lnTo>
                      <a:pt x="1613" y="532"/>
                    </a:lnTo>
                    <a:lnTo>
                      <a:pt x="1615" y="534"/>
                    </a:lnTo>
                    <a:lnTo>
                      <a:pt x="1615" y="534"/>
                    </a:lnTo>
                    <a:lnTo>
                      <a:pt x="1618" y="537"/>
                    </a:lnTo>
                    <a:lnTo>
                      <a:pt x="1618" y="539"/>
                    </a:lnTo>
                    <a:lnTo>
                      <a:pt x="1618" y="546"/>
                    </a:lnTo>
                    <a:lnTo>
                      <a:pt x="1615" y="546"/>
                    </a:lnTo>
                    <a:lnTo>
                      <a:pt x="1615" y="548"/>
                    </a:lnTo>
                    <a:lnTo>
                      <a:pt x="1618" y="548"/>
                    </a:lnTo>
                    <a:lnTo>
                      <a:pt x="1618" y="548"/>
                    </a:lnTo>
                    <a:lnTo>
                      <a:pt x="1615" y="551"/>
                    </a:lnTo>
                    <a:lnTo>
                      <a:pt x="1615" y="556"/>
                    </a:lnTo>
                    <a:lnTo>
                      <a:pt x="1615" y="556"/>
                    </a:lnTo>
                    <a:lnTo>
                      <a:pt x="1615" y="556"/>
                    </a:lnTo>
                    <a:lnTo>
                      <a:pt x="1615" y="558"/>
                    </a:lnTo>
                    <a:lnTo>
                      <a:pt x="1615" y="560"/>
                    </a:lnTo>
                    <a:lnTo>
                      <a:pt x="1613" y="560"/>
                    </a:lnTo>
                    <a:lnTo>
                      <a:pt x="1611" y="563"/>
                    </a:lnTo>
                    <a:lnTo>
                      <a:pt x="1611" y="563"/>
                    </a:lnTo>
                    <a:lnTo>
                      <a:pt x="1608" y="563"/>
                    </a:lnTo>
                    <a:lnTo>
                      <a:pt x="1608" y="565"/>
                    </a:lnTo>
                    <a:lnTo>
                      <a:pt x="1608" y="565"/>
                    </a:lnTo>
                    <a:lnTo>
                      <a:pt x="1608" y="565"/>
                    </a:lnTo>
                    <a:lnTo>
                      <a:pt x="1606" y="565"/>
                    </a:lnTo>
                    <a:lnTo>
                      <a:pt x="1606" y="565"/>
                    </a:lnTo>
                    <a:lnTo>
                      <a:pt x="1601" y="565"/>
                    </a:lnTo>
                    <a:lnTo>
                      <a:pt x="1599" y="565"/>
                    </a:lnTo>
                    <a:lnTo>
                      <a:pt x="1596" y="565"/>
                    </a:lnTo>
                    <a:lnTo>
                      <a:pt x="1596" y="565"/>
                    </a:lnTo>
                    <a:lnTo>
                      <a:pt x="1596" y="567"/>
                    </a:lnTo>
                    <a:lnTo>
                      <a:pt x="1594" y="570"/>
                    </a:lnTo>
                    <a:lnTo>
                      <a:pt x="1596" y="574"/>
                    </a:lnTo>
                    <a:lnTo>
                      <a:pt x="1596" y="574"/>
                    </a:lnTo>
                    <a:lnTo>
                      <a:pt x="1599" y="574"/>
                    </a:lnTo>
                    <a:lnTo>
                      <a:pt x="1599" y="574"/>
                    </a:lnTo>
                    <a:lnTo>
                      <a:pt x="1599" y="574"/>
                    </a:lnTo>
                    <a:lnTo>
                      <a:pt x="1601" y="574"/>
                    </a:lnTo>
                    <a:lnTo>
                      <a:pt x="1606" y="574"/>
                    </a:lnTo>
                    <a:lnTo>
                      <a:pt x="1608" y="577"/>
                    </a:lnTo>
                    <a:lnTo>
                      <a:pt x="1608" y="577"/>
                    </a:lnTo>
                    <a:lnTo>
                      <a:pt x="1608" y="579"/>
                    </a:lnTo>
                    <a:lnTo>
                      <a:pt x="1606" y="584"/>
                    </a:lnTo>
                    <a:lnTo>
                      <a:pt x="1606" y="586"/>
                    </a:lnTo>
                    <a:lnTo>
                      <a:pt x="1606" y="586"/>
                    </a:lnTo>
                    <a:lnTo>
                      <a:pt x="1608" y="589"/>
                    </a:lnTo>
                    <a:lnTo>
                      <a:pt x="1606" y="596"/>
                    </a:lnTo>
                    <a:lnTo>
                      <a:pt x="1604" y="600"/>
                    </a:lnTo>
                    <a:lnTo>
                      <a:pt x="1604" y="603"/>
                    </a:lnTo>
                    <a:lnTo>
                      <a:pt x="1601" y="605"/>
                    </a:lnTo>
                    <a:lnTo>
                      <a:pt x="1601" y="607"/>
                    </a:lnTo>
                    <a:lnTo>
                      <a:pt x="1601" y="607"/>
                    </a:lnTo>
                    <a:lnTo>
                      <a:pt x="1601" y="612"/>
                    </a:lnTo>
                    <a:lnTo>
                      <a:pt x="1601" y="612"/>
                    </a:lnTo>
                    <a:lnTo>
                      <a:pt x="1601" y="615"/>
                    </a:lnTo>
                    <a:lnTo>
                      <a:pt x="1601" y="617"/>
                    </a:lnTo>
                    <a:lnTo>
                      <a:pt x="1599" y="619"/>
                    </a:lnTo>
                    <a:lnTo>
                      <a:pt x="1599" y="619"/>
                    </a:lnTo>
                    <a:lnTo>
                      <a:pt x="1599" y="622"/>
                    </a:lnTo>
                    <a:lnTo>
                      <a:pt x="1599" y="622"/>
                    </a:lnTo>
                    <a:lnTo>
                      <a:pt x="1596" y="624"/>
                    </a:lnTo>
                    <a:lnTo>
                      <a:pt x="1594" y="624"/>
                    </a:lnTo>
                    <a:lnTo>
                      <a:pt x="1592" y="629"/>
                    </a:lnTo>
                    <a:lnTo>
                      <a:pt x="1592" y="629"/>
                    </a:lnTo>
                    <a:lnTo>
                      <a:pt x="1589" y="631"/>
                    </a:lnTo>
                    <a:lnTo>
                      <a:pt x="1589" y="631"/>
                    </a:lnTo>
                    <a:lnTo>
                      <a:pt x="1587" y="633"/>
                    </a:lnTo>
                    <a:lnTo>
                      <a:pt x="1587" y="633"/>
                    </a:lnTo>
                    <a:lnTo>
                      <a:pt x="1585" y="633"/>
                    </a:lnTo>
                    <a:lnTo>
                      <a:pt x="1582" y="631"/>
                    </a:lnTo>
                    <a:lnTo>
                      <a:pt x="1580" y="631"/>
                    </a:lnTo>
                    <a:lnTo>
                      <a:pt x="1580" y="633"/>
                    </a:lnTo>
                    <a:lnTo>
                      <a:pt x="1582" y="633"/>
                    </a:lnTo>
                    <a:lnTo>
                      <a:pt x="1582" y="638"/>
                    </a:lnTo>
                    <a:lnTo>
                      <a:pt x="1580" y="641"/>
                    </a:lnTo>
                    <a:lnTo>
                      <a:pt x="1580" y="643"/>
                    </a:lnTo>
                    <a:lnTo>
                      <a:pt x="1580" y="643"/>
                    </a:lnTo>
                    <a:lnTo>
                      <a:pt x="1580" y="645"/>
                    </a:lnTo>
                    <a:lnTo>
                      <a:pt x="1578" y="648"/>
                    </a:lnTo>
                    <a:lnTo>
                      <a:pt x="1578" y="650"/>
                    </a:lnTo>
                    <a:lnTo>
                      <a:pt x="1578" y="650"/>
                    </a:lnTo>
                    <a:lnTo>
                      <a:pt x="1578" y="650"/>
                    </a:lnTo>
                    <a:lnTo>
                      <a:pt x="1580" y="650"/>
                    </a:lnTo>
                    <a:lnTo>
                      <a:pt x="1582" y="648"/>
                    </a:lnTo>
                    <a:lnTo>
                      <a:pt x="1582" y="648"/>
                    </a:lnTo>
                    <a:lnTo>
                      <a:pt x="1582" y="650"/>
                    </a:lnTo>
                    <a:lnTo>
                      <a:pt x="1582" y="650"/>
                    </a:lnTo>
                    <a:lnTo>
                      <a:pt x="1582" y="652"/>
                    </a:lnTo>
                    <a:lnTo>
                      <a:pt x="1580" y="655"/>
                    </a:lnTo>
                    <a:lnTo>
                      <a:pt x="1580" y="657"/>
                    </a:lnTo>
                    <a:lnTo>
                      <a:pt x="1580" y="659"/>
                    </a:lnTo>
                    <a:lnTo>
                      <a:pt x="1580" y="659"/>
                    </a:lnTo>
                    <a:lnTo>
                      <a:pt x="1580" y="659"/>
                    </a:lnTo>
                    <a:lnTo>
                      <a:pt x="1580" y="662"/>
                    </a:lnTo>
                    <a:lnTo>
                      <a:pt x="1580" y="664"/>
                    </a:lnTo>
                    <a:lnTo>
                      <a:pt x="1580" y="667"/>
                    </a:lnTo>
                    <a:lnTo>
                      <a:pt x="1580" y="667"/>
                    </a:lnTo>
                    <a:lnTo>
                      <a:pt x="1580" y="669"/>
                    </a:lnTo>
                    <a:lnTo>
                      <a:pt x="1582" y="669"/>
                    </a:lnTo>
                    <a:lnTo>
                      <a:pt x="1582" y="669"/>
                    </a:lnTo>
                    <a:lnTo>
                      <a:pt x="1578" y="671"/>
                    </a:lnTo>
                    <a:lnTo>
                      <a:pt x="1575" y="671"/>
                    </a:lnTo>
                    <a:lnTo>
                      <a:pt x="1573" y="671"/>
                    </a:lnTo>
                    <a:lnTo>
                      <a:pt x="1573" y="671"/>
                    </a:lnTo>
                    <a:lnTo>
                      <a:pt x="1573" y="671"/>
                    </a:lnTo>
                    <a:lnTo>
                      <a:pt x="1573" y="674"/>
                    </a:lnTo>
                    <a:lnTo>
                      <a:pt x="1573" y="674"/>
                    </a:lnTo>
                    <a:lnTo>
                      <a:pt x="1573" y="676"/>
                    </a:lnTo>
                    <a:lnTo>
                      <a:pt x="1573" y="676"/>
                    </a:lnTo>
                    <a:lnTo>
                      <a:pt x="1573" y="676"/>
                    </a:lnTo>
                    <a:lnTo>
                      <a:pt x="1570" y="678"/>
                    </a:lnTo>
                    <a:lnTo>
                      <a:pt x="1570" y="681"/>
                    </a:lnTo>
                    <a:lnTo>
                      <a:pt x="1568" y="681"/>
                    </a:lnTo>
                    <a:lnTo>
                      <a:pt x="1566" y="683"/>
                    </a:lnTo>
                    <a:lnTo>
                      <a:pt x="1563" y="683"/>
                    </a:lnTo>
                    <a:lnTo>
                      <a:pt x="1563" y="683"/>
                    </a:lnTo>
                    <a:lnTo>
                      <a:pt x="1561" y="683"/>
                    </a:lnTo>
                    <a:lnTo>
                      <a:pt x="1561" y="688"/>
                    </a:lnTo>
                    <a:lnTo>
                      <a:pt x="1561" y="688"/>
                    </a:lnTo>
                    <a:lnTo>
                      <a:pt x="1559" y="685"/>
                    </a:lnTo>
                    <a:lnTo>
                      <a:pt x="1556" y="685"/>
                    </a:lnTo>
                    <a:lnTo>
                      <a:pt x="1556" y="685"/>
                    </a:lnTo>
                    <a:lnTo>
                      <a:pt x="1556" y="688"/>
                    </a:lnTo>
                    <a:lnTo>
                      <a:pt x="1556" y="688"/>
                    </a:lnTo>
                    <a:lnTo>
                      <a:pt x="1554" y="688"/>
                    </a:lnTo>
                    <a:lnTo>
                      <a:pt x="1554" y="690"/>
                    </a:lnTo>
                    <a:lnTo>
                      <a:pt x="1554" y="690"/>
                    </a:lnTo>
                    <a:lnTo>
                      <a:pt x="1554" y="690"/>
                    </a:lnTo>
                    <a:lnTo>
                      <a:pt x="1554" y="690"/>
                    </a:lnTo>
                    <a:lnTo>
                      <a:pt x="1552" y="690"/>
                    </a:lnTo>
                    <a:lnTo>
                      <a:pt x="1549" y="695"/>
                    </a:lnTo>
                    <a:lnTo>
                      <a:pt x="1552" y="695"/>
                    </a:lnTo>
                    <a:lnTo>
                      <a:pt x="1552" y="697"/>
                    </a:lnTo>
                    <a:lnTo>
                      <a:pt x="1552" y="695"/>
                    </a:lnTo>
                    <a:lnTo>
                      <a:pt x="1552" y="697"/>
                    </a:lnTo>
                    <a:lnTo>
                      <a:pt x="1552" y="697"/>
                    </a:lnTo>
                    <a:lnTo>
                      <a:pt x="1554" y="700"/>
                    </a:lnTo>
                    <a:lnTo>
                      <a:pt x="1554" y="700"/>
                    </a:lnTo>
                    <a:lnTo>
                      <a:pt x="1554" y="700"/>
                    </a:lnTo>
                    <a:lnTo>
                      <a:pt x="1554" y="700"/>
                    </a:lnTo>
                    <a:lnTo>
                      <a:pt x="1554" y="702"/>
                    </a:lnTo>
                    <a:lnTo>
                      <a:pt x="1554" y="704"/>
                    </a:lnTo>
                    <a:lnTo>
                      <a:pt x="1556" y="707"/>
                    </a:lnTo>
                    <a:lnTo>
                      <a:pt x="1556" y="704"/>
                    </a:lnTo>
                    <a:lnTo>
                      <a:pt x="1559" y="704"/>
                    </a:lnTo>
                    <a:lnTo>
                      <a:pt x="1559" y="704"/>
                    </a:lnTo>
                    <a:lnTo>
                      <a:pt x="1559" y="704"/>
                    </a:lnTo>
                    <a:lnTo>
                      <a:pt x="1559" y="704"/>
                    </a:lnTo>
                    <a:lnTo>
                      <a:pt x="1559" y="707"/>
                    </a:lnTo>
                    <a:lnTo>
                      <a:pt x="1559" y="707"/>
                    </a:lnTo>
                    <a:lnTo>
                      <a:pt x="1561" y="707"/>
                    </a:lnTo>
                    <a:lnTo>
                      <a:pt x="1561" y="709"/>
                    </a:lnTo>
                    <a:lnTo>
                      <a:pt x="1561" y="709"/>
                    </a:lnTo>
                    <a:lnTo>
                      <a:pt x="1561" y="709"/>
                    </a:lnTo>
                    <a:lnTo>
                      <a:pt x="1561" y="709"/>
                    </a:lnTo>
                    <a:lnTo>
                      <a:pt x="1561" y="709"/>
                    </a:lnTo>
                    <a:lnTo>
                      <a:pt x="1561" y="709"/>
                    </a:lnTo>
                    <a:lnTo>
                      <a:pt x="1563" y="709"/>
                    </a:lnTo>
                    <a:lnTo>
                      <a:pt x="1561" y="709"/>
                    </a:lnTo>
                    <a:lnTo>
                      <a:pt x="1561" y="711"/>
                    </a:lnTo>
                    <a:lnTo>
                      <a:pt x="1559" y="709"/>
                    </a:lnTo>
                    <a:lnTo>
                      <a:pt x="1556" y="709"/>
                    </a:lnTo>
                    <a:lnTo>
                      <a:pt x="1556" y="709"/>
                    </a:lnTo>
                    <a:lnTo>
                      <a:pt x="1556" y="709"/>
                    </a:lnTo>
                    <a:lnTo>
                      <a:pt x="1556" y="711"/>
                    </a:lnTo>
                    <a:lnTo>
                      <a:pt x="1559" y="711"/>
                    </a:lnTo>
                    <a:lnTo>
                      <a:pt x="1556" y="714"/>
                    </a:lnTo>
                    <a:lnTo>
                      <a:pt x="1554" y="711"/>
                    </a:lnTo>
                    <a:lnTo>
                      <a:pt x="1554" y="711"/>
                    </a:lnTo>
                    <a:lnTo>
                      <a:pt x="1554" y="714"/>
                    </a:lnTo>
                    <a:lnTo>
                      <a:pt x="1554" y="714"/>
                    </a:lnTo>
                    <a:lnTo>
                      <a:pt x="1554" y="714"/>
                    </a:lnTo>
                    <a:lnTo>
                      <a:pt x="1554" y="714"/>
                    </a:lnTo>
                    <a:lnTo>
                      <a:pt x="1554" y="716"/>
                    </a:lnTo>
                    <a:lnTo>
                      <a:pt x="1554" y="716"/>
                    </a:lnTo>
                    <a:lnTo>
                      <a:pt x="1552" y="716"/>
                    </a:lnTo>
                    <a:lnTo>
                      <a:pt x="1552" y="716"/>
                    </a:lnTo>
                    <a:lnTo>
                      <a:pt x="1549" y="716"/>
                    </a:lnTo>
                    <a:lnTo>
                      <a:pt x="1549" y="716"/>
                    </a:lnTo>
                    <a:lnTo>
                      <a:pt x="1549" y="716"/>
                    </a:lnTo>
                    <a:lnTo>
                      <a:pt x="1552" y="718"/>
                    </a:lnTo>
                    <a:lnTo>
                      <a:pt x="1552" y="718"/>
                    </a:lnTo>
                    <a:lnTo>
                      <a:pt x="1552" y="721"/>
                    </a:lnTo>
                    <a:lnTo>
                      <a:pt x="1552" y="721"/>
                    </a:lnTo>
                    <a:lnTo>
                      <a:pt x="1552" y="723"/>
                    </a:lnTo>
                    <a:lnTo>
                      <a:pt x="1552" y="723"/>
                    </a:lnTo>
                    <a:lnTo>
                      <a:pt x="1552" y="723"/>
                    </a:lnTo>
                    <a:lnTo>
                      <a:pt x="1552" y="726"/>
                    </a:lnTo>
                    <a:lnTo>
                      <a:pt x="1552" y="726"/>
                    </a:lnTo>
                    <a:lnTo>
                      <a:pt x="1554" y="726"/>
                    </a:lnTo>
                    <a:lnTo>
                      <a:pt x="1554" y="728"/>
                    </a:lnTo>
                    <a:lnTo>
                      <a:pt x="1552" y="728"/>
                    </a:lnTo>
                    <a:lnTo>
                      <a:pt x="1552" y="728"/>
                    </a:lnTo>
                    <a:lnTo>
                      <a:pt x="1552" y="728"/>
                    </a:lnTo>
                    <a:lnTo>
                      <a:pt x="1554" y="730"/>
                    </a:lnTo>
                    <a:lnTo>
                      <a:pt x="1552" y="730"/>
                    </a:lnTo>
                    <a:lnTo>
                      <a:pt x="1552" y="730"/>
                    </a:lnTo>
                    <a:lnTo>
                      <a:pt x="1549" y="730"/>
                    </a:lnTo>
                    <a:lnTo>
                      <a:pt x="1549" y="733"/>
                    </a:lnTo>
                    <a:lnTo>
                      <a:pt x="1552" y="733"/>
                    </a:lnTo>
                    <a:lnTo>
                      <a:pt x="1549" y="735"/>
                    </a:lnTo>
                    <a:lnTo>
                      <a:pt x="1552" y="735"/>
                    </a:lnTo>
                    <a:lnTo>
                      <a:pt x="1549" y="735"/>
                    </a:lnTo>
                    <a:lnTo>
                      <a:pt x="1549" y="740"/>
                    </a:lnTo>
                    <a:lnTo>
                      <a:pt x="1549" y="740"/>
                    </a:lnTo>
                    <a:lnTo>
                      <a:pt x="1549" y="742"/>
                    </a:lnTo>
                    <a:lnTo>
                      <a:pt x="1549" y="744"/>
                    </a:lnTo>
                    <a:lnTo>
                      <a:pt x="1547" y="742"/>
                    </a:lnTo>
                    <a:lnTo>
                      <a:pt x="1544" y="744"/>
                    </a:lnTo>
                    <a:lnTo>
                      <a:pt x="1547" y="747"/>
                    </a:lnTo>
                    <a:lnTo>
                      <a:pt x="1544" y="749"/>
                    </a:lnTo>
                    <a:lnTo>
                      <a:pt x="1544" y="749"/>
                    </a:lnTo>
                    <a:lnTo>
                      <a:pt x="1544" y="744"/>
                    </a:lnTo>
                    <a:lnTo>
                      <a:pt x="1544" y="744"/>
                    </a:lnTo>
                    <a:lnTo>
                      <a:pt x="1542" y="747"/>
                    </a:lnTo>
                    <a:lnTo>
                      <a:pt x="1542" y="747"/>
                    </a:lnTo>
                    <a:lnTo>
                      <a:pt x="1542" y="747"/>
                    </a:lnTo>
                    <a:lnTo>
                      <a:pt x="1540" y="747"/>
                    </a:lnTo>
                    <a:lnTo>
                      <a:pt x="1542" y="749"/>
                    </a:lnTo>
                    <a:lnTo>
                      <a:pt x="1542" y="749"/>
                    </a:lnTo>
                    <a:lnTo>
                      <a:pt x="1542" y="749"/>
                    </a:lnTo>
                    <a:lnTo>
                      <a:pt x="1544" y="752"/>
                    </a:lnTo>
                    <a:lnTo>
                      <a:pt x="1542" y="752"/>
                    </a:lnTo>
                    <a:lnTo>
                      <a:pt x="1542" y="752"/>
                    </a:lnTo>
                    <a:lnTo>
                      <a:pt x="1540" y="752"/>
                    </a:lnTo>
                    <a:lnTo>
                      <a:pt x="1542" y="754"/>
                    </a:lnTo>
                    <a:lnTo>
                      <a:pt x="1540" y="756"/>
                    </a:lnTo>
                    <a:lnTo>
                      <a:pt x="1537" y="754"/>
                    </a:lnTo>
                    <a:lnTo>
                      <a:pt x="1537" y="754"/>
                    </a:lnTo>
                    <a:lnTo>
                      <a:pt x="1540" y="756"/>
                    </a:lnTo>
                    <a:lnTo>
                      <a:pt x="1540" y="756"/>
                    </a:lnTo>
                    <a:lnTo>
                      <a:pt x="1537" y="759"/>
                    </a:lnTo>
                    <a:lnTo>
                      <a:pt x="1540" y="759"/>
                    </a:lnTo>
                    <a:lnTo>
                      <a:pt x="1540" y="759"/>
                    </a:lnTo>
                    <a:lnTo>
                      <a:pt x="1540" y="761"/>
                    </a:lnTo>
                    <a:lnTo>
                      <a:pt x="1537" y="759"/>
                    </a:lnTo>
                    <a:lnTo>
                      <a:pt x="1537" y="759"/>
                    </a:lnTo>
                    <a:lnTo>
                      <a:pt x="1535" y="761"/>
                    </a:lnTo>
                    <a:lnTo>
                      <a:pt x="1537" y="761"/>
                    </a:lnTo>
                    <a:lnTo>
                      <a:pt x="1535" y="763"/>
                    </a:lnTo>
                    <a:lnTo>
                      <a:pt x="1535" y="763"/>
                    </a:lnTo>
                    <a:lnTo>
                      <a:pt x="1535" y="761"/>
                    </a:lnTo>
                    <a:lnTo>
                      <a:pt x="1533" y="763"/>
                    </a:lnTo>
                    <a:lnTo>
                      <a:pt x="1533" y="766"/>
                    </a:lnTo>
                    <a:lnTo>
                      <a:pt x="1533" y="766"/>
                    </a:lnTo>
                    <a:lnTo>
                      <a:pt x="1533" y="766"/>
                    </a:lnTo>
                    <a:lnTo>
                      <a:pt x="1530" y="766"/>
                    </a:lnTo>
                    <a:lnTo>
                      <a:pt x="1533" y="768"/>
                    </a:lnTo>
                    <a:lnTo>
                      <a:pt x="1530" y="770"/>
                    </a:lnTo>
                    <a:lnTo>
                      <a:pt x="1533" y="770"/>
                    </a:lnTo>
                    <a:lnTo>
                      <a:pt x="1533" y="773"/>
                    </a:lnTo>
                    <a:lnTo>
                      <a:pt x="1530" y="773"/>
                    </a:lnTo>
                    <a:lnTo>
                      <a:pt x="1530" y="773"/>
                    </a:lnTo>
                    <a:lnTo>
                      <a:pt x="1528" y="773"/>
                    </a:lnTo>
                    <a:lnTo>
                      <a:pt x="1528" y="773"/>
                    </a:lnTo>
                    <a:lnTo>
                      <a:pt x="1528" y="775"/>
                    </a:lnTo>
                    <a:lnTo>
                      <a:pt x="1528" y="775"/>
                    </a:lnTo>
                    <a:lnTo>
                      <a:pt x="1526" y="775"/>
                    </a:lnTo>
                    <a:lnTo>
                      <a:pt x="1526" y="773"/>
                    </a:lnTo>
                    <a:lnTo>
                      <a:pt x="1526" y="773"/>
                    </a:lnTo>
                    <a:lnTo>
                      <a:pt x="1526" y="775"/>
                    </a:lnTo>
                    <a:lnTo>
                      <a:pt x="1526" y="775"/>
                    </a:lnTo>
                    <a:lnTo>
                      <a:pt x="1523" y="778"/>
                    </a:lnTo>
                    <a:lnTo>
                      <a:pt x="1523" y="775"/>
                    </a:lnTo>
                    <a:lnTo>
                      <a:pt x="1523" y="775"/>
                    </a:lnTo>
                    <a:lnTo>
                      <a:pt x="1523" y="775"/>
                    </a:lnTo>
                    <a:lnTo>
                      <a:pt x="1521" y="778"/>
                    </a:lnTo>
                    <a:lnTo>
                      <a:pt x="1521" y="778"/>
                    </a:lnTo>
                    <a:lnTo>
                      <a:pt x="1521" y="778"/>
                    </a:lnTo>
                    <a:lnTo>
                      <a:pt x="1521" y="778"/>
                    </a:lnTo>
                    <a:lnTo>
                      <a:pt x="1521" y="780"/>
                    </a:lnTo>
                    <a:lnTo>
                      <a:pt x="1518" y="778"/>
                    </a:lnTo>
                    <a:lnTo>
                      <a:pt x="1518" y="780"/>
                    </a:lnTo>
                    <a:lnTo>
                      <a:pt x="1518" y="780"/>
                    </a:lnTo>
                    <a:lnTo>
                      <a:pt x="1518" y="780"/>
                    </a:lnTo>
                    <a:lnTo>
                      <a:pt x="1518" y="780"/>
                    </a:lnTo>
                    <a:lnTo>
                      <a:pt x="1516" y="780"/>
                    </a:lnTo>
                    <a:lnTo>
                      <a:pt x="1516" y="780"/>
                    </a:lnTo>
                    <a:lnTo>
                      <a:pt x="1516" y="782"/>
                    </a:lnTo>
                    <a:lnTo>
                      <a:pt x="1516" y="782"/>
                    </a:lnTo>
                    <a:lnTo>
                      <a:pt x="1516" y="782"/>
                    </a:lnTo>
                    <a:lnTo>
                      <a:pt x="1516" y="785"/>
                    </a:lnTo>
                    <a:lnTo>
                      <a:pt x="1516" y="787"/>
                    </a:lnTo>
                    <a:lnTo>
                      <a:pt x="1516" y="787"/>
                    </a:lnTo>
                    <a:lnTo>
                      <a:pt x="1516" y="787"/>
                    </a:lnTo>
                    <a:lnTo>
                      <a:pt x="1516" y="787"/>
                    </a:lnTo>
                    <a:lnTo>
                      <a:pt x="1514" y="787"/>
                    </a:lnTo>
                    <a:lnTo>
                      <a:pt x="1514" y="789"/>
                    </a:lnTo>
                    <a:lnTo>
                      <a:pt x="1516" y="789"/>
                    </a:lnTo>
                    <a:lnTo>
                      <a:pt x="1516" y="789"/>
                    </a:lnTo>
                    <a:lnTo>
                      <a:pt x="1514" y="789"/>
                    </a:lnTo>
                    <a:lnTo>
                      <a:pt x="1516" y="792"/>
                    </a:lnTo>
                    <a:lnTo>
                      <a:pt x="1514" y="792"/>
                    </a:lnTo>
                    <a:lnTo>
                      <a:pt x="1514" y="792"/>
                    </a:lnTo>
                    <a:lnTo>
                      <a:pt x="1516" y="792"/>
                    </a:lnTo>
                    <a:lnTo>
                      <a:pt x="1516" y="794"/>
                    </a:lnTo>
                    <a:lnTo>
                      <a:pt x="1514" y="792"/>
                    </a:lnTo>
                    <a:lnTo>
                      <a:pt x="1514" y="796"/>
                    </a:lnTo>
                    <a:lnTo>
                      <a:pt x="1514" y="796"/>
                    </a:lnTo>
                    <a:lnTo>
                      <a:pt x="1514" y="796"/>
                    </a:lnTo>
                    <a:lnTo>
                      <a:pt x="1511" y="796"/>
                    </a:lnTo>
                    <a:lnTo>
                      <a:pt x="1511" y="796"/>
                    </a:lnTo>
                    <a:lnTo>
                      <a:pt x="1514" y="799"/>
                    </a:lnTo>
                    <a:lnTo>
                      <a:pt x="1511" y="799"/>
                    </a:lnTo>
                    <a:lnTo>
                      <a:pt x="1511" y="799"/>
                    </a:lnTo>
                    <a:lnTo>
                      <a:pt x="1509" y="801"/>
                    </a:lnTo>
                    <a:lnTo>
                      <a:pt x="1509" y="801"/>
                    </a:lnTo>
                    <a:lnTo>
                      <a:pt x="1507" y="801"/>
                    </a:lnTo>
                    <a:lnTo>
                      <a:pt x="1507" y="804"/>
                    </a:lnTo>
                    <a:lnTo>
                      <a:pt x="1507" y="804"/>
                    </a:lnTo>
                    <a:lnTo>
                      <a:pt x="1507" y="806"/>
                    </a:lnTo>
                    <a:lnTo>
                      <a:pt x="1504" y="806"/>
                    </a:lnTo>
                    <a:lnTo>
                      <a:pt x="1504" y="806"/>
                    </a:lnTo>
                    <a:lnTo>
                      <a:pt x="1504" y="806"/>
                    </a:lnTo>
                    <a:lnTo>
                      <a:pt x="1504" y="806"/>
                    </a:lnTo>
                    <a:lnTo>
                      <a:pt x="1504" y="808"/>
                    </a:lnTo>
                    <a:lnTo>
                      <a:pt x="1504" y="808"/>
                    </a:lnTo>
                    <a:lnTo>
                      <a:pt x="1504" y="811"/>
                    </a:lnTo>
                    <a:lnTo>
                      <a:pt x="1504" y="811"/>
                    </a:lnTo>
                    <a:lnTo>
                      <a:pt x="1504" y="813"/>
                    </a:lnTo>
                    <a:lnTo>
                      <a:pt x="1502" y="813"/>
                    </a:lnTo>
                    <a:lnTo>
                      <a:pt x="1504" y="813"/>
                    </a:lnTo>
                    <a:lnTo>
                      <a:pt x="1502" y="815"/>
                    </a:lnTo>
                    <a:lnTo>
                      <a:pt x="1504" y="815"/>
                    </a:lnTo>
                    <a:lnTo>
                      <a:pt x="1502" y="815"/>
                    </a:lnTo>
                    <a:lnTo>
                      <a:pt x="1504" y="815"/>
                    </a:lnTo>
                    <a:lnTo>
                      <a:pt x="1502" y="815"/>
                    </a:lnTo>
                    <a:lnTo>
                      <a:pt x="1502" y="815"/>
                    </a:lnTo>
                    <a:lnTo>
                      <a:pt x="1502" y="818"/>
                    </a:lnTo>
                    <a:lnTo>
                      <a:pt x="1502" y="818"/>
                    </a:lnTo>
                    <a:lnTo>
                      <a:pt x="1502" y="818"/>
                    </a:lnTo>
                    <a:lnTo>
                      <a:pt x="1504" y="818"/>
                    </a:lnTo>
                    <a:lnTo>
                      <a:pt x="1504" y="818"/>
                    </a:lnTo>
                    <a:lnTo>
                      <a:pt x="1502" y="820"/>
                    </a:lnTo>
                    <a:lnTo>
                      <a:pt x="1502" y="825"/>
                    </a:lnTo>
                    <a:lnTo>
                      <a:pt x="1502" y="825"/>
                    </a:lnTo>
                    <a:lnTo>
                      <a:pt x="1500" y="827"/>
                    </a:lnTo>
                    <a:lnTo>
                      <a:pt x="1502" y="827"/>
                    </a:lnTo>
                    <a:lnTo>
                      <a:pt x="1502" y="830"/>
                    </a:lnTo>
                    <a:lnTo>
                      <a:pt x="1500" y="832"/>
                    </a:lnTo>
                    <a:lnTo>
                      <a:pt x="1500" y="832"/>
                    </a:lnTo>
                    <a:lnTo>
                      <a:pt x="1500" y="834"/>
                    </a:lnTo>
                    <a:lnTo>
                      <a:pt x="1500" y="834"/>
                    </a:lnTo>
                    <a:lnTo>
                      <a:pt x="1500" y="837"/>
                    </a:lnTo>
                    <a:lnTo>
                      <a:pt x="1500" y="837"/>
                    </a:lnTo>
                    <a:lnTo>
                      <a:pt x="1500" y="839"/>
                    </a:lnTo>
                    <a:lnTo>
                      <a:pt x="1497" y="839"/>
                    </a:lnTo>
                    <a:lnTo>
                      <a:pt x="1497" y="841"/>
                    </a:lnTo>
                    <a:lnTo>
                      <a:pt x="1497" y="844"/>
                    </a:lnTo>
                    <a:lnTo>
                      <a:pt x="1495" y="844"/>
                    </a:lnTo>
                    <a:lnTo>
                      <a:pt x="1495" y="846"/>
                    </a:lnTo>
                    <a:lnTo>
                      <a:pt x="1495" y="846"/>
                    </a:lnTo>
                    <a:lnTo>
                      <a:pt x="1493" y="846"/>
                    </a:lnTo>
                    <a:lnTo>
                      <a:pt x="1493" y="846"/>
                    </a:lnTo>
                    <a:lnTo>
                      <a:pt x="1490" y="846"/>
                    </a:lnTo>
                    <a:lnTo>
                      <a:pt x="1490" y="848"/>
                    </a:lnTo>
                    <a:lnTo>
                      <a:pt x="1490" y="851"/>
                    </a:lnTo>
                    <a:lnTo>
                      <a:pt x="1490" y="848"/>
                    </a:lnTo>
                    <a:lnTo>
                      <a:pt x="1488" y="851"/>
                    </a:lnTo>
                    <a:lnTo>
                      <a:pt x="1488" y="851"/>
                    </a:lnTo>
                    <a:lnTo>
                      <a:pt x="1488" y="853"/>
                    </a:lnTo>
                    <a:lnTo>
                      <a:pt x="1485" y="855"/>
                    </a:lnTo>
                    <a:lnTo>
                      <a:pt x="1485" y="855"/>
                    </a:lnTo>
                    <a:lnTo>
                      <a:pt x="1485" y="855"/>
                    </a:lnTo>
                    <a:lnTo>
                      <a:pt x="1485" y="858"/>
                    </a:lnTo>
                    <a:lnTo>
                      <a:pt x="1485" y="858"/>
                    </a:lnTo>
                    <a:lnTo>
                      <a:pt x="1485" y="860"/>
                    </a:lnTo>
                    <a:lnTo>
                      <a:pt x="1483" y="858"/>
                    </a:lnTo>
                    <a:lnTo>
                      <a:pt x="1483" y="860"/>
                    </a:lnTo>
                    <a:lnTo>
                      <a:pt x="1481" y="860"/>
                    </a:lnTo>
                    <a:lnTo>
                      <a:pt x="1481" y="863"/>
                    </a:lnTo>
                    <a:lnTo>
                      <a:pt x="1481" y="863"/>
                    </a:lnTo>
                    <a:lnTo>
                      <a:pt x="1478" y="863"/>
                    </a:lnTo>
                    <a:lnTo>
                      <a:pt x="1478" y="863"/>
                    </a:lnTo>
                    <a:lnTo>
                      <a:pt x="1474" y="865"/>
                    </a:lnTo>
                    <a:lnTo>
                      <a:pt x="1474" y="865"/>
                    </a:lnTo>
                    <a:lnTo>
                      <a:pt x="1474" y="865"/>
                    </a:lnTo>
                    <a:lnTo>
                      <a:pt x="1471" y="867"/>
                    </a:lnTo>
                    <a:lnTo>
                      <a:pt x="1471" y="867"/>
                    </a:lnTo>
                    <a:lnTo>
                      <a:pt x="1471" y="867"/>
                    </a:lnTo>
                    <a:lnTo>
                      <a:pt x="1471" y="870"/>
                    </a:lnTo>
                    <a:lnTo>
                      <a:pt x="1469" y="870"/>
                    </a:lnTo>
                    <a:lnTo>
                      <a:pt x="1469" y="870"/>
                    </a:lnTo>
                    <a:lnTo>
                      <a:pt x="1469" y="870"/>
                    </a:lnTo>
                    <a:lnTo>
                      <a:pt x="1469" y="870"/>
                    </a:lnTo>
                    <a:lnTo>
                      <a:pt x="1469" y="870"/>
                    </a:lnTo>
                    <a:lnTo>
                      <a:pt x="1467" y="870"/>
                    </a:lnTo>
                    <a:lnTo>
                      <a:pt x="1467" y="872"/>
                    </a:lnTo>
                    <a:lnTo>
                      <a:pt x="1467" y="872"/>
                    </a:lnTo>
                    <a:lnTo>
                      <a:pt x="1467" y="872"/>
                    </a:lnTo>
                    <a:lnTo>
                      <a:pt x="1467" y="874"/>
                    </a:lnTo>
                    <a:lnTo>
                      <a:pt x="1464" y="874"/>
                    </a:lnTo>
                    <a:lnTo>
                      <a:pt x="1464" y="877"/>
                    </a:lnTo>
                    <a:lnTo>
                      <a:pt x="1464" y="877"/>
                    </a:lnTo>
                    <a:lnTo>
                      <a:pt x="1464" y="879"/>
                    </a:lnTo>
                    <a:lnTo>
                      <a:pt x="1464" y="881"/>
                    </a:lnTo>
                    <a:lnTo>
                      <a:pt x="1464" y="881"/>
                    </a:lnTo>
                    <a:lnTo>
                      <a:pt x="1464" y="881"/>
                    </a:lnTo>
                    <a:lnTo>
                      <a:pt x="1464" y="884"/>
                    </a:lnTo>
                    <a:lnTo>
                      <a:pt x="1464" y="886"/>
                    </a:lnTo>
                    <a:lnTo>
                      <a:pt x="1464" y="886"/>
                    </a:lnTo>
                    <a:lnTo>
                      <a:pt x="1464" y="886"/>
                    </a:lnTo>
                    <a:lnTo>
                      <a:pt x="1462" y="886"/>
                    </a:lnTo>
                    <a:lnTo>
                      <a:pt x="1462" y="886"/>
                    </a:lnTo>
                    <a:lnTo>
                      <a:pt x="1462" y="889"/>
                    </a:lnTo>
                    <a:lnTo>
                      <a:pt x="1462" y="889"/>
                    </a:lnTo>
                    <a:lnTo>
                      <a:pt x="1462" y="891"/>
                    </a:lnTo>
                    <a:lnTo>
                      <a:pt x="1462" y="891"/>
                    </a:lnTo>
                    <a:lnTo>
                      <a:pt x="1459" y="891"/>
                    </a:lnTo>
                    <a:lnTo>
                      <a:pt x="1462" y="896"/>
                    </a:lnTo>
                    <a:lnTo>
                      <a:pt x="1459" y="896"/>
                    </a:lnTo>
                    <a:lnTo>
                      <a:pt x="1459" y="896"/>
                    </a:lnTo>
                    <a:lnTo>
                      <a:pt x="1457" y="898"/>
                    </a:lnTo>
                    <a:lnTo>
                      <a:pt x="1457" y="898"/>
                    </a:lnTo>
                    <a:lnTo>
                      <a:pt x="1455" y="898"/>
                    </a:lnTo>
                    <a:lnTo>
                      <a:pt x="1455" y="898"/>
                    </a:lnTo>
                    <a:lnTo>
                      <a:pt x="1455" y="900"/>
                    </a:lnTo>
                    <a:lnTo>
                      <a:pt x="1452" y="900"/>
                    </a:lnTo>
                    <a:lnTo>
                      <a:pt x="1452" y="900"/>
                    </a:lnTo>
                    <a:lnTo>
                      <a:pt x="1452" y="900"/>
                    </a:lnTo>
                    <a:lnTo>
                      <a:pt x="1448" y="903"/>
                    </a:lnTo>
                    <a:lnTo>
                      <a:pt x="1450" y="905"/>
                    </a:lnTo>
                    <a:lnTo>
                      <a:pt x="1448" y="905"/>
                    </a:lnTo>
                    <a:lnTo>
                      <a:pt x="1448" y="907"/>
                    </a:lnTo>
                    <a:lnTo>
                      <a:pt x="1448" y="907"/>
                    </a:lnTo>
                    <a:lnTo>
                      <a:pt x="1448" y="907"/>
                    </a:lnTo>
                    <a:lnTo>
                      <a:pt x="1445" y="910"/>
                    </a:lnTo>
                    <a:lnTo>
                      <a:pt x="1445" y="912"/>
                    </a:lnTo>
                    <a:lnTo>
                      <a:pt x="1445" y="915"/>
                    </a:lnTo>
                    <a:lnTo>
                      <a:pt x="1445" y="915"/>
                    </a:lnTo>
                    <a:lnTo>
                      <a:pt x="1443" y="917"/>
                    </a:lnTo>
                    <a:lnTo>
                      <a:pt x="1441" y="919"/>
                    </a:lnTo>
                    <a:lnTo>
                      <a:pt x="1436" y="924"/>
                    </a:lnTo>
                    <a:lnTo>
                      <a:pt x="1436" y="929"/>
                    </a:lnTo>
                    <a:lnTo>
                      <a:pt x="1431" y="933"/>
                    </a:lnTo>
                    <a:lnTo>
                      <a:pt x="1431" y="936"/>
                    </a:lnTo>
                    <a:lnTo>
                      <a:pt x="1429" y="936"/>
                    </a:lnTo>
                    <a:lnTo>
                      <a:pt x="1426" y="936"/>
                    </a:lnTo>
                    <a:lnTo>
                      <a:pt x="1426" y="938"/>
                    </a:lnTo>
                    <a:lnTo>
                      <a:pt x="1422" y="943"/>
                    </a:lnTo>
                    <a:lnTo>
                      <a:pt x="1419" y="941"/>
                    </a:lnTo>
                    <a:lnTo>
                      <a:pt x="1417" y="941"/>
                    </a:lnTo>
                    <a:lnTo>
                      <a:pt x="1417" y="941"/>
                    </a:lnTo>
                    <a:lnTo>
                      <a:pt x="1415" y="941"/>
                    </a:lnTo>
                    <a:lnTo>
                      <a:pt x="1415" y="941"/>
                    </a:lnTo>
                    <a:lnTo>
                      <a:pt x="1412" y="938"/>
                    </a:lnTo>
                    <a:lnTo>
                      <a:pt x="1412" y="938"/>
                    </a:lnTo>
                    <a:lnTo>
                      <a:pt x="1407" y="938"/>
                    </a:lnTo>
                    <a:lnTo>
                      <a:pt x="1407" y="941"/>
                    </a:lnTo>
                    <a:lnTo>
                      <a:pt x="1405" y="943"/>
                    </a:lnTo>
                    <a:lnTo>
                      <a:pt x="1389" y="955"/>
                    </a:lnTo>
                    <a:lnTo>
                      <a:pt x="1379" y="964"/>
                    </a:lnTo>
                    <a:lnTo>
                      <a:pt x="1374" y="969"/>
                    </a:lnTo>
                    <a:lnTo>
                      <a:pt x="1372" y="969"/>
                    </a:lnTo>
                    <a:lnTo>
                      <a:pt x="1358" y="981"/>
                    </a:lnTo>
                    <a:lnTo>
                      <a:pt x="1355" y="983"/>
                    </a:lnTo>
                    <a:lnTo>
                      <a:pt x="1332" y="1002"/>
                    </a:lnTo>
                    <a:lnTo>
                      <a:pt x="1330" y="1004"/>
                    </a:lnTo>
                    <a:lnTo>
                      <a:pt x="1327" y="1002"/>
                    </a:lnTo>
                    <a:lnTo>
                      <a:pt x="1327" y="1002"/>
                    </a:lnTo>
                    <a:lnTo>
                      <a:pt x="1325" y="1004"/>
                    </a:lnTo>
                    <a:lnTo>
                      <a:pt x="1327" y="1007"/>
                    </a:lnTo>
                    <a:lnTo>
                      <a:pt x="1325" y="1007"/>
                    </a:lnTo>
                    <a:lnTo>
                      <a:pt x="1322" y="1009"/>
                    </a:lnTo>
                    <a:lnTo>
                      <a:pt x="1311" y="1018"/>
                    </a:lnTo>
                    <a:lnTo>
                      <a:pt x="1287" y="1037"/>
                    </a:lnTo>
                    <a:lnTo>
                      <a:pt x="1287" y="1040"/>
                    </a:lnTo>
                    <a:lnTo>
                      <a:pt x="1287" y="1040"/>
                    </a:lnTo>
                    <a:lnTo>
                      <a:pt x="1287" y="1040"/>
                    </a:lnTo>
                    <a:lnTo>
                      <a:pt x="1289" y="1042"/>
                    </a:lnTo>
                    <a:lnTo>
                      <a:pt x="1289" y="1042"/>
                    </a:lnTo>
                    <a:lnTo>
                      <a:pt x="1289" y="1042"/>
                    </a:lnTo>
                    <a:lnTo>
                      <a:pt x="1296" y="1042"/>
                    </a:lnTo>
                    <a:lnTo>
                      <a:pt x="1299" y="1044"/>
                    </a:lnTo>
                    <a:lnTo>
                      <a:pt x="1299" y="1044"/>
                    </a:lnTo>
                    <a:lnTo>
                      <a:pt x="1301" y="1047"/>
                    </a:lnTo>
                    <a:lnTo>
                      <a:pt x="1306" y="1047"/>
                    </a:lnTo>
                    <a:lnTo>
                      <a:pt x="1306" y="1047"/>
                    </a:lnTo>
                    <a:lnTo>
                      <a:pt x="1311" y="1047"/>
                    </a:lnTo>
                    <a:lnTo>
                      <a:pt x="1318" y="1049"/>
                    </a:lnTo>
                    <a:lnTo>
                      <a:pt x="1320" y="1049"/>
                    </a:lnTo>
                    <a:lnTo>
                      <a:pt x="1322" y="1047"/>
                    </a:lnTo>
                    <a:lnTo>
                      <a:pt x="1322" y="1047"/>
                    </a:lnTo>
                    <a:lnTo>
                      <a:pt x="1325" y="1047"/>
                    </a:lnTo>
                    <a:lnTo>
                      <a:pt x="1325" y="1047"/>
                    </a:lnTo>
                    <a:lnTo>
                      <a:pt x="1325" y="1047"/>
                    </a:lnTo>
                    <a:lnTo>
                      <a:pt x="1330" y="1044"/>
                    </a:lnTo>
                    <a:lnTo>
                      <a:pt x="1332" y="1047"/>
                    </a:lnTo>
                    <a:lnTo>
                      <a:pt x="1332" y="1044"/>
                    </a:lnTo>
                    <a:lnTo>
                      <a:pt x="1332" y="1044"/>
                    </a:lnTo>
                    <a:lnTo>
                      <a:pt x="1334" y="1044"/>
                    </a:lnTo>
                    <a:lnTo>
                      <a:pt x="1334" y="1047"/>
                    </a:lnTo>
                    <a:lnTo>
                      <a:pt x="1337" y="1047"/>
                    </a:lnTo>
                    <a:lnTo>
                      <a:pt x="1339" y="1049"/>
                    </a:lnTo>
                    <a:lnTo>
                      <a:pt x="1339" y="1052"/>
                    </a:lnTo>
                    <a:lnTo>
                      <a:pt x="1339" y="1052"/>
                    </a:lnTo>
                    <a:lnTo>
                      <a:pt x="1339" y="1054"/>
                    </a:lnTo>
                    <a:lnTo>
                      <a:pt x="1341" y="1056"/>
                    </a:lnTo>
                    <a:lnTo>
                      <a:pt x="1341" y="1059"/>
                    </a:lnTo>
                    <a:lnTo>
                      <a:pt x="1341" y="1056"/>
                    </a:lnTo>
                    <a:lnTo>
                      <a:pt x="1341" y="1059"/>
                    </a:lnTo>
                    <a:lnTo>
                      <a:pt x="1344" y="1061"/>
                    </a:lnTo>
                    <a:lnTo>
                      <a:pt x="1344" y="1063"/>
                    </a:lnTo>
                    <a:lnTo>
                      <a:pt x="1346" y="1063"/>
                    </a:lnTo>
                    <a:lnTo>
                      <a:pt x="1348" y="1063"/>
                    </a:lnTo>
                    <a:lnTo>
                      <a:pt x="1353" y="1066"/>
                    </a:lnTo>
                    <a:lnTo>
                      <a:pt x="1355" y="1066"/>
                    </a:lnTo>
                    <a:lnTo>
                      <a:pt x="1358" y="1066"/>
                    </a:lnTo>
                    <a:lnTo>
                      <a:pt x="1358" y="1068"/>
                    </a:lnTo>
                    <a:lnTo>
                      <a:pt x="1360" y="1068"/>
                    </a:lnTo>
                    <a:lnTo>
                      <a:pt x="1365" y="1073"/>
                    </a:lnTo>
                    <a:lnTo>
                      <a:pt x="1365" y="1073"/>
                    </a:lnTo>
                    <a:lnTo>
                      <a:pt x="1365" y="1075"/>
                    </a:lnTo>
                    <a:lnTo>
                      <a:pt x="1363" y="1078"/>
                    </a:lnTo>
                    <a:lnTo>
                      <a:pt x="1360" y="1082"/>
                    </a:lnTo>
                    <a:lnTo>
                      <a:pt x="1360" y="1085"/>
                    </a:lnTo>
                    <a:lnTo>
                      <a:pt x="1358" y="1087"/>
                    </a:lnTo>
                    <a:lnTo>
                      <a:pt x="1358" y="1087"/>
                    </a:lnTo>
                    <a:lnTo>
                      <a:pt x="1355" y="1087"/>
                    </a:lnTo>
                    <a:lnTo>
                      <a:pt x="1353" y="1089"/>
                    </a:lnTo>
                    <a:lnTo>
                      <a:pt x="1348" y="1087"/>
                    </a:lnTo>
                    <a:lnTo>
                      <a:pt x="1346" y="1089"/>
                    </a:lnTo>
                    <a:lnTo>
                      <a:pt x="1344" y="1089"/>
                    </a:lnTo>
                    <a:lnTo>
                      <a:pt x="1344" y="1092"/>
                    </a:lnTo>
                    <a:lnTo>
                      <a:pt x="1344" y="1094"/>
                    </a:lnTo>
                    <a:lnTo>
                      <a:pt x="1344" y="1096"/>
                    </a:lnTo>
                    <a:lnTo>
                      <a:pt x="1344" y="1101"/>
                    </a:lnTo>
                    <a:lnTo>
                      <a:pt x="1344" y="1104"/>
                    </a:lnTo>
                    <a:lnTo>
                      <a:pt x="1346" y="1104"/>
                    </a:lnTo>
                    <a:lnTo>
                      <a:pt x="1348" y="1106"/>
                    </a:lnTo>
                    <a:lnTo>
                      <a:pt x="1351" y="1111"/>
                    </a:lnTo>
                    <a:lnTo>
                      <a:pt x="1351" y="1111"/>
                    </a:lnTo>
                    <a:lnTo>
                      <a:pt x="1353" y="1113"/>
                    </a:lnTo>
                    <a:lnTo>
                      <a:pt x="1353" y="1113"/>
                    </a:lnTo>
                    <a:lnTo>
                      <a:pt x="1353" y="1118"/>
                    </a:lnTo>
                    <a:lnTo>
                      <a:pt x="1351" y="1118"/>
                    </a:lnTo>
                    <a:lnTo>
                      <a:pt x="1344" y="1120"/>
                    </a:lnTo>
                    <a:lnTo>
                      <a:pt x="1344" y="1120"/>
                    </a:lnTo>
                    <a:lnTo>
                      <a:pt x="1341" y="1122"/>
                    </a:lnTo>
                    <a:lnTo>
                      <a:pt x="1339" y="1125"/>
                    </a:lnTo>
                    <a:lnTo>
                      <a:pt x="1339" y="1127"/>
                    </a:lnTo>
                    <a:lnTo>
                      <a:pt x="1339" y="1127"/>
                    </a:lnTo>
                    <a:lnTo>
                      <a:pt x="1339" y="1130"/>
                    </a:lnTo>
                    <a:lnTo>
                      <a:pt x="1344" y="1130"/>
                    </a:lnTo>
                    <a:lnTo>
                      <a:pt x="1346" y="1132"/>
                    </a:lnTo>
                    <a:lnTo>
                      <a:pt x="1346" y="1134"/>
                    </a:lnTo>
                    <a:lnTo>
                      <a:pt x="1344" y="1137"/>
                    </a:lnTo>
                    <a:lnTo>
                      <a:pt x="1344" y="1139"/>
                    </a:lnTo>
                    <a:lnTo>
                      <a:pt x="1339" y="1141"/>
                    </a:lnTo>
                    <a:lnTo>
                      <a:pt x="1334" y="1144"/>
                    </a:lnTo>
                    <a:lnTo>
                      <a:pt x="1332" y="1144"/>
                    </a:lnTo>
                    <a:lnTo>
                      <a:pt x="1330" y="1144"/>
                    </a:lnTo>
                    <a:lnTo>
                      <a:pt x="1330" y="1146"/>
                    </a:lnTo>
                    <a:lnTo>
                      <a:pt x="1327" y="1146"/>
                    </a:lnTo>
                    <a:lnTo>
                      <a:pt x="1327" y="1148"/>
                    </a:lnTo>
                    <a:lnTo>
                      <a:pt x="1327" y="1153"/>
                    </a:lnTo>
                    <a:lnTo>
                      <a:pt x="1327" y="1155"/>
                    </a:lnTo>
                    <a:lnTo>
                      <a:pt x="1330" y="1158"/>
                    </a:lnTo>
                    <a:lnTo>
                      <a:pt x="1330" y="1160"/>
                    </a:lnTo>
                    <a:lnTo>
                      <a:pt x="1330" y="1163"/>
                    </a:lnTo>
                    <a:lnTo>
                      <a:pt x="1330" y="1163"/>
                    </a:lnTo>
                    <a:lnTo>
                      <a:pt x="1330" y="1165"/>
                    </a:lnTo>
                    <a:lnTo>
                      <a:pt x="1332" y="1165"/>
                    </a:lnTo>
                    <a:lnTo>
                      <a:pt x="1332" y="1165"/>
                    </a:lnTo>
                    <a:lnTo>
                      <a:pt x="1334" y="1167"/>
                    </a:lnTo>
                    <a:lnTo>
                      <a:pt x="1334" y="1170"/>
                    </a:lnTo>
                    <a:lnTo>
                      <a:pt x="1334" y="1172"/>
                    </a:lnTo>
                    <a:lnTo>
                      <a:pt x="1332" y="1174"/>
                    </a:lnTo>
                    <a:lnTo>
                      <a:pt x="1332" y="1172"/>
                    </a:lnTo>
                    <a:lnTo>
                      <a:pt x="1327" y="1170"/>
                    </a:lnTo>
                    <a:lnTo>
                      <a:pt x="1325" y="1170"/>
                    </a:lnTo>
                    <a:lnTo>
                      <a:pt x="1318" y="1170"/>
                    </a:lnTo>
                    <a:lnTo>
                      <a:pt x="1318" y="1170"/>
                    </a:lnTo>
                    <a:lnTo>
                      <a:pt x="1315" y="1172"/>
                    </a:lnTo>
                    <a:lnTo>
                      <a:pt x="1315" y="1174"/>
                    </a:lnTo>
                    <a:lnTo>
                      <a:pt x="1313" y="1177"/>
                    </a:lnTo>
                    <a:lnTo>
                      <a:pt x="1311" y="1177"/>
                    </a:lnTo>
                    <a:lnTo>
                      <a:pt x="1304" y="1184"/>
                    </a:lnTo>
                    <a:lnTo>
                      <a:pt x="1304" y="1186"/>
                    </a:lnTo>
                    <a:lnTo>
                      <a:pt x="1301" y="1186"/>
                    </a:lnTo>
                    <a:lnTo>
                      <a:pt x="1299" y="1191"/>
                    </a:lnTo>
                    <a:lnTo>
                      <a:pt x="1299" y="1193"/>
                    </a:lnTo>
                    <a:lnTo>
                      <a:pt x="1299" y="1193"/>
                    </a:lnTo>
                    <a:lnTo>
                      <a:pt x="1296" y="1196"/>
                    </a:lnTo>
                    <a:lnTo>
                      <a:pt x="1296" y="1198"/>
                    </a:lnTo>
                    <a:lnTo>
                      <a:pt x="1299" y="1203"/>
                    </a:lnTo>
                    <a:lnTo>
                      <a:pt x="1299" y="1207"/>
                    </a:lnTo>
                    <a:lnTo>
                      <a:pt x="1299" y="1210"/>
                    </a:lnTo>
                    <a:lnTo>
                      <a:pt x="1296" y="1210"/>
                    </a:lnTo>
                    <a:lnTo>
                      <a:pt x="1294" y="1212"/>
                    </a:lnTo>
                    <a:lnTo>
                      <a:pt x="1287" y="1215"/>
                    </a:lnTo>
                    <a:lnTo>
                      <a:pt x="1285" y="1219"/>
                    </a:lnTo>
                    <a:lnTo>
                      <a:pt x="1285" y="1219"/>
                    </a:lnTo>
                    <a:lnTo>
                      <a:pt x="1282" y="1219"/>
                    </a:lnTo>
                    <a:lnTo>
                      <a:pt x="1278" y="1222"/>
                    </a:lnTo>
                    <a:lnTo>
                      <a:pt x="1278" y="1222"/>
                    </a:lnTo>
                    <a:lnTo>
                      <a:pt x="1275" y="1222"/>
                    </a:lnTo>
                    <a:lnTo>
                      <a:pt x="1275" y="1222"/>
                    </a:lnTo>
                    <a:lnTo>
                      <a:pt x="1270" y="1222"/>
                    </a:lnTo>
                    <a:lnTo>
                      <a:pt x="1266" y="1222"/>
                    </a:lnTo>
                    <a:lnTo>
                      <a:pt x="1263" y="1224"/>
                    </a:lnTo>
                    <a:lnTo>
                      <a:pt x="1261" y="1224"/>
                    </a:lnTo>
                    <a:lnTo>
                      <a:pt x="1259" y="1226"/>
                    </a:lnTo>
                    <a:lnTo>
                      <a:pt x="1252" y="1226"/>
                    </a:lnTo>
                    <a:lnTo>
                      <a:pt x="1252" y="1229"/>
                    </a:lnTo>
                    <a:lnTo>
                      <a:pt x="1249" y="1231"/>
                    </a:lnTo>
                    <a:lnTo>
                      <a:pt x="1244" y="1233"/>
                    </a:lnTo>
                    <a:lnTo>
                      <a:pt x="1240" y="1238"/>
                    </a:lnTo>
                    <a:lnTo>
                      <a:pt x="1235" y="1241"/>
                    </a:lnTo>
                    <a:lnTo>
                      <a:pt x="1233" y="1241"/>
                    </a:lnTo>
                    <a:lnTo>
                      <a:pt x="1233" y="1241"/>
                    </a:lnTo>
                    <a:lnTo>
                      <a:pt x="1230" y="1243"/>
                    </a:lnTo>
                    <a:lnTo>
                      <a:pt x="1228" y="1245"/>
                    </a:lnTo>
                    <a:lnTo>
                      <a:pt x="1228" y="1248"/>
                    </a:lnTo>
                    <a:lnTo>
                      <a:pt x="1228" y="1250"/>
                    </a:lnTo>
                    <a:lnTo>
                      <a:pt x="1228" y="1250"/>
                    </a:lnTo>
                    <a:lnTo>
                      <a:pt x="1228" y="1252"/>
                    </a:lnTo>
                    <a:lnTo>
                      <a:pt x="1230" y="1257"/>
                    </a:lnTo>
                    <a:lnTo>
                      <a:pt x="1230" y="1259"/>
                    </a:lnTo>
                    <a:lnTo>
                      <a:pt x="1230" y="1264"/>
                    </a:lnTo>
                    <a:lnTo>
                      <a:pt x="1230" y="1264"/>
                    </a:lnTo>
                    <a:lnTo>
                      <a:pt x="1230" y="1271"/>
                    </a:lnTo>
                    <a:lnTo>
                      <a:pt x="1230" y="1278"/>
                    </a:lnTo>
                    <a:lnTo>
                      <a:pt x="1233" y="1283"/>
                    </a:lnTo>
                    <a:lnTo>
                      <a:pt x="1230" y="1285"/>
                    </a:lnTo>
                    <a:lnTo>
                      <a:pt x="1228" y="1290"/>
                    </a:lnTo>
                    <a:lnTo>
                      <a:pt x="1228" y="1292"/>
                    </a:lnTo>
                    <a:lnTo>
                      <a:pt x="1226" y="1297"/>
                    </a:lnTo>
                    <a:lnTo>
                      <a:pt x="1223" y="1300"/>
                    </a:lnTo>
                    <a:lnTo>
                      <a:pt x="1221" y="1302"/>
                    </a:lnTo>
                    <a:lnTo>
                      <a:pt x="1221" y="1304"/>
                    </a:lnTo>
                    <a:lnTo>
                      <a:pt x="1218" y="1304"/>
                    </a:lnTo>
                    <a:lnTo>
                      <a:pt x="1214" y="1311"/>
                    </a:lnTo>
                    <a:lnTo>
                      <a:pt x="1211" y="1314"/>
                    </a:lnTo>
                    <a:lnTo>
                      <a:pt x="1209" y="1318"/>
                    </a:lnTo>
                    <a:lnTo>
                      <a:pt x="1207" y="1318"/>
                    </a:lnTo>
                    <a:lnTo>
                      <a:pt x="1207" y="1326"/>
                    </a:lnTo>
                    <a:lnTo>
                      <a:pt x="1207" y="1328"/>
                    </a:lnTo>
                    <a:lnTo>
                      <a:pt x="1209" y="1333"/>
                    </a:lnTo>
                    <a:lnTo>
                      <a:pt x="1209" y="1335"/>
                    </a:lnTo>
                    <a:lnTo>
                      <a:pt x="1211" y="1340"/>
                    </a:lnTo>
                    <a:lnTo>
                      <a:pt x="1211" y="1342"/>
                    </a:lnTo>
                    <a:lnTo>
                      <a:pt x="1214" y="1344"/>
                    </a:lnTo>
                    <a:lnTo>
                      <a:pt x="1218" y="1347"/>
                    </a:lnTo>
                    <a:lnTo>
                      <a:pt x="1221" y="1349"/>
                    </a:lnTo>
                    <a:lnTo>
                      <a:pt x="1223" y="1352"/>
                    </a:lnTo>
                    <a:lnTo>
                      <a:pt x="1228" y="1354"/>
                    </a:lnTo>
                    <a:lnTo>
                      <a:pt x="1230" y="1356"/>
                    </a:lnTo>
                    <a:lnTo>
                      <a:pt x="1233" y="1356"/>
                    </a:lnTo>
                    <a:lnTo>
                      <a:pt x="1235" y="1359"/>
                    </a:lnTo>
                    <a:lnTo>
                      <a:pt x="1235" y="1359"/>
                    </a:lnTo>
                    <a:lnTo>
                      <a:pt x="1235" y="1361"/>
                    </a:lnTo>
                    <a:lnTo>
                      <a:pt x="1235" y="1361"/>
                    </a:lnTo>
                    <a:lnTo>
                      <a:pt x="1233" y="1363"/>
                    </a:lnTo>
                    <a:lnTo>
                      <a:pt x="1233" y="1366"/>
                    </a:lnTo>
                    <a:lnTo>
                      <a:pt x="1233" y="1366"/>
                    </a:lnTo>
                    <a:lnTo>
                      <a:pt x="1235" y="1373"/>
                    </a:lnTo>
                    <a:lnTo>
                      <a:pt x="1233" y="1375"/>
                    </a:lnTo>
                    <a:lnTo>
                      <a:pt x="1233" y="1380"/>
                    </a:lnTo>
                    <a:lnTo>
                      <a:pt x="1233" y="1382"/>
                    </a:lnTo>
                    <a:lnTo>
                      <a:pt x="1233" y="1387"/>
                    </a:lnTo>
                    <a:lnTo>
                      <a:pt x="1233" y="1387"/>
                    </a:lnTo>
                    <a:lnTo>
                      <a:pt x="1233" y="1392"/>
                    </a:lnTo>
                    <a:lnTo>
                      <a:pt x="1233" y="1394"/>
                    </a:lnTo>
                    <a:lnTo>
                      <a:pt x="1230" y="1394"/>
                    </a:lnTo>
                    <a:lnTo>
                      <a:pt x="1230" y="1396"/>
                    </a:lnTo>
                    <a:lnTo>
                      <a:pt x="1230" y="1396"/>
                    </a:lnTo>
                    <a:lnTo>
                      <a:pt x="1230" y="1399"/>
                    </a:lnTo>
                    <a:lnTo>
                      <a:pt x="1228" y="1401"/>
                    </a:lnTo>
                    <a:lnTo>
                      <a:pt x="1230" y="1404"/>
                    </a:lnTo>
                    <a:lnTo>
                      <a:pt x="1228" y="1408"/>
                    </a:lnTo>
                    <a:lnTo>
                      <a:pt x="1228" y="1411"/>
                    </a:lnTo>
                    <a:lnTo>
                      <a:pt x="1228" y="1413"/>
                    </a:lnTo>
                    <a:lnTo>
                      <a:pt x="1226" y="1415"/>
                    </a:lnTo>
                    <a:lnTo>
                      <a:pt x="1223" y="1420"/>
                    </a:lnTo>
                    <a:lnTo>
                      <a:pt x="1221" y="1427"/>
                    </a:lnTo>
                    <a:lnTo>
                      <a:pt x="1221" y="1430"/>
                    </a:lnTo>
                    <a:lnTo>
                      <a:pt x="1218" y="1434"/>
                    </a:lnTo>
                    <a:lnTo>
                      <a:pt x="1218" y="1437"/>
                    </a:lnTo>
                    <a:lnTo>
                      <a:pt x="1214" y="1439"/>
                    </a:lnTo>
                    <a:lnTo>
                      <a:pt x="1211" y="1439"/>
                    </a:lnTo>
                    <a:lnTo>
                      <a:pt x="1211" y="1439"/>
                    </a:lnTo>
                    <a:lnTo>
                      <a:pt x="1207" y="1444"/>
                    </a:lnTo>
                    <a:lnTo>
                      <a:pt x="1207" y="1448"/>
                    </a:lnTo>
                    <a:lnTo>
                      <a:pt x="1204" y="1448"/>
                    </a:lnTo>
                    <a:lnTo>
                      <a:pt x="1204" y="1458"/>
                    </a:lnTo>
                    <a:lnTo>
                      <a:pt x="1204" y="1458"/>
                    </a:lnTo>
                    <a:lnTo>
                      <a:pt x="1202" y="1460"/>
                    </a:lnTo>
                    <a:lnTo>
                      <a:pt x="1197" y="1465"/>
                    </a:lnTo>
                    <a:lnTo>
                      <a:pt x="1197" y="1467"/>
                    </a:lnTo>
                    <a:lnTo>
                      <a:pt x="1195" y="1470"/>
                    </a:lnTo>
                    <a:lnTo>
                      <a:pt x="1195" y="1472"/>
                    </a:lnTo>
                    <a:lnTo>
                      <a:pt x="1193" y="1477"/>
                    </a:lnTo>
                    <a:lnTo>
                      <a:pt x="1185" y="1484"/>
                    </a:lnTo>
                    <a:lnTo>
                      <a:pt x="1183" y="1489"/>
                    </a:lnTo>
                    <a:lnTo>
                      <a:pt x="1181" y="1493"/>
                    </a:lnTo>
                    <a:lnTo>
                      <a:pt x="1178" y="1496"/>
                    </a:lnTo>
                    <a:lnTo>
                      <a:pt x="1176" y="1496"/>
                    </a:lnTo>
                    <a:lnTo>
                      <a:pt x="1174" y="1496"/>
                    </a:lnTo>
                    <a:lnTo>
                      <a:pt x="1169" y="1498"/>
                    </a:lnTo>
                    <a:lnTo>
                      <a:pt x="1162" y="1503"/>
                    </a:lnTo>
                    <a:lnTo>
                      <a:pt x="1159" y="1503"/>
                    </a:lnTo>
                    <a:lnTo>
                      <a:pt x="1159" y="1505"/>
                    </a:lnTo>
                    <a:lnTo>
                      <a:pt x="1157" y="1507"/>
                    </a:lnTo>
                    <a:lnTo>
                      <a:pt x="1155" y="1512"/>
                    </a:lnTo>
                    <a:lnTo>
                      <a:pt x="1155" y="1515"/>
                    </a:lnTo>
                    <a:lnTo>
                      <a:pt x="1148" y="1519"/>
                    </a:lnTo>
                    <a:lnTo>
                      <a:pt x="1148" y="1522"/>
                    </a:lnTo>
                    <a:lnTo>
                      <a:pt x="1148" y="1524"/>
                    </a:lnTo>
                    <a:lnTo>
                      <a:pt x="1145" y="1526"/>
                    </a:lnTo>
                    <a:lnTo>
                      <a:pt x="1145" y="1531"/>
                    </a:lnTo>
                    <a:lnTo>
                      <a:pt x="1141" y="1536"/>
                    </a:lnTo>
                    <a:lnTo>
                      <a:pt x="1141" y="1536"/>
                    </a:lnTo>
                    <a:lnTo>
                      <a:pt x="1141" y="1538"/>
                    </a:lnTo>
                    <a:lnTo>
                      <a:pt x="1141" y="1538"/>
                    </a:lnTo>
                    <a:lnTo>
                      <a:pt x="1136" y="1543"/>
                    </a:lnTo>
                    <a:lnTo>
                      <a:pt x="1131" y="1545"/>
                    </a:lnTo>
                    <a:lnTo>
                      <a:pt x="1129" y="1545"/>
                    </a:lnTo>
                    <a:lnTo>
                      <a:pt x="1129" y="1552"/>
                    </a:lnTo>
                    <a:lnTo>
                      <a:pt x="1124" y="1552"/>
                    </a:lnTo>
                    <a:lnTo>
                      <a:pt x="1124" y="1555"/>
                    </a:lnTo>
                    <a:lnTo>
                      <a:pt x="1122" y="1555"/>
                    </a:lnTo>
                    <a:lnTo>
                      <a:pt x="1122" y="1557"/>
                    </a:lnTo>
                    <a:lnTo>
                      <a:pt x="1122" y="1559"/>
                    </a:lnTo>
                    <a:lnTo>
                      <a:pt x="1122" y="1562"/>
                    </a:lnTo>
                    <a:lnTo>
                      <a:pt x="1122" y="1564"/>
                    </a:lnTo>
                    <a:lnTo>
                      <a:pt x="1122" y="1564"/>
                    </a:lnTo>
                    <a:lnTo>
                      <a:pt x="1119" y="1569"/>
                    </a:lnTo>
                    <a:lnTo>
                      <a:pt x="1117" y="1571"/>
                    </a:lnTo>
                    <a:lnTo>
                      <a:pt x="1115" y="1578"/>
                    </a:lnTo>
                    <a:lnTo>
                      <a:pt x="1115" y="1581"/>
                    </a:lnTo>
                    <a:lnTo>
                      <a:pt x="1115" y="1581"/>
                    </a:lnTo>
                    <a:lnTo>
                      <a:pt x="1115" y="1581"/>
                    </a:lnTo>
                    <a:lnTo>
                      <a:pt x="1115" y="1583"/>
                    </a:lnTo>
                    <a:lnTo>
                      <a:pt x="1115" y="1585"/>
                    </a:lnTo>
                    <a:lnTo>
                      <a:pt x="1117" y="1588"/>
                    </a:lnTo>
                    <a:lnTo>
                      <a:pt x="1115" y="1590"/>
                    </a:lnTo>
                    <a:lnTo>
                      <a:pt x="1115" y="1590"/>
                    </a:lnTo>
                    <a:lnTo>
                      <a:pt x="1115" y="1595"/>
                    </a:lnTo>
                    <a:lnTo>
                      <a:pt x="1112" y="1595"/>
                    </a:lnTo>
                    <a:lnTo>
                      <a:pt x="1112" y="1597"/>
                    </a:lnTo>
                    <a:lnTo>
                      <a:pt x="1110" y="1597"/>
                    </a:lnTo>
                    <a:lnTo>
                      <a:pt x="1110" y="1602"/>
                    </a:lnTo>
                    <a:lnTo>
                      <a:pt x="1110" y="1604"/>
                    </a:lnTo>
                    <a:lnTo>
                      <a:pt x="1110" y="1607"/>
                    </a:lnTo>
                    <a:lnTo>
                      <a:pt x="1107" y="1607"/>
                    </a:lnTo>
                    <a:lnTo>
                      <a:pt x="1107" y="1609"/>
                    </a:lnTo>
                    <a:lnTo>
                      <a:pt x="1103" y="1616"/>
                    </a:lnTo>
                    <a:lnTo>
                      <a:pt x="1103" y="1618"/>
                    </a:lnTo>
                    <a:lnTo>
                      <a:pt x="1100" y="1623"/>
                    </a:lnTo>
                    <a:lnTo>
                      <a:pt x="1100" y="1626"/>
                    </a:lnTo>
                    <a:lnTo>
                      <a:pt x="1100" y="1626"/>
                    </a:lnTo>
                    <a:lnTo>
                      <a:pt x="1020" y="1621"/>
                    </a:lnTo>
                    <a:lnTo>
                      <a:pt x="994" y="1618"/>
                    </a:lnTo>
                    <a:lnTo>
                      <a:pt x="963" y="1616"/>
                    </a:lnTo>
                    <a:lnTo>
                      <a:pt x="942" y="1616"/>
                    </a:lnTo>
                    <a:lnTo>
                      <a:pt x="843" y="1609"/>
                    </a:lnTo>
                    <a:lnTo>
                      <a:pt x="796" y="1604"/>
                    </a:lnTo>
                    <a:lnTo>
                      <a:pt x="789" y="1604"/>
                    </a:lnTo>
                    <a:lnTo>
                      <a:pt x="732" y="1600"/>
                    </a:lnTo>
                    <a:lnTo>
                      <a:pt x="673" y="1597"/>
                    </a:lnTo>
                    <a:lnTo>
                      <a:pt x="607" y="1590"/>
                    </a:lnTo>
                    <a:lnTo>
                      <a:pt x="543" y="1585"/>
                    </a:lnTo>
                    <a:lnTo>
                      <a:pt x="526" y="1585"/>
                    </a:lnTo>
                    <a:lnTo>
                      <a:pt x="493" y="1581"/>
                    </a:lnTo>
                    <a:lnTo>
                      <a:pt x="394" y="1574"/>
                    </a:lnTo>
                    <a:lnTo>
                      <a:pt x="347" y="1569"/>
                    </a:lnTo>
                    <a:lnTo>
                      <a:pt x="333" y="1569"/>
                    </a:lnTo>
                    <a:lnTo>
                      <a:pt x="283" y="1564"/>
                    </a:lnTo>
                    <a:lnTo>
                      <a:pt x="278" y="1564"/>
                    </a:lnTo>
                    <a:lnTo>
                      <a:pt x="276" y="1564"/>
                    </a:lnTo>
                    <a:lnTo>
                      <a:pt x="276" y="1564"/>
                    </a:lnTo>
                    <a:lnTo>
                      <a:pt x="276" y="1567"/>
                    </a:lnTo>
                    <a:lnTo>
                      <a:pt x="274" y="1569"/>
                    </a:lnTo>
                    <a:lnTo>
                      <a:pt x="271" y="1569"/>
                    </a:lnTo>
                    <a:lnTo>
                      <a:pt x="269" y="1569"/>
                    </a:lnTo>
                    <a:lnTo>
                      <a:pt x="269" y="1567"/>
                    </a:lnTo>
                    <a:lnTo>
                      <a:pt x="269" y="1564"/>
                    </a:lnTo>
                    <a:lnTo>
                      <a:pt x="269" y="1564"/>
                    </a:lnTo>
                    <a:lnTo>
                      <a:pt x="269" y="1559"/>
                    </a:lnTo>
                    <a:lnTo>
                      <a:pt x="269" y="1557"/>
                    </a:lnTo>
                    <a:lnTo>
                      <a:pt x="266" y="1557"/>
                    </a:lnTo>
                    <a:lnTo>
                      <a:pt x="264" y="1550"/>
                    </a:lnTo>
                    <a:lnTo>
                      <a:pt x="264" y="1548"/>
                    </a:lnTo>
                    <a:lnTo>
                      <a:pt x="259" y="1548"/>
                    </a:lnTo>
                    <a:lnTo>
                      <a:pt x="257" y="1545"/>
                    </a:lnTo>
                    <a:lnTo>
                      <a:pt x="257" y="1548"/>
                    </a:lnTo>
                    <a:lnTo>
                      <a:pt x="255" y="1548"/>
                    </a:lnTo>
                    <a:lnTo>
                      <a:pt x="248" y="1545"/>
                    </a:lnTo>
                    <a:lnTo>
                      <a:pt x="245" y="1545"/>
                    </a:lnTo>
                    <a:lnTo>
                      <a:pt x="241" y="1545"/>
                    </a:lnTo>
                    <a:lnTo>
                      <a:pt x="238" y="1545"/>
                    </a:lnTo>
                    <a:lnTo>
                      <a:pt x="238" y="1545"/>
                    </a:lnTo>
                    <a:lnTo>
                      <a:pt x="236" y="1543"/>
                    </a:lnTo>
                    <a:lnTo>
                      <a:pt x="236" y="1543"/>
                    </a:lnTo>
                    <a:lnTo>
                      <a:pt x="233" y="1541"/>
                    </a:lnTo>
                    <a:lnTo>
                      <a:pt x="231" y="1541"/>
                    </a:lnTo>
                    <a:lnTo>
                      <a:pt x="231" y="1538"/>
                    </a:lnTo>
                    <a:lnTo>
                      <a:pt x="233" y="1536"/>
                    </a:lnTo>
                    <a:lnTo>
                      <a:pt x="231" y="1533"/>
                    </a:lnTo>
                    <a:lnTo>
                      <a:pt x="236" y="1531"/>
                    </a:lnTo>
                    <a:lnTo>
                      <a:pt x="236" y="1529"/>
                    </a:lnTo>
                    <a:lnTo>
                      <a:pt x="233" y="1526"/>
                    </a:lnTo>
                    <a:lnTo>
                      <a:pt x="231" y="1526"/>
                    </a:lnTo>
                    <a:lnTo>
                      <a:pt x="231" y="1524"/>
                    </a:lnTo>
                    <a:lnTo>
                      <a:pt x="231" y="1524"/>
                    </a:lnTo>
                    <a:lnTo>
                      <a:pt x="229" y="1522"/>
                    </a:lnTo>
                    <a:lnTo>
                      <a:pt x="229" y="1517"/>
                    </a:lnTo>
                    <a:lnTo>
                      <a:pt x="222" y="1515"/>
                    </a:lnTo>
                    <a:lnTo>
                      <a:pt x="217" y="1507"/>
                    </a:lnTo>
                    <a:lnTo>
                      <a:pt x="215" y="1505"/>
                    </a:lnTo>
                    <a:lnTo>
                      <a:pt x="212" y="1505"/>
                    </a:lnTo>
                    <a:lnTo>
                      <a:pt x="210" y="1505"/>
                    </a:lnTo>
                    <a:lnTo>
                      <a:pt x="210" y="1503"/>
                    </a:lnTo>
                    <a:lnTo>
                      <a:pt x="207" y="1505"/>
                    </a:lnTo>
                    <a:lnTo>
                      <a:pt x="203" y="1505"/>
                    </a:lnTo>
                    <a:lnTo>
                      <a:pt x="203" y="1505"/>
                    </a:lnTo>
                    <a:lnTo>
                      <a:pt x="200" y="1505"/>
                    </a:lnTo>
                    <a:lnTo>
                      <a:pt x="200" y="1503"/>
                    </a:lnTo>
                    <a:lnTo>
                      <a:pt x="196" y="1500"/>
                    </a:lnTo>
                    <a:lnTo>
                      <a:pt x="191" y="1500"/>
                    </a:lnTo>
                    <a:lnTo>
                      <a:pt x="189" y="1498"/>
                    </a:lnTo>
                    <a:lnTo>
                      <a:pt x="186" y="1498"/>
                    </a:lnTo>
                    <a:lnTo>
                      <a:pt x="186" y="1496"/>
                    </a:lnTo>
                    <a:lnTo>
                      <a:pt x="186" y="1493"/>
                    </a:lnTo>
                    <a:lnTo>
                      <a:pt x="186" y="1489"/>
                    </a:lnTo>
                    <a:lnTo>
                      <a:pt x="186" y="1489"/>
                    </a:lnTo>
                    <a:lnTo>
                      <a:pt x="184" y="1489"/>
                    </a:lnTo>
                    <a:lnTo>
                      <a:pt x="181" y="1489"/>
                    </a:lnTo>
                    <a:lnTo>
                      <a:pt x="179" y="1486"/>
                    </a:lnTo>
                    <a:lnTo>
                      <a:pt x="172" y="1484"/>
                    </a:lnTo>
                    <a:lnTo>
                      <a:pt x="167" y="1484"/>
                    </a:lnTo>
                    <a:lnTo>
                      <a:pt x="165" y="1484"/>
                    </a:lnTo>
                    <a:lnTo>
                      <a:pt x="165" y="1481"/>
                    </a:lnTo>
                    <a:lnTo>
                      <a:pt x="165" y="1477"/>
                    </a:lnTo>
                    <a:lnTo>
                      <a:pt x="163" y="1472"/>
                    </a:lnTo>
                    <a:lnTo>
                      <a:pt x="163" y="1470"/>
                    </a:lnTo>
                    <a:lnTo>
                      <a:pt x="160" y="1470"/>
                    </a:lnTo>
                    <a:lnTo>
                      <a:pt x="163" y="1463"/>
                    </a:lnTo>
                    <a:lnTo>
                      <a:pt x="160" y="1463"/>
                    </a:lnTo>
                    <a:lnTo>
                      <a:pt x="158" y="1460"/>
                    </a:lnTo>
                    <a:lnTo>
                      <a:pt x="158" y="1460"/>
                    </a:lnTo>
                    <a:lnTo>
                      <a:pt x="158" y="1458"/>
                    </a:lnTo>
                    <a:lnTo>
                      <a:pt x="158" y="1455"/>
                    </a:lnTo>
                    <a:lnTo>
                      <a:pt x="160" y="1453"/>
                    </a:lnTo>
                    <a:lnTo>
                      <a:pt x="158" y="1453"/>
                    </a:lnTo>
                    <a:lnTo>
                      <a:pt x="155" y="1451"/>
                    </a:lnTo>
                    <a:lnTo>
                      <a:pt x="155" y="1451"/>
                    </a:lnTo>
                    <a:lnTo>
                      <a:pt x="158" y="1448"/>
                    </a:lnTo>
                    <a:lnTo>
                      <a:pt x="158" y="1446"/>
                    </a:lnTo>
                    <a:lnTo>
                      <a:pt x="153" y="1441"/>
                    </a:lnTo>
                    <a:lnTo>
                      <a:pt x="153" y="1439"/>
                    </a:lnTo>
                    <a:lnTo>
                      <a:pt x="153" y="1439"/>
                    </a:lnTo>
                    <a:lnTo>
                      <a:pt x="155" y="1434"/>
                    </a:lnTo>
                    <a:lnTo>
                      <a:pt x="155" y="1434"/>
                    </a:lnTo>
                    <a:lnTo>
                      <a:pt x="155" y="1432"/>
                    </a:lnTo>
                    <a:lnTo>
                      <a:pt x="153" y="1430"/>
                    </a:lnTo>
                    <a:lnTo>
                      <a:pt x="153" y="1427"/>
                    </a:lnTo>
                    <a:lnTo>
                      <a:pt x="153" y="1427"/>
                    </a:lnTo>
                    <a:lnTo>
                      <a:pt x="155" y="1425"/>
                    </a:lnTo>
                    <a:lnTo>
                      <a:pt x="155" y="1420"/>
                    </a:lnTo>
                    <a:lnTo>
                      <a:pt x="158" y="1415"/>
                    </a:lnTo>
                    <a:lnTo>
                      <a:pt x="158" y="1415"/>
                    </a:lnTo>
                    <a:lnTo>
                      <a:pt x="158" y="1413"/>
                    </a:lnTo>
                    <a:lnTo>
                      <a:pt x="155" y="1408"/>
                    </a:lnTo>
                    <a:lnTo>
                      <a:pt x="153" y="1408"/>
                    </a:lnTo>
                    <a:lnTo>
                      <a:pt x="151" y="1406"/>
                    </a:lnTo>
                    <a:lnTo>
                      <a:pt x="148" y="1406"/>
                    </a:lnTo>
                    <a:lnTo>
                      <a:pt x="148" y="1404"/>
                    </a:lnTo>
                    <a:lnTo>
                      <a:pt x="148" y="1396"/>
                    </a:lnTo>
                    <a:lnTo>
                      <a:pt x="141" y="1392"/>
                    </a:lnTo>
                    <a:lnTo>
                      <a:pt x="139" y="1385"/>
                    </a:lnTo>
                    <a:lnTo>
                      <a:pt x="134" y="1382"/>
                    </a:lnTo>
                    <a:lnTo>
                      <a:pt x="134" y="1380"/>
                    </a:lnTo>
                    <a:lnTo>
                      <a:pt x="134" y="1370"/>
                    </a:lnTo>
                    <a:lnTo>
                      <a:pt x="134" y="1368"/>
                    </a:lnTo>
                    <a:lnTo>
                      <a:pt x="129" y="1359"/>
                    </a:lnTo>
                    <a:lnTo>
                      <a:pt x="127" y="1354"/>
                    </a:lnTo>
                    <a:lnTo>
                      <a:pt x="127" y="1342"/>
                    </a:lnTo>
                    <a:lnTo>
                      <a:pt x="125" y="1342"/>
                    </a:lnTo>
                    <a:lnTo>
                      <a:pt x="125" y="1340"/>
                    </a:lnTo>
                    <a:lnTo>
                      <a:pt x="122" y="1340"/>
                    </a:lnTo>
                    <a:lnTo>
                      <a:pt x="120" y="1340"/>
                    </a:lnTo>
                    <a:lnTo>
                      <a:pt x="120" y="1333"/>
                    </a:lnTo>
                    <a:lnTo>
                      <a:pt x="120" y="1333"/>
                    </a:lnTo>
                    <a:lnTo>
                      <a:pt x="118" y="1323"/>
                    </a:lnTo>
                    <a:lnTo>
                      <a:pt x="113" y="1318"/>
                    </a:lnTo>
                    <a:lnTo>
                      <a:pt x="108" y="1314"/>
                    </a:lnTo>
                    <a:lnTo>
                      <a:pt x="106" y="1307"/>
                    </a:lnTo>
                    <a:lnTo>
                      <a:pt x="103" y="1304"/>
                    </a:lnTo>
                    <a:lnTo>
                      <a:pt x="99" y="1302"/>
                    </a:lnTo>
                    <a:lnTo>
                      <a:pt x="96" y="1300"/>
                    </a:lnTo>
                    <a:lnTo>
                      <a:pt x="96" y="1302"/>
                    </a:lnTo>
                    <a:lnTo>
                      <a:pt x="94" y="1300"/>
                    </a:lnTo>
                    <a:lnTo>
                      <a:pt x="92" y="1295"/>
                    </a:lnTo>
                    <a:lnTo>
                      <a:pt x="92" y="1295"/>
                    </a:lnTo>
                    <a:lnTo>
                      <a:pt x="92" y="1290"/>
                    </a:lnTo>
                    <a:lnTo>
                      <a:pt x="92" y="1285"/>
                    </a:lnTo>
                    <a:lnTo>
                      <a:pt x="89" y="1278"/>
                    </a:lnTo>
                    <a:lnTo>
                      <a:pt x="87" y="1276"/>
                    </a:lnTo>
                    <a:lnTo>
                      <a:pt x="87" y="1271"/>
                    </a:lnTo>
                    <a:lnTo>
                      <a:pt x="85" y="1271"/>
                    </a:lnTo>
                    <a:lnTo>
                      <a:pt x="85" y="1269"/>
                    </a:lnTo>
                    <a:lnTo>
                      <a:pt x="82" y="1267"/>
                    </a:lnTo>
                    <a:lnTo>
                      <a:pt x="82" y="1267"/>
                    </a:lnTo>
                    <a:lnTo>
                      <a:pt x="80" y="1264"/>
                    </a:lnTo>
                    <a:lnTo>
                      <a:pt x="75" y="1262"/>
                    </a:lnTo>
                    <a:lnTo>
                      <a:pt x="73" y="1255"/>
                    </a:lnTo>
                    <a:lnTo>
                      <a:pt x="70" y="1252"/>
                    </a:lnTo>
                    <a:lnTo>
                      <a:pt x="68" y="1250"/>
                    </a:lnTo>
                    <a:lnTo>
                      <a:pt x="66" y="1250"/>
                    </a:lnTo>
                    <a:lnTo>
                      <a:pt x="63" y="1250"/>
                    </a:lnTo>
                    <a:lnTo>
                      <a:pt x="63" y="1248"/>
                    </a:lnTo>
                    <a:lnTo>
                      <a:pt x="61" y="1248"/>
                    </a:lnTo>
                    <a:lnTo>
                      <a:pt x="59" y="1243"/>
                    </a:lnTo>
                    <a:lnTo>
                      <a:pt x="54" y="1233"/>
                    </a:lnTo>
                    <a:lnTo>
                      <a:pt x="54" y="1229"/>
                    </a:lnTo>
                    <a:lnTo>
                      <a:pt x="52" y="1226"/>
                    </a:lnTo>
                    <a:lnTo>
                      <a:pt x="52" y="1215"/>
                    </a:lnTo>
                    <a:lnTo>
                      <a:pt x="54" y="1212"/>
                    </a:lnTo>
                    <a:lnTo>
                      <a:pt x="56" y="1210"/>
                    </a:lnTo>
                    <a:lnTo>
                      <a:pt x="59" y="1205"/>
                    </a:lnTo>
                    <a:lnTo>
                      <a:pt x="66" y="1198"/>
                    </a:lnTo>
                    <a:lnTo>
                      <a:pt x="68" y="1198"/>
                    </a:lnTo>
                    <a:lnTo>
                      <a:pt x="70" y="1196"/>
                    </a:lnTo>
                    <a:lnTo>
                      <a:pt x="70" y="1193"/>
                    </a:lnTo>
                    <a:lnTo>
                      <a:pt x="73" y="1189"/>
                    </a:lnTo>
                    <a:lnTo>
                      <a:pt x="73" y="1189"/>
                    </a:lnTo>
                    <a:lnTo>
                      <a:pt x="75" y="1189"/>
                    </a:lnTo>
                    <a:lnTo>
                      <a:pt x="78" y="1189"/>
                    </a:lnTo>
                    <a:lnTo>
                      <a:pt x="78" y="1186"/>
                    </a:lnTo>
                    <a:lnTo>
                      <a:pt x="80" y="1186"/>
                    </a:lnTo>
                    <a:lnTo>
                      <a:pt x="80" y="1184"/>
                    </a:lnTo>
                    <a:lnTo>
                      <a:pt x="129" y="1073"/>
                    </a:lnTo>
                    <a:lnTo>
                      <a:pt x="151" y="1028"/>
                    </a:lnTo>
                    <a:lnTo>
                      <a:pt x="163" y="1002"/>
                    </a:lnTo>
                    <a:lnTo>
                      <a:pt x="170" y="983"/>
                    </a:lnTo>
                    <a:lnTo>
                      <a:pt x="207" y="900"/>
                    </a:lnTo>
                    <a:lnTo>
                      <a:pt x="238" y="837"/>
                    </a:lnTo>
                    <a:lnTo>
                      <a:pt x="245" y="818"/>
                    </a:lnTo>
                    <a:lnTo>
                      <a:pt x="250" y="806"/>
                    </a:lnTo>
                    <a:lnTo>
                      <a:pt x="255" y="796"/>
                    </a:lnTo>
                    <a:lnTo>
                      <a:pt x="264" y="775"/>
                    </a:lnTo>
                    <a:lnTo>
                      <a:pt x="269" y="763"/>
                    </a:lnTo>
                    <a:lnTo>
                      <a:pt x="269" y="761"/>
                    </a:lnTo>
                    <a:lnTo>
                      <a:pt x="285" y="730"/>
                    </a:lnTo>
                    <a:lnTo>
                      <a:pt x="295" y="709"/>
                    </a:lnTo>
                    <a:lnTo>
                      <a:pt x="300" y="697"/>
                    </a:lnTo>
                    <a:lnTo>
                      <a:pt x="304" y="683"/>
                    </a:lnTo>
                    <a:lnTo>
                      <a:pt x="311" y="669"/>
                    </a:lnTo>
                    <a:lnTo>
                      <a:pt x="316" y="659"/>
                    </a:lnTo>
                    <a:lnTo>
                      <a:pt x="314" y="659"/>
                    </a:lnTo>
                    <a:lnTo>
                      <a:pt x="314" y="659"/>
                    </a:lnTo>
                    <a:lnTo>
                      <a:pt x="311" y="659"/>
                    </a:lnTo>
                    <a:lnTo>
                      <a:pt x="309" y="657"/>
                    </a:lnTo>
                    <a:lnTo>
                      <a:pt x="309" y="657"/>
                    </a:lnTo>
                    <a:lnTo>
                      <a:pt x="309" y="657"/>
                    </a:lnTo>
                    <a:lnTo>
                      <a:pt x="314" y="650"/>
                    </a:lnTo>
                    <a:lnTo>
                      <a:pt x="314" y="648"/>
                    </a:lnTo>
                    <a:lnTo>
                      <a:pt x="314" y="645"/>
                    </a:lnTo>
                    <a:lnTo>
                      <a:pt x="314" y="643"/>
                    </a:lnTo>
                    <a:lnTo>
                      <a:pt x="318" y="638"/>
                    </a:lnTo>
                    <a:lnTo>
                      <a:pt x="318" y="636"/>
                    </a:lnTo>
                    <a:lnTo>
                      <a:pt x="321" y="633"/>
                    </a:lnTo>
                    <a:lnTo>
                      <a:pt x="326" y="633"/>
                    </a:lnTo>
                    <a:lnTo>
                      <a:pt x="333" y="629"/>
                    </a:lnTo>
                    <a:lnTo>
                      <a:pt x="340" y="626"/>
                    </a:lnTo>
                    <a:lnTo>
                      <a:pt x="342" y="624"/>
                    </a:lnTo>
                    <a:lnTo>
                      <a:pt x="347" y="619"/>
                    </a:lnTo>
                    <a:lnTo>
                      <a:pt x="349" y="615"/>
                    </a:lnTo>
                    <a:lnTo>
                      <a:pt x="354" y="607"/>
                    </a:lnTo>
                    <a:lnTo>
                      <a:pt x="354" y="605"/>
                    </a:lnTo>
                    <a:lnTo>
                      <a:pt x="354" y="605"/>
                    </a:lnTo>
                    <a:lnTo>
                      <a:pt x="349" y="605"/>
                    </a:lnTo>
                    <a:lnTo>
                      <a:pt x="347" y="605"/>
                    </a:lnTo>
                    <a:lnTo>
                      <a:pt x="344" y="605"/>
                    </a:lnTo>
                    <a:lnTo>
                      <a:pt x="342" y="605"/>
                    </a:lnTo>
                    <a:lnTo>
                      <a:pt x="342" y="607"/>
                    </a:lnTo>
                    <a:lnTo>
                      <a:pt x="342" y="607"/>
                    </a:lnTo>
                    <a:lnTo>
                      <a:pt x="340" y="607"/>
                    </a:lnTo>
                    <a:lnTo>
                      <a:pt x="337" y="607"/>
                    </a:lnTo>
                    <a:lnTo>
                      <a:pt x="335" y="612"/>
                    </a:lnTo>
                    <a:lnTo>
                      <a:pt x="330" y="612"/>
                    </a:lnTo>
                    <a:lnTo>
                      <a:pt x="330" y="615"/>
                    </a:lnTo>
                    <a:lnTo>
                      <a:pt x="328" y="615"/>
                    </a:lnTo>
                    <a:lnTo>
                      <a:pt x="328" y="617"/>
                    </a:lnTo>
                    <a:lnTo>
                      <a:pt x="328" y="617"/>
                    </a:lnTo>
                    <a:lnTo>
                      <a:pt x="328" y="619"/>
                    </a:lnTo>
                    <a:lnTo>
                      <a:pt x="326" y="619"/>
                    </a:lnTo>
                    <a:lnTo>
                      <a:pt x="323" y="619"/>
                    </a:lnTo>
                    <a:lnTo>
                      <a:pt x="321" y="619"/>
                    </a:lnTo>
                    <a:lnTo>
                      <a:pt x="318" y="619"/>
                    </a:lnTo>
                    <a:lnTo>
                      <a:pt x="318" y="622"/>
                    </a:lnTo>
                    <a:lnTo>
                      <a:pt x="314" y="624"/>
                    </a:lnTo>
                    <a:lnTo>
                      <a:pt x="314" y="624"/>
                    </a:lnTo>
                    <a:lnTo>
                      <a:pt x="311" y="622"/>
                    </a:lnTo>
                    <a:lnTo>
                      <a:pt x="311" y="622"/>
                    </a:lnTo>
                    <a:lnTo>
                      <a:pt x="309" y="622"/>
                    </a:lnTo>
                    <a:lnTo>
                      <a:pt x="307" y="622"/>
                    </a:lnTo>
                    <a:lnTo>
                      <a:pt x="307" y="624"/>
                    </a:lnTo>
                    <a:lnTo>
                      <a:pt x="302" y="619"/>
                    </a:lnTo>
                    <a:lnTo>
                      <a:pt x="302" y="619"/>
                    </a:lnTo>
                    <a:lnTo>
                      <a:pt x="300" y="619"/>
                    </a:lnTo>
                    <a:lnTo>
                      <a:pt x="300" y="622"/>
                    </a:lnTo>
                    <a:lnTo>
                      <a:pt x="295" y="622"/>
                    </a:lnTo>
                    <a:lnTo>
                      <a:pt x="295" y="624"/>
                    </a:lnTo>
                    <a:lnTo>
                      <a:pt x="292" y="624"/>
                    </a:lnTo>
                    <a:lnTo>
                      <a:pt x="292" y="624"/>
                    </a:lnTo>
                    <a:lnTo>
                      <a:pt x="290" y="624"/>
                    </a:lnTo>
                    <a:lnTo>
                      <a:pt x="290" y="624"/>
                    </a:lnTo>
                    <a:lnTo>
                      <a:pt x="290" y="626"/>
                    </a:lnTo>
                    <a:lnTo>
                      <a:pt x="290" y="629"/>
                    </a:lnTo>
                    <a:lnTo>
                      <a:pt x="288" y="626"/>
                    </a:lnTo>
                    <a:lnTo>
                      <a:pt x="285" y="626"/>
                    </a:lnTo>
                    <a:lnTo>
                      <a:pt x="283" y="629"/>
                    </a:lnTo>
                    <a:lnTo>
                      <a:pt x="281" y="629"/>
                    </a:lnTo>
                    <a:lnTo>
                      <a:pt x="278" y="626"/>
                    </a:lnTo>
                    <a:lnTo>
                      <a:pt x="276" y="624"/>
                    </a:lnTo>
                    <a:lnTo>
                      <a:pt x="274" y="624"/>
                    </a:lnTo>
                    <a:lnTo>
                      <a:pt x="271" y="624"/>
                    </a:lnTo>
                    <a:lnTo>
                      <a:pt x="269" y="624"/>
                    </a:lnTo>
                    <a:lnTo>
                      <a:pt x="269" y="622"/>
                    </a:lnTo>
                    <a:lnTo>
                      <a:pt x="269" y="619"/>
                    </a:lnTo>
                    <a:lnTo>
                      <a:pt x="271" y="615"/>
                    </a:lnTo>
                    <a:lnTo>
                      <a:pt x="274" y="612"/>
                    </a:lnTo>
                    <a:lnTo>
                      <a:pt x="276" y="610"/>
                    </a:lnTo>
                    <a:lnTo>
                      <a:pt x="276" y="610"/>
                    </a:lnTo>
                    <a:lnTo>
                      <a:pt x="276" y="607"/>
                    </a:lnTo>
                    <a:lnTo>
                      <a:pt x="274" y="605"/>
                    </a:lnTo>
                    <a:lnTo>
                      <a:pt x="274" y="603"/>
                    </a:lnTo>
                    <a:lnTo>
                      <a:pt x="271" y="603"/>
                    </a:lnTo>
                    <a:lnTo>
                      <a:pt x="269" y="603"/>
                    </a:lnTo>
                    <a:lnTo>
                      <a:pt x="266" y="603"/>
                    </a:lnTo>
                    <a:lnTo>
                      <a:pt x="262" y="603"/>
                    </a:lnTo>
                    <a:lnTo>
                      <a:pt x="259" y="603"/>
                    </a:lnTo>
                    <a:lnTo>
                      <a:pt x="257" y="603"/>
                    </a:lnTo>
                    <a:lnTo>
                      <a:pt x="255" y="598"/>
                    </a:lnTo>
                    <a:lnTo>
                      <a:pt x="252" y="598"/>
                    </a:lnTo>
                    <a:lnTo>
                      <a:pt x="252" y="596"/>
                    </a:lnTo>
                    <a:lnTo>
                      <a:pt x="250" y="596"/>
                    </a:lnTo>
                    <a:lnTo>
                      <a:pt x="245" y="596"/>
                    </a:lnTo>
                    <a:lnTo>
                      <a:pt x="245" y="596"/>
                    </a:lnTo>
                    <a:lnTo>
                      <a:pt x="245" y="593"/>
                    </a:lnTo>
                    <a:lnTo>
                      <a:pt x="243" y="591"/>
                    </a:lnTo>
                    <a:lnTo>
                      <a:pt x="241" y="589"/>
                    </a:lnTo>
                    <a:lnTo>
                      <a:pt x="236" y="589"/>
                    </a:lnTo>
                    <a:lnTo>
                      <a:pt x="236" y="589"/>
                    </a:lnTo>
                    <a:lnTo>
                      <a:pt x="233" y="584"/>
                    </a:lnTo>
                    <a:lnTo>
                      <a:pt x="231" y="581"/>
                    </a:lnTo>
                    <a:lnTo>
                      <a:pt x="231" y="579"/>
                    </a:lnTo>
                    <a:lnTo>
                      <a:pt x="231" y="577"/>
                    </a:lnTo>
                    <a:lnTo>
                      <a:pt x="231" y="577"/>
                    </a:lnTo>
                    <a:lnTo>
                      <a:pt x="231" y="574"/>
                    </a:lnTo>
                    <a:lnTo>
                      <a:pt x="229" y="574"/>
                    </a:lnTo>
                    <a:lnTo>
                      <a:pt x="229" y="574"/>
                    </a:lnTo>
                    <a:lnTo>
                      <a:pt x="229" y="572"/>
                    </a:lnTo>
                    <a:lnTo>
                      <a:pt x="229" y="570"/>
                    </a:lnTo>
                    <a:lnTo>
                      <a:pt x="226" y="574"/>
                    </a:lnTo>
                    <a:lnTo>
                      <a:pt x="224" y="570"/>
                    </a:lnTo>
                    <a:lnTo>
                      <a:pt x="222" y="570"/>
                    </a:lnTo>
                    <a:lnTo>
                      <a:pt x="219" y="570"/>
                    </a:lnTo>
                    <a:lnTo>
                      <a:pt x="219" y="570"/>
                    </a:lnTo>
                    <a:lnTo>
                      <a:pt x="219" y="567"/>
                    </a:lnTo>
                    <a:lnTo>
                      <a:pt x="219" y="565"/>
                    </a:lnTo>
                    <a:lnTo>
                      <a:pt x="219" y="565"/>
                    </a:lnTo>
                    <a:lnTo>
                      <a:pt x="217" y="565"/>
                    </a:lnTo>
                    <a:lnTo>
                      <a:pt x="217" y="565"/>
                    </a:lnTo>
                    <a:lnTo>
                      <a:pt x="217" y="565"/>
                    </a:lnTo>
                    <a:lnTo>
                      <a:pt x="215" y="565"/>
                    </a:lnTo>
                    <a:lnTo>
                      <a:pt x="215" y="563"/>
                    </a:lnTo>
                    <a:lnTo>
                      <a:pt x="212" y="565"/>
                    </a:lnTo>
                    <a:lnTo>
                      <a:pt x="212" y="565"/>
                    </a:lnTo>
                    <a:lnTo>
                      <a:pt x="210" y="565"/>
                    </a:lnTo>
                    <a:lnTo>
                      <a:pt x="210" y="565"/>
                    </a:lnTo>
                    <a:lnTo>
                      <a:pt x="207" y="563"/>
                    </a:lnTo>
                    <a:lnTo>
                      <a:pt x="210" y="563"/>
                    </a:lnTo>
                    <a:lnTo>
                      <a:pt x="207" y="560"/>
                    </a:lnTo>
                    <a:lnTo>
                      <a:pt x="207" y="560"/>
                    </a:lnTo>
                    <a:lnTo>
                      <a:pt x="207" y="563"/>
                    </a:lnTo>
                    <a:lnTo>
                      <a:pt x="207" y="565"/>
                    </a:lnTo>
                    <a:lnTo>
                      <a:pt x="205" y="565"/>
                    </a:lnTo>
                    <a:lnTo>
                      <a:pt x="205" y="563"/>
                    </a:lnTo>
                    <a:lnTo>
                      <a:pt x="203" y="563"/>
                    </a:lnTo>
                    <a:lnTo>
                      <a:pt x="200" y="565"/>
                    </a:lnTo>
                    <a:lnTo>
                      <a:pt x="198" y="565"/>
                    </a:lnTo>
                    <a:lnTo>
                      <a:pt x="196" y="563"/>
                    </a:lnTo>
                    <a:lnTo>
                      <a:pt x="196" y="565"/>
                    </a:lnTo>
                    <a:lnTo>
                      <a:pt x="196" y="565"/>
                    </a:lnTo>
                    <a:lnTo>
                      <a:pt x="193" y="563"/>
                    </a:lnTo>
                    <a:lnTo>
                      <a:pt x="191" y="565"/>
                    </a:lnTo>
                    <a:lnTo>
                      <a:pt x="189" y="563"/>
                    </a:lnTo>
                    <a:lnTo>
                      <a:pt x="191" y="563"/>
                    </a:lnTo>
                    <a:lnTo>
                      <a:pt x="191" y="560"/>
                    </a:lnTo>
                    <a:lnTo>
                      <a:pt x="191" y="560"/>
                    </a:lnTo>
                    <a:lnTo>
                      <a:pt x="189" y="560"/>
                    </a:lnTo>
                    <a:lnTo>
                      <a:pt x="189" y="558"/>
                    </a:lnTo>
                    <a:lnTo>
                      <a:pt x="186" y="558"/>
                    </a:lnTo>
                    <a:lnTo>
                      <a:pt x="186" y="560"/>
                    </a:lnTo>
                    <a:lnTo>
                      <a:pt x="184" y="560"/>
                    </a:lnTo>
                    <a:lnTo>
                      <a:pt x="184" y="558"/>
                    </a:lnTo>
                    <a:lnTo>
                      <a:pt x="184" y="558"/>
                    </a:lnTo>
                    <a:lnTo>
                      <a:pt x="179" y="558"/>
                    </a:lnTo>
                    <a:lnTo>
                      <a:pt x="179" y="558"/>
                    </a:lnTo>
                    <a:lnTo>
                      <a:pt x="179" y="556"/>
                    </a:lnTo>
                    <a:lnTo>
                      <a:pt x="177" y="556"/>
                    </a:lnTo>
                    <a:lnTo>
                      <a:pt x="177" y="556"/>
                    </a:lnTo>
                    <a:lnTo>
                      <a:pt x="174" y="553"/>
                    </a:lnTo>
                    <a:lnTo>
                      <a:pt x="172" y="556"/>
                    </a:lnTo>
                    <a:lnTo>
                      <a:pt x="174" y="551"/>
                    </a:lnTo>
                    <a:lnTo>
                      <a:pt x="172" y="551"/>
                    </a:lnTo>
                    <a:lnTo>
                      <a:pt x="172" y="548"/>
                    </a:lnTo>
                    <a:lnTo>
                      <a:pt x="170" y="548"/>
                    </a:lnTo>
                    <a:lnTo>
                      <a:pt x="167" y="548"/>
                    </a:lnTo>
                    <a:lnTo>
                      <a:pt x="165" y="548"/>
                    </a:lnTo>
                    <a:lnTo>
                      <a:pt x="165" y="548"/>
                    </a:lnTo>
                    <a:lnTo>
                      <a:pt x="165" y="546"/>
                    </a:lnTo>
                    <a:lnTo>
                      <a:pt x="165" y="546"/>
                    </a:lnTo>
                    <a:lnTo>
                      <a:pt x="163" y="544"/>
                    </a:lnTo>
                    <a:lnTo>
                      <a:pt x="163" y="546"/>
                    </a:lnTo>
                    <a:lnTo>
                      <a:pt x="163" y="546"/>
                    </a:lnTo>
                    <a:lnTo>
                      <a:pt x="158" y="546"/>
                    </a:lnTo>
                    <a:lnTo>
                      <a:pt x="155" y="546"/>
                    </a:lnTo>
                    <a:lnTo>
                      <a:pt x="153" y="548"/>
                    </a:lnTo>
                    <a:lnTo>
                      <a:pt x="153" y="546"/>
                    </a:lnTo>
                    <a:lnTo>
                      <a:pt x="151" y="546"/>
                    </a:lnTo>
                    <a:lnTo>
                      <a:pt x="151" y="544"/>
                    </a:lnTo>
                    <a:lnTo>
                      <a:pt x="151" y="541"/>
                    </a:lnTo>
                    <a:lnTo>
                      <a:pt x="148" y="539"/>
                    </a:lnTo>
                    <a:lnTo>
                      <a:pt x="148" y="534"/>
                    </a:lnTo>
                    <a:lnTo>
                      <a:pt x="148" y="537"/>
                    </a:lnTo>
                    <a:lnTo>
                      <a:pt x="146" y="534"/>
                    </a:lnTo>
                    <a:lnTo>
                      <a:pt x="146" y="537"/>
                    </a:lnTo>
                    <a:lnTo>
                      <a:pt x="144" y="534"/>
                    </a:lnTo>
                    <a:lnTo>
                      <a:pt x="141" y="537"/>
                    </a:lnTo>
                    <a:lnTo>
                      <a:pt x="141" y="537"/>
                    </a:lnTo>
                    <a:lnTo>
                      <a:pt x="141" y="534"/>
                    </a:lnTo>
                    <a:lnTo>
                      <a:pt x="141" y="534"/>
                    </a:lnTo>
                    <a:lnTo>
                      <a:pt x="139" y="534"/>
                    </a:lnTo>
                    <a:lnTo>
                      <a:pt x="139" y="534"/>
                    </a:lnTo>
                    <a:lnTo>
                      <a:pt x="139" y="532"/>
                    </a:lnTo>
                    <a:lnTo>
                      <a:pt x="137" y="532"/>
                    </a:lnTo>
                    <a:lnTo>
                      <a:pt x="137" y="530"/>
                    </a:lnTo>
                    <a:lnTo>
                      <a:pt x="137" y="530"/>
                    </a:lnTo>
                    <a:lnTo>
                      <a:pt x="137" y="527"/>
                    </a:lnTo>
                    <a:lnTo>
                      <a:pt x="134" y="527"/>
                    </a:lnTo>
                    <a:lnTo>
                      <a:pt x="134" y="525"/>
                    </a:lnTo>
                    <a:lnTo>
                      <a:pt x="129" y="525"/>
                    </a:lnTo>
                    <a:lnTo>
                      <a:pt x="129" y="525"/>
                    </a:lnTo>
                    <a:lnTo>
                      <a:pt x="127" y="527"/>
                    </a:lnTo>
                    <a:lnTo>
                      <a:pt x="125" y="525"/>
                    </a:lnTo>
                    <a:lnTo>
                      <a:pt x="125" y="525"/>
                    </a:lnTo>
                    <a:lnTo>
                      <a:pt x="125" y="525"/>
                    </a:lnTo>
                    <a:lnTo>
                      <a:pt x="125" y="522"/>
                    </a:lnTo>
                    <a:lnTo>
                      <a:pt x="125" y="522"/>
                    </a:lnTo>
                    <a:lnTo>
                      <a:pt x="120" y="522"/>
                    </a:lnTo>
                    <a:lnTo>
                      <a:pt x="120" y="522"/>
                    </a:lnTo>
                    <a:lnTo>
                      <a:pt x="118" y="522"/>
                    </a:lnTo>
                    <a:lnTo>
                      <a:pt x="118" y="520"/>
                    </a:lnTo>
                    <a:lnTo>
                      <a:pt x="115" y="520"/>
                    </a:lnTo>
                    <a:lnTo>
                      <a:pt x="115" y="518"/>
                    </a:lnTo>
                    <a:lnTo>
                      <a:pt x="118" y="515"/>
                    </a:lnTo>
                    <a:lnTo>
                      <a:pt x="115" y="515"/>
                    </a:lnTo>
                    <a:lnTo>
                      <a:pt x="113" y="515"/>
                    </a:lnTo>
                    <a:lnTo>
                      <a:pt x="113" y="513"/>
                    </a:lnTo>
                    <a:lnTo>
                      <a:pt x="113" y="511"/>
                    </a:lnTo>
                    <a:lnTo>
                      <a:pt x="113" y="511"/>
                    </a:lnTo>
                    <a:lnTo>
                      <a:pt x="113" y="508"/>
                    </a:lnTo>
                    <a:lnTo>
                      <a:pt x="118" y="501"/>
                    </a:lnTo>
                    <a:lnTo>
                      <a:pt x="118" y="499"/>
                    </a:lnTo>
                    <a:lnTo>
                      <a:pt x="118" y="496"/>
                    </a:lnTo>
                    <a:lnTo>
                      <a:pt x="115" y="494"/>
                    </a:lnTo>
                    <a:lnTo>
                      <a:pt x="118" y="492"/>
                    </a:lnTo>
                    <a:lnTo>
                      <a:pt x="118" y="492"/>
                    </a:lnTo>
                    <a:lnTo>
                      <a:pt x="115" y="489"/>
                    </a:lnTo>
                    <a:lnTo>
                      <a:pt x="113" y="489"/>
                    </a:lnTo>
                    <a:lnTo>
                      <a:pt x="111" y="487"/>
                    </a:lnTo>
                    <a:lnTo>
                      <a:pt x="111" y="485"/>
                    </a:lnTo>
                    <a:lnTo>
                      <a:pt x="111" y="485"/>
                    </a:lnTo>
                    <a:lnTo>
                      <a:pt x="108" y="482"/>
                    </a:lnTo>
                    <a:lnTo>
                      <a:pt x="108" y="482"/>
                    </a:lnTo>
                    <a:lnTo>
                      <a:pt x="103" y="487"/>
                    </a:lnTo>
                    <a:lnTo>
                      <a:pt x="101" y="487"/>
                    </a:lnTo>
                    <a:lnTo>
                      <a:pt x="103" y="489"/>
                    </a:lnTo>
                    <a:lnTo>
                      <a:pt x="101" y="492"/>
                    </a:lnTo>
                    <a:lnTo>
                      <a:pt x="99" y="492"/>
                    </a:lnTo>
                    <a:lnTo>
                      <a:pt x="99" y="494"/>
                    </a:lnTo>
                    <a:lnTo>
                      <a:pt x="96" y="494"/>
                    </a:lnTo>
                    <a:lnTo>
                      <a:pt x="94" y="499"/>
                    </a:lnTo>
                    <a:lnTo>
                      <a:pt x="92" y="501"/>
                    </a:lnTo>
                    <a:lnTo>
                      <a:pt x="89" y="496"/>
                    </a:lnTo>
                    <a:lnTo>
                      <a:pt x="89" y="496"/>
                    </a:lnTo>
                    <a:lnTo>
                      <a:pt x="85" y="492"/>
                    </a:lnTo>
                    <a:lnTo>
                      <a:pt x="82" y="492"/>
                    </a:lnTo>
                    <a:lnTo>
                      <a:pt x="80" y="487"/>
                    </a:lnTo>
                    <a:lnTo>
                      <a:pt x="80" y="487"/>
                    </a:lnTo>
                    <a:lnTo>
                      <a:pt x="80" y="487"/>
                    </a:lnTo>
                    <a:lnTo>
                      <a:pt x="73" y="489"/>
                    </a:lnTo>
                    <a:lnTo>
                      <a:pt x="73" y="487"/>
                    </a:lnTo>
                    <a:lnTo>
                      <a:pt x="70" y="487"/>
                    </a:lnTo>
                    <a:lnTo>
                      <a:pt x="70" y="485"/>
                    </a:lnTo>
                    <a:lnTo>
                      <a:pt x="68" y="485"/>
                    </a:lnTo>
                    <a:lnTo>
                      <a:pt x="68" y="485"/>
                    </a:lnTo>
                    <a:lnTo>
                      <a:pt x="68" y="482"/>
                    </a:lnTo>
                    <a:lnTo>
                      <a:pt x="66" y="482"/>
                    </a:lnTo>
                    <a:lnTo>
                      <a:pt x="66" y="478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1" y="475"/>
                    </a:lnTo>
                    <a:lnTo>
                      <a:pt x="61" y="475"/>
                    </a:lnTo>
                    <a:lnTo>
                      <a:pt x="59" y="473"/>
                    </a:lnTo>
                    <a:lnTo>
                      <a:pt x="61" y="470"/>
                    </a:lnTo>
                    <a:lnTo>
                      <a:pt x="59" y="470"/>
                    </a:lnTo>
                    <a:lnTo>
                      <a:pt x="61" y="468"/>
                    </a:lnTo>
                    <a:lnTo>
                      <a:pt x="61" y="468"/>
                    </a:lnTo>
                    <a:lnTo>
                      <a:pt x="61" y="466"/>
                    </a:lnTo>
                    <a:lnTo>
                      <a:pt x="61" y="466"/>
                    </a:lnTo>
                    <a:lnTo>
                      <a:pt x="59" y="466"/>
                    </a:lnTo>
                    <a:lnTo>
                      <a:pt x="59" y="463"/>
                    </a:lnTo>
                    <a:lnTo>
                      <a:pt x="56" y="461"/>
                    </a:lnTo>
                    <a:lnTo>
                      <a:pt x="56" y="459"/>
                    </a:lnTo>
                    <a:lnTo>
                      <a:pt x="56" y="456"/>
                    </a:lnTo>
                    <a:lnTo>
                      <a:pt x="59" y="456"/>
                    </a:lnTo>
                    <a:lnTo>
                      <a:pt x="59" y="454"/>
                    </a:lnTo>
                    <a:lnTo>
                      <a:pt x="54" y="452"/>
                    </a:lnTo>
                    <a:lnTo>
                      <a:pt x="54" y="452"/>
                    </a:lnTo>
                    <a:lnTo>
                      <a:pt x="54" y="452"/>
                    </a:lnTo>
                    <a:lnTo>
                      <a:pt x="54" y="452"/>
                    </a:lnTo>
                    <a:lnTo>
                      <a:pt x="52" y="452"/>
                    </a:lnTo>
                    <a:lnTo>
                      <a:pt x="52" y="452"/>
                    </a:lnTo>
                    <a:lnTo>
                      <a:pt x="52" y="449"/>
                    </a:lnTo>
                    <a:lnTo>
                      <a:pt x="52" y="447"/>
                    </a:lnTo>
                    <a:lnTo>
                      <a:pt x="49" y="449"/>
                    </a:lnTo>
                    <a:lnTo>
                      <a:pt x="49" y="447"/>
                    </a:lnTo>
                    <a:lnTo>
                      <a:pt x="47" y="449"/>
                    </a:lnTo>
                    <a:lnTo>
                      <a:pt x="47" y="449"/>
                    </a:lnTo>
                    <a:lnTo>
                      <a:pt x="47" y="447"/>
                    </a:lnTo>
                    <a:lnTo>
                      <a:pt x="42" y="444"/>
                    </a:lnTo>
                    <a:lnTo>
                      <a:pt x="42" y="442"/>
                    </a:lnTo>
                    <a:lnTo>
                      <a:pt x="42" y="442"/>
                    </a:lnTo>
                    <a:lnTo>
                      <a:pt x="42" y="442"/>
                    </a:lnTo>
                    <a:lnTo>
                      <a:pt x="40" y="442"/>
                    </a:lnTo>
                    <a:lnTo>
                      <a:pt x="37" y="440"/>
                    </a:lnTo>
                    <a:lnTo>
                      <a:pt x="37" y="440"/>
                    </a:lnTo>
                    <a:lnTo>
                      <a:pt x="37" y="440"/>
                    </a:lnTo>
                    <a:lnTo>
                      <a:pt x="35" y="437"/>
                    </a:lnTo>
                    <a:lnTo>
                      <a:pt x="33" y="433"/>
                    </a:lnTo>
                    <a:lnTo>
                      <a:pt x="30" y="433"/>
                    </a:lnTo>
                    <a:lnTo>
                      <a:pt x="30" y="433"/>
                    </a:lnTo>
                    <a:lnTo>
                      <a:pt x="28" y="433"/>
                    </a:lnTo>
                    <a:lnTo>
                      <a:pt x="28" y="430"/>
                    </a:lnTo>
                    <a:lnTo>
                      <a:pt x="26" y="428"/>
                    </a:lnTo>
                    <a:lnTo>
                      <a:pt x="23" y="428"/>
                    </a:lnTo>
                    <a:lnTo>
                      <a:pt x="23" y="428"/>
                    </a:lnTo>
                    <a:lnTo>
                      <a:pt x="23" y="423"/>
                    </a:lnTo>
                    <a:lnTo>
                      <a:pt x="21" y="423"/>
                    </a:lnTo>
                    <a:lnTo>
                      <a:pt x="21" y="423"/>
                    </a:lnTo>
                    <a:lnTo>
                      <a:pt x="21" y="421"/>
                    </a:lnTo>
                    <a:lnTo>
                      <a:pt x="21" y="418"/>
                    </a:lnTo>
                    <a:lnTo>
                      <a:pt x="21" y="418"/>
                    </a:lnTo>
                    <a:lnTo>
                      <a:pt x="21" y="416"/>
                    </a:lnTo>
                    <a:lnTo>
                      <a:pt x="21" y="414"/>
                    </a:lnTo>
                    <a:lnTo>
                      <a:pt x="21" y="411"/>
                    </a:lnTo>
                    <a:lnTo>
                      <a:pt x="21" y="411"/>
                    </a:lnTo>
                    <a:lnTo>
                      <a:pt x="23" y="411"/>
                    </a:lnTo>
                    <a:lnTo>
                      <a:pt x="23" y="409"/>
                    </a:lnTo>
                    <a:lnTo>
                      <a:pt x="23" y="407"/>
                    </a:lnTo>
                    <a:lnTo>
                      <a:pt x="21" y="404"/>
                    </a:lnTo>
                    <a:lnTo>
                      <a:pt x="21" y="404"/>
                    </a:lnTo>
                    <a:lnTo>
                      <a:pt x="21" y="402"/>
                    </a:lnTo>
                    <a:lnTo>
                      <a:pt x="21" y="397"/>
                    </a:lnTo>
                    <a:lnTo>
                      <a:pt x="21" y="395"/>
                    </a:lnTo>
                    <a:lnTo>
                      <a:pt x="18" y="395"/>
                    </a:lnTo>
                    <a:lnTo>
                      <a:pt x="18" y="393"/>
                    </a:lnTo>
                    <a:lnTo>
                      <a:pt x="16" y="393"/>
                    </a:lnTo>
                    <a:lnTo>
                      <a:pt x="14" y="390"/>
                    </a:lnTo>
                    <a:lnTo>
                      <a:pt x="11" y="390"/>
                    </a:lnTo>
                    <a:lnTo>
                      <a:pt x="11" y="390"/>
                    </a:lnTo>
                    <a:lnTo>
                      <a:pt x="11" y="390"/>
                    </a:lnTo>
                    <a:lnTo>
                      <a:pt x="9" y="390"/>
                    </a:lnTo>
                    <a:lnTo>
                      <a:pt x="9" y="388"/>
                    </a:lnTo>
                    <a:lnTo>
                      <a:pt x="7" y="385"/>
                    </a:lnTo>
                    <a:lnTo>
                      <a:pt x="2" y="383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2" y="376"/>
                    </a:lnTo>
                    <a:lnTo>
                      <a:pt x="2" y="374"/>
                    </a:lnTo>
                    <a:lnTo>
                      <a:pt x="2" y="374"/>
                    </a:lnTo>
                    <a:lnTo>
                      <a:pt x="2" y="369"/>
                    </a:lnTo>
                    <a:lnTo>
                      <a:pt x="2" y="364"/>
                    </a:lnTo>
                    <a:lnTo>
                      <a:pt x="4" y="359"/>
                    </a:lnTo>
                    <a:lnTo>
                      <a:pt x="4" y="357"/>
                    </a:lnTo>
                    <a:lnTo>
                      <a:pt x="2" y="357"/>
                    </a:lnTo>
                    <a:lnTo>
                      <a:pt x="4" y="350"/>
                    </a:lnTo>
                    <a:lnTo>
                      <a:pt x="2" y="348"/>
                    </a:lnTo>
                    <a:lnTo>
                      <a:pt x="2" y="348"/>
                    </a:lnTo>
                    <a:lnTo>
                      <a:pt x="0" y="348"/>
                    </a:lnTo>
                    <a:lnTo>
                      <a:pt x="0" y="343"/>
                    </a:lnTo>
                    <a:lnTo>
                      <a:pt x="0" y="341"/>
                    </a:lnTo>
                    <a:lnTo>
                      <a:pt x="0" y="341"/>
                    </a:lnTo>
                    <a:lnTo>
                      <a:pt x="0" y="305"/>
                    </a:lnTo>
                    <a:lnTo>
                      <a:pt x="0" y="178"/>
                    </a:lnTo>
                    <a:close/>
                    <a:moveTo>
                      <a:pt x="1625" y="480"/>
                    </a:moveTo>
                    <a:lnTo>
                      <a:pt x="1625" y="478"/>
                    </a:lnTo>
                    <a:lnTo>
                      <a:pt x="1625" y="478"/>
                    </a:lnTo>
                    <a:lnTo>
                      <a:pt x="1625" y="478"/>
                    </a:lnTo>
                    <a:lnTo>
                      <a:pt x="1627" y="478"/>
                    </a:lnTo>
                    <a:lnTo>
                      <a:pt x="1625" y="478"/>
                    </a:lnTo>
                    <a:lnTo>
                      <a:pt x="1627" y="478"/>
                    </a:lnTo>
                    <a:lnTo>
                      <a:pt x="1627" y="482"/>
                    </a:lnTo>
                    <a:lnTo>
                      <a:pt x="1627" y="485"/>
                    </a:lnTo>
                    <a:lnTo>
                      <a:pt x="1627" y="482"/>
                    </a:lnTo>
                    <a:lnTo>
                      <a:pt x="1625" y="480"/>
                    </a:lnTo>
                    <a:lnTo>
                      <a:pt x="1625" y="480"/>
                    </a:lnTo>
                    <a:close/>
                    <a:moveTo>
                      <a:pt x="1507" y="433"/>
                    </a:moveTo>
                    <a:lnTo>
                      <a:pt x="1507" y="433"/>
                    </a:lnTo>
                    <a:lnTo>
                      <a:pt x="1507" y="433"/>
                    </a:lnTo>
                    <a:close/>
                    <a:moveTo>
                      <a:pt x="1611" y="461"/>
                    </a:moveTo>
                    <a:lnTo>
                      <a:pt x="1611" y="463"/>
                    </a:lnTo>
                    <a:lnTo>
                      <a:pt x="1608" y="463"/>
                    </a:lnTo>
                    <a:lnTo>
                      <a:pt x="1608" y="461"/>
                    </a:lnTo>
                    <a:lnTo>
                      <a:pt x="1611" y="461"/>
                    </a:lnTo>
                    <a:close/>
                    <a:moveTo>
                      <a:pt x="1504" y="433"/>
                    </a:moveTo>
                    <a:lnTo>
                      <a:pt x="1504" y="433"/>
                    </a:lnTo>
                    <a:lnTo>
                      <a:pt x="1504" y="433"/>
                    </a:lnTo>
                    <a:lnTo>
                      <a:pt x="1504" y="433"/>
                    </a:lnTo>
                    <a:lnTo>
                      <a:pt x="1504" y="433"/>
                    </a:lnTo>
                    <a:close/>
                    <a:moveTo>
                      <a:pt x="1559" y="447"/>
                    </a:moveTo>
                    <a:lnTo>
                      <a:pt x="1559" y="447"/>
                    </a:lnTo>
                    <a:lnTo>
                      <a:pt x="1559" y="447"/>
                    </a:lnTo>
                    <a:lnTo>
                      <a:pt x="1559" y="447"/>
                    </a:lnTo>
                    <a:lnTo>
                      <a:pt x="1559" y="447"/>
                    </a:lnTo>
                    <a:close/>
                    <a:moveTo>
                      <a:pt x="1594" y="463"/>
                    </a:moveTo>
                    <a:lnTo>
                      <a:pt x="1594" y="463"/>
                    </a:lnTo>
                    <a:lnTo>
                      <a:pt x="1594" y="463"/>
                    </a:lnTo>
                    <a:lnTo>
                      <a:pt x="1596" y="463"/>
                    </a:lnTo>
                    <a:lnTo>
                      <a:pt x="1594" y="463"/>
                    </a:lnTo>
                    <a:lnTo>
                      <a:pt x="1596" y="463"/>
                    </a:lnTo>
                    <a:lnTo>
                      <a:pt x="1594" y="463"/>
                    </a:lnTo>
                    <a:close/>
                    <a:moveTo>
                      <a:pt x="1580" y="470"/>
                    </a:moveTo>
                    <a:lnTo>
                      <a:pt x="1578" y="470"/>
                    </a:lnTo>
                    <a:lnTo>
                      <a:pt x="1580" y="470"/>
                    </a:lnTo>
                    <a:lnTo>
                      <a:pt x="1580" y="470"/>
                    </a:lnTo>
                    <a:lnTo>
                      <a:pt x="1580" y="470"/>
                    </a:lnTo>
                    <a:lnTo>
                      <a:pt x="1580" y="470"/>
                    </a:lnTo>
                    <a:lnTo>
                      <a:pt x="1580" y="470"/>
                    </a:lnTo>
                    <a:close/>
                    <a:moveTo>
                      <a:pt x="1403" y="426"/>
                    </a:moveTo>
                    <a:lnTo>
                      <a:pt x="1403" y="423"/>
                    </a:lnTo>
                    <a:lnTo>
                      <a:pt x="1403" y="426"/>
                    </a:lnTo>
                    <a:lnTo>
                      <a:pt x="1403" y="426"/>
                    </a:lnTo>
                    <a:lnTo>
                      <a:pt x="1403" y="426"/>
                    </a:lnTo>
                    <a:lnTo>
                      <a:pt x="1403" y="428"/>
                    </a:lnTo>
                    <a:lnTo>
                      <a:pt x="1403" y="426"/>
                    </a:lnTo>
                    <a:lnTo>
                      <a:pt x="1403" y="426"/>
                    </a:lnTo>
                    <a:close/>
                    <a:moveTo>
                      <a:pt x="1587" y="470"/>
                    </a:moveTo>
                    <a:lnTo>
                      <a:pt x="1587" y="468"/>
                    </a:lnTo>
                    <a:lnTo>
                      <a:pt x="1587" y="468"/>
                    </a:lnTo>
                    <a:lnTo>
                      <a:pt x="1589" y="468"/>
                    </a:lnTo>
                    <a:lnTo>
                      <a:pt x="1587" y="468"/>
                    </a:lnTo>
                    <a:lnTo>
                      <a:pt x="1587" y="473"/>
                    </a:lnTo>
                    <a:lnTo>
                      <a:pt x="1587" y="473"/>
                    </a:lnTo>
                    <a:lnTo>
                      <a:pt x="1587" y="470"/>
                    </a:lnTo>
                    <a:close/>
                    <a:moveTo>
                      <a:pt x="1504" y="430"/>
                    </a:moveTo>
                    <a:lnTo>
                      <a:pt x="1507" y="430"/>
                    </a:lnTo>
                    <a:lnTo>
                      <a:pt x="1507" y="430"/>
                    </a:lnTo>
                    <a:lnTo>
                      <a:pt x="1507" y="430"/>
                    </a:lnTo>
                    <a:lnTo>
                      <a:pt x="1507" y="430"/>
                    </a:lnTo>
                    <a:lnTo>
                      <a:pt x="1504" y="430"/>
                    </a:lnTo>
                    <a:lnTo>
                      <a:pt x="1504" y="430"/>
                    </a:lnTo>
                    <a:close/>
                    <a:moveTo>
                      <a:pt x="1585" y="463"/>
                    </a:moveTo>
                    <a:lnTo>
                      <a:pt x="1585" y="463"/>
                    </a:lnTo>
                    <a:lnTo>
                      <a:pt x="1582" y="463"/>
                    </a:lnTo>
                    <a:lnTo>
                      <a:pt x="1582" y="466"/>
                    </a:lnTo>
                    <a:lnTo>
                      <a:pt x="1580" y="468"/>
                    </a:lnTo>
                    <a:lnTo>
                      <a:pt x="1580" y="466"/>
                    </a:lnTo>
                    <a:lnTo>
                      <a:pt x="1582" y="463"/>
                    </a:lnTo>
                    <a:lnTo>
                      <a:pt x="1582" y="461"/>
                    </a:lnTo>
                    <a:lnTo>
                      <a:pt x="1582" y="461"/>
                    </a:lnTo>
                    <a:lnTo>
                      <a:pt x="1585" y="461"/>
                    </a:lnTo>
                    <a:lnTo>
                      <a:pt x="1585" y="463"/>
                    </a:lnTo>
                    <a:lnTo>
                      <a:pt x="1585" y="463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18" name="Freeform 32"/>
              <p:cNvSpPr>
                <a:spLocks/>
              </p:cNvSpPr>
              <p:nvPr/>
            </p:nvSpPr>
            <p:spPr bwMode="auto">
              <a:xfrm>
                <a:off x="7463010" y="2941061"/>
                <a:ext cx="948887" cy="798000"/>
              </a:xfrm>
              <a:custGeom>
                <a:avLst/>
                <a:gdLst/>
                <a:ahLst/>
                <a:cxnLst>
                  <a:cxn ang="0">
                    <a:pos x="54" y="191"/>
                  </a:cxn>
                  <a:cxn ang="0">
                    <a:pos x="106" y="191"/>
                  </a:cxn>
                  <a:cxn ang="0">
                    <a:pos x="146" y="196"/>
                  </a:cxn>
                  <a:cxn ang="0">
                    <a:pos x="179" y="179"/>
                  </a:cxn>
                  <a:cxn ang="0">
                    <a:pos x="222" y="189"/>
                  </a:cxn>
                  <a:cxn ang="0">
                    <a:pos x="241" y="142"/>
                  </a:cxn>
                  <a:cxn ang="0">
                    <a:pos x="297" y="132"/>
                  </a:cxn>
                  <a:cxn ang="0">
                    <a:pos x="342" y="99"/>
                  </a:cxn>
                  <a:cxn ang="0">
                    <a:pos x="359" y="59"/>
                  </a:cxn>
                  <a:cxn ang="0">
                    <a:pos x="404" y="9"/>
                  </a:cxn>
                  <a:cxn ang="0">
                    <a:pos x="526" y="35"/>
                  </a:cxn>
                  <a:cxn ang="0">
                    <a:pos x="564" y="57"/>
                  </a:cxn>
                  <a:cxn ang="0">
                    <a:pos x="588" y="90"/>
                  </a:cxn>
                  <a:cxn ang="0">
                    <a:pos x="628" y="111"/>
                  </a:cxn>
                  <a:cxn ang="0">
                    <a:pos x="663" y="111"/>
                  </a:cxn>
                  <a:cxn ang="0">
                    <a:pos x="670" y="170"/>
                  </a:cxn>
                  <a:cxn ang="0">
                    <a:pos x="663" y="198"/>
                  </a:cxn>
                  <a:cxn ang="0">
                    <a:pos x="663" y="231"/>
                  </a:cxn>
                  <a:cxn ang="0">
                    <a:pos x="663" y="279"/>
                  </a:cxn>
                  <a:cxn ang="0">
                    <a:pos x="675" y="321"/>
                  </a:cxn>
                  <a:cxn ang="0">
                    <a:pos x="675" y="366"/>
                  </a:cxn>
                  <a:cxn ang="0">
                    <a:pos x="807" y="399"/>
                  </a:cxn>
                  <a:cxn ang="0">
                    <a:pos x="829" y="409"/>
                  </a:cxn>
                  <a:cxn ang="0">
                    <a:pos x="864" y="413"/>
                  </a:cxn>
                  <a:cxn ang="0">
                    <a:pos x="874" y="446"/>
                  </a:cxn>
                  <a:cxn ang="0">
                    <a:pos x="850" y="475"/>
                  </a:cxn>
                  <a:cxn ang="0">
                    <a:pos x="850" y="501"/>
                  </a:cxn>
                  <a:cxn ang="0">
                    <a:pos x="867" y="517"/>
                  </a:cxn>
                  <a:cxn ang="0">
                    <a:pos x="876" y="555"/>
                  </a:cxn>
                  <a:cxn ang="0">
                    <a:pos x="871" y="593"/>
                  </a:cxn>
                  <a:cxn ang="0">
                    <a:pos x="843" y="657"/>
                  </a:cxn>
                  <a:cxn ang="0">
                    <a:pos x="822" y="690"/>
                  </a:cxn>
                  <a:cxn ang="0">
                    <a:pos x="810" y="723"/>
                  </a:cxn>
                  <a:cxn ang="0">
                    <a:pos x="777" y="742"/>
                  </a:cxn>
                  <a:cxn ang="0">
                    <a:pos x="746" y="730"/>
                  </a:cxn>
                  <a:cxn ang="0">
                    <a:pos x="725" y="723"/>
                  </a:cxn>
                  <a:cxn ang="0">
                    <a:pos x="701" y="723"/>
                  </a:cxn>
                  <a:cxn ang="0">
                    <a:pos x="659" y="725"/>
                  </a:cxn>
                  <a:cxn ang="0">
                    <a:pos x="630" y="730"/>
                  </a:cxn>
                  <a:cxn ang="0">
                    <a:pos x="609" y="706"/>
                  </a:cxn>
                  <a:cxn ang="0">
                    <a:pos x="588" y="678"/>
                  </a:cxn>
                  <a:cxn ang="0">
                    <a:pos x="559" y="675"/>
                  </a:cxn>
                  <a:cxn ang="0">
                    <a:pos x="529" y="661"/>
                  </a:cxn>
                  <a:cxn ang="0">
                    <a:pos x="503" y="652"/>
                  </a:cxn>
                  <a:cxn ang="0">
                    <a:pos x="472" y="621"/>
                  </a:cxn>
                  <a:cxn ang="0">
                    <a:pos x="451" y="616"/>
                  </a:cxn>
                  <a:cxn ang="0">
                    <a:pos x="396" y="588"/>
                  </a:cxn>
                  <a:cxn ang="0">
                    <a:pos x="349" y="593"/>
                  </a:cxn>
                  <a:cxn ang="0">
                    <a:pos x="321" y="595"/>
                  </a:cxn>
                  <a:cxn ang="0">
                    <a:pos x="264" y="548"/>
                  </a:cxn>
                  <a:cxn ang="0">
                    <a:pos x="243" y="529"/>
                  </a:cxn>
                  <a:cxn ang="0">
                    <a:pos x="212" y="491"/>
                  </a:cxn>
                  <a:cxn ang="0">
                    <a:pos x="191" y="442"/>
                  </a:cxn>
                  <a:cxn ang="0">
                    <a:pos x="193" y="380"/>
                  </a:cxn>
                  <a:cxn ang="0">
                    <a:pos x="179" y="326"/>
                  </a:cxn>
                  <a:cxn ang="0">
                    <a:pos x="186" y="238"/>
                  </a:cxn>
                  <a:cxn ang="0">
                    <a:pos x="153" y="243"/>
                  </a:cxn>
                  <a:cxn ang="0">
                    <a:pos x="134" y="238"/>
                  </a:cxn>
                  <a:cxn ang="0">
                    <a:pos x="118" y="234"/>
                  </a:cxn>
                  <a:cxn ang="0">
                    <a:pos x="89" y="241"/>
                  </a:cxn>
                  <a:cxn ang="0">
                    <a:pos x="66" y="246"/>
                  </a:cxn>
                  <a:cxn ang="0">
                    <a:pos x="40" y="253"/>
                  </a:cxn>
                </a:cxnLst>
                <a:rect l="0" t="0" r="r" b="b"/>
                <a:pathLst>
                  <a:path w="893" h="751">
                    <a:moveTo>
                      <a:pt x="0" y="243"/>
                    </a:moveTo>
                    <a:lnTo>
                      <a:pt x="4" y="238"/>
                    </a:lnTo>
                    <a:lnTo>
                      <a:pt x="4" y="236"/>
                    </a:lnTo>
                    <a:lnTo>
                      <a:pt x="2" y="236"/>
                    </a:lnTo>
                    <a:lnTo>
                      <a:pt x="4" y="234"/>
                    </a:lnTo>
                    <a:lnTo>
                      <a:pt x="4" y="236"/>
                    </a:lnTo>
                    <a:lnTo>
                      <a:pt x="7" y="236"/>
                    </a:lnTo>
                    <a:lnTo>
                      <a:pt x="11" y="236"/>
                    </a:lnTo>
                    <a:lnTo>
                      <a:pt x="14" y="234"/>
                    </a:lnTo>
                    <a:lnTo>
                      <a:pt x="16" y="231"/>
                    </a:lnTo>
                    <a:lnTo>
                      <a:pt x="16" y="229"/>
                    </a:lnTo>
                    <a:lnTo>
                      <a:pt x="23" y="224"/>
                    </a:lnTo>
                    <a:lnTo>
                      <a:pt x="26" y="224"/>
                    </a:lnTo>
                    <a:lnTo>
                      <a:pt x="28" y="224"/>
                    </a:lnTo>
                    <a:lnTo>
                      <a:pt x="28" y="224"/>
                    </a:lnTo>
                    <a:lnTo>
                      <a:pt x="33" y="222"/>
                    </a:lnTo>
                    <a:lnTo>
                      <a:pt x="35" y="220"/>
                    </a:lnTo>
                    <a:lnTo>
                      <a:pt x="40" y="220"/>
                    </a:lnTo>
                    <a:lnTo>
                      <a:pt x="40" y="217"/>
                    </a:lnTo>
                    <a:lnTo>
                      <a:pt x="40" y="217"/>
                    </a:lnTo>
                    <a:lnTo>
                      <a:pt x="40" y="215"/>
                    </a:lnTo>
                    <a:lnTo>
                      <a:pt x="44" y="212"/>
                    </a:lnTo>
                    <a:lnTo>
                      <a:pt x="47" y="208"/>
                    </a:lnTo>
                    <a:lnTo>
                      <a:pt x="49" y="205"/>
                    </a:lnTo>
                    <a:lnTo>
                      <a:pt x="54" y="201"/>
                    </a:lnTo>
                    <a:lnTo>
                      <a:pt x="54" y="196"/>
                    </a:lnTo>
                    <a:lnTo>
                      <a:pt x="52" y="194"/>
                    </a:lnTo>
                    <a:lnTo>
                      <a:pt x="49" y="191"/>
                    </a:lnTo>
                    <a:lnTo>
                      <a:pt x="49" y="191"/>
                    </a:lnTo>
                    <a:lnTo>
                      <a:pt x="49" y="189"/>
                    </a:lnTo>
                    <a:lnTo>
                      <a:pt x="54" y="191"/>
                    </a:lnTo>
                    <a:lnTo>
                      <a:pt x="56" y="191"/>
                    </a:lnTo>
                    <a:lnTo>
                      <a:pt x="56" y="191"/>
                    </a:lnTo>
                    <a:lnTo>
                      <a:pt x="59" y="191"/>
                    </a:lnTo>
                    <a:lnTo>
                      <a:pt x="61" y="191"/>
                    </a:lnTo>
                    <a:lnTo>
                      <a:pt x="63" y="191"/>
                    </a:lnTo>
                    <a:lnTo>
                      <a:pt x="63" y="194"/>
                    </a:lnTo>
                    <a:lnTo>
                      <a:pt x="63" y="194"/>
                    </a:lnTo>
                    <a:lnTo>
                      <a:pt x="66" y="194"/>
                    </a:lnTo>
                    <a:lnTo>
                      <a:pt x="66" y="191"/>
                    </a:lnTo>
                    <a:lnTo>
                      <a:pt x="66" y="189"/>
                    </a:lnTo>
                    <a:lnTo>
                      <a:pt x="68" y="189"/>
                    </a:lnTo>
                    <a:lnTo>
                      <a:pt x="68" y="189"/>
                    </a:lnTo>
                    <a:lnTo>
                      <a:pt x="73" y="191"/>
                    </a:lnTo>
                    <a:lnTo>
                      <a:pt x="73" y="191"/>
                    </a:lnTo>
                    <a:lnTo>
                      <a:pt x="75" y="191"/>
                    </a:lnTo>
                    <a:lnTo>
                      <a:pt x="75" y="191"/>
                    </a:lnTo>
                    <a:lnTo>
                      <a:pt x="80" y="194"/>
                    </a:lnTo>
                    <a:lnTo>
                      <a:pt x="82" y="191"/>
                    </a:lnTo>
                    <a:lnTo>
                      <a:pt x="82" y="191"/>
                    </a:lnTo>
                    <a:lnTo>
                      <a:pt x="85" y="189"/>
                    </a:lnTo>
                    <a:lnTo>
                      <a:pt x="87" y="189"/>
                    </a:lnTo>
                    <a:lnTo>
                      <a:pt x="87" y="189"/>
                    </a:lnTo>
                    <a:lnTo>
                      <a:pt x="89" y="191"/>
                    </a:lnTo>
                    <a:lnTo>
                      <a:pt x="94" y="191"/>
                    </a:lnTo>
                    <a:lnTo>
                      <a:pt x="96" y="189"/>
                    </a:lnTo>
                    <a:lnTo>
                      <a:pt x="96" y="189"/>
                    </a:lnTo>
                    <a:lnTo>
                      <a:pt x="99" y="189"/>
                    </a:lnTo>
                    <a:lnTo>
                      <a:pt x="101" y="189"/>
                    </a:lnTo>
                    <a:lnTo>
                      <a:pt x="104" y="189"/>
                    </a:lnTo>
                    <a:lnTo>
                      <a:pt x="106" y="189"/>
                    </a:lnTo>
                    <a:lnTo>
                      <a:pt x="106" y="191"/>
                    </a:lnTo>
                    <a:lnTo>
                      <a:pt x="108" y="191"/>
                    </a:lnTo>
                    <a:lnTo>
                      <a:pt x="108" y="194"/>
                    </a:lnTo>
                    <a:lnTo>
                      <a:pt x="111" y="196"/>
                    </a:lnTo>
                    <a:lnTo>
                      <a:pt x="113" y="198"/>
                    </a:lnTo>
                    <a:lnTo>
                      <a:pt x="113" y="198"/>
                    </a:lnTo>
                    <a:lnTo>
                      <a:pt x="115" y="201"/>
                    </a:lnTo>
                    <a:lnTo>
                      <a:pt x="118" y="201"/>
                    </a:lnTo>
                    <a:lnTo>
                      <a:pt x="120" y="203"/>
                    </a:lnTo>
                    <a:lnTo>
                      <a:pt x="120" y="203"/>
                    </a:lnTo>
                    <a:lnTo>
                      <a:pt x="122" y="203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25" y="205"/>
                    </a:lnTo>
                    <a:lnTo>
                      <a:pt x="125" y="210"/>
                    </a:lnTo>
                    <a:lnTo>
                      <a:pt x="127" y="210"/>
                    </a:lnTo>
                    <a:lnTo>
                      <a:pt x="127" y="210"/>
                    </a:lnTo>
                    <a:lnTo>
                      <a:pt x="127" y="212"/>
                    </a:lnTo>
                    <a:lnTo>
                      <a:pt x="130" y="212"/>
                    </a:lnTo>
                    <a:lnTo>
                      <a:pt x="130" y="210"/>
                    </a:lnTo>
                    <a:lnTo>
                      <a:pt x="132" y="210"/>
                    </a:lnTo>
                    <a:lnTo>
                      <a:pt x="132" y="210"/>
                    </a:lnTo>
                    <a:lnTo>
                      <a:pt x="134" y="208"/>
                    </a:lnTo>
                    <a:lnTo>
                      <a:pt x="134" y="208"/>
                    </a:lnTo>
                    <a:lnTo>
                      <a:pt x="137" y="210"/>
                    </a:lnTo>
                    <a:lnTo>
                      <a:pt x="137" y="210"/>
                    </a:lnTo>
                    <a:lnTo>
                      <a:pt x="141" y="203"/>
                    </a:lnTo>
                    <a:lnTo>
                      <a:pt x="141" y="201"/>
                    </a:lnTo>
                    <a:lnTo>
                      <a:pt x="144" y="196"/>
                    </a:lnTo>
                    <a:lnTo>
                      <a:pt x="144" y="196"/>
                    </a:lnTo>
                    <a:lnTo>
                      <a:pt x="146" y="196"/>
                    </a:lnTo>
                    <a:lnTo>
                      <a:pt x="146" y="196"/>
                    </a:lnTo>
                    <a:lnTo>
                      <a:pt x="148" y="194"/>
                    </a:lnTo>
                    <a:lnTo>
                      <a:pt x="148" y="191"/>
                    </a:lnTo>
                    <a:lnTo>
                      <a:pt x="151" y="191"/>
                    </a:lnTo>
                    <a:lnTo>
                      <a:pt x="153" y="191"/>
                    </a:lnTo>
                    <a:lnTo>
                      <a:pt x="155" y="191"/>
                    </a:lnTo>
                    <a:lnTo>
                      <a:pt x="158" y="191"/>
                    </a:lnTo>
                    <a:lnTo>
                      <a:pt x="158" y="191"/>
                    </a:lnTo>
                    <a:lnTo>
                      <a:pt x="163" y="196"/>
                    </a:lnTo>
                    <a:lnTo>
                      <a:pt x="165" y="196"/>
                    </a:lnTo>
                    <a:lnTo>
                      <a:pt x="165" y="196"/>
                    </a:lnTo>
                    <a:lnTo>
                      <a:pt x="165" y="196"/>
                    </a:lnTo>
                    <a:lnTo>
                      <a:pt x="165" y="198"/>
                    </a:lnTo>
                    <a:lnTo>
                      <a:pt x="167" y="198"/>
                    </a:lnTo>
                    <a:lnTo>
                      <a:pt x="170" y="198"/>
                    </a:lnTo>
                    <a:lnTo>
                      <a:pt x="170" y="196"/>
                    </a:lnTo>
                    <a:lnTo>
                      <a:pt x="172" y="198"/>
                    </a:lnTo>
                    <a:lnTo>
                      <a:pt x="174" y="196"/>
                    </a:lnTo>
                    <a:lnTo>
                      <a:pt x="174" y="198"/>
                    </a:lnTo>
                    <a:lnTo>
                      <a:pt x="174" y="196"/>
                    </a:lnTo>
                    <a:lnTo>
                      <a:pt x="172" y="191"/>
                    </a:lnTo>
                    <a:lnTo>
                      <a:pt x="172" y="189"/>
                    </a:lnTo>
                    <a:lnTo>
                      <a:pt x="172" y="189"/>
                    </a:lnTo>
                    <a:lnTo>
                      <a:pt x="172" y="184"/>
                    </a:lnTo>
                    <a:lnTo>
                      <a:pt x="172" y="182"/>
                    </a:lnTo>
                    <a:lnTo>
                      <a:pt x="172" y="179"/>
                    </a:lnTo>
                    <a:lnTo>
                      <a:pt x="172" y="179"/>
                    </a:lnTo>
                    <a:lnTo>
                      <a:pt x="172" y="177"/>
                    </a:lnTo>
                    <a:lnTo>
                      <a:pt x="174" y="177"/>
                    </a:lnTo>
                    <a:lnTo>
                      <a:pt x="177" y="179"/>
                    </a:lnTo>
                    <a:lnTo>
                      <a:pt x="179" y="179"/>
                    </a:lnTo>
                    <a:lnTo>
                      <a:pt x="179" y="179"/>
                    </a:lnTo>
                    <a:lnTo>
                      <a:pt x="181" y="179"/>
                    </a:lnTo>
                    <a:lnTo>
                      <a:pt x="181" y="179"/>
                    </a:lnTo>
                    <a:lnTo>
                      <a:pt x="184" y="179"/>
                    </a:lnTo>
                    <a:lnTo>
                      <a:pt x="186" y="177"/>
                    </a:lnTo>
                    <a:lnTo>
                      <a:pt x="191" y="172"/>
                    </a:lnTo>
                    <a:lnTo>
                      <a:pt x="193" y="172"/>
                    </a:lnTo>
                    <a:lnTo>
                      <a:pt x="198" y="170"/>
                    </a:lnTo>
                    <a:lnTo>
                      <a:pt x="198" y="170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3" y="175"/>
                    </a:lnTo>
                    <a:lnTo>
                      <a:pt x="203" y="175"/>
                    </a:lnTo>
                    <a:lnTo>
                      <a:pt x="203" y="177"/>
                    </a:lnTo>
                    <a:lnTo>
                      <a:pt x="205" y="182"/>
                    </a:lnTo>
                    <a:lnTo>
                      <a:pt x="205" y="184"/>
                    </a:lnTo>
                    <a:lnTo>
                      <a:pt x="205" y="184"/>
                    </a:lnTo>
                    <a:lnTo>
                      <a:pt x="207" y="187"/>
                    </a:lnTo>
                    <a:lnTo>
                      <a:pt x="207" y="189"/>
                    </a:lnTo>
                    <a:lnTo>
                      <a:pt x="205" y="191"/>
                    </a:lnTo>
                    <a:lnTo>
                      <a:pt x="205" y="191"/>
                    </a:lnTo>
                    <a:lnTo>
                      <a:pt x="205" y="191"/>
                    </a:lnTo>
                    <a:lnTo>
                      <a:pt x="207" y="191"/>
                    </a:lnTo>
                    <a:lnTo>
                      <a:pt x="210" y="194"/>
                    </a:lnTo>
                    <a:lnTo>
                      <a:pt x="212" y="196"/>
                    </a:lnTo>
                    <a:lnTo>
                      <a:pt x="215" y="191"/>
                    </a:lnTo>
                    <a:lnTo>
                      <a:pt x="217" y="191"/>
                    </a:lnTo>
                    <a:lnTo>
                      <a:pt x="219" y="191"/>
                    </a:lnTo>
                    <a:lnTo>
                      <a:pt x="217" y="189"/>
                    </a:lnTo>
                    <a:lnTo>
                      <a:pt x="219" y="189"/>
                    </a:lnTo>
                    <a:lnTo>
                      <a:pt x="219" y="189"/>
                    </a:lnTo>
                    <a:lnTo>
                      <a:pt x="222" y="189"/>
                    </a:lnTo>
                    <a:lnTo>
                      <a:pt x="224" y="189"/>
                    </a:lnTo>
                    <a:lnTo>
                      <a:pt x="224" y="187"/>
                    </a:lnTo>
                    <a:lnTo>
                      <a:pt x="224" y="184"/>
                    </a:lnTo>
                    <a:lnTo>
                      <a:pt x="224" y="182"/>
                    </a:lnTo>
                    <a:lnTo>
                      <a:pt x="224" y="182"/>
                    </a:lnTo>
                    <a:lnTo>
                      <a:pt x="226" y="182"/>
                    </a:lnTo>
                    <a:lnTo>
                      <a:pt x="226" y="182"/>
                    </a:lnTo>
                    <a:lnTo>
                      <a:pt x="229" y="182"/>
                    </a:lnTo>
                    <a:lnTo>
                      <a:pt x="229" y="179"/>
                    </a:lnTo>
                    <a:lnTo>
                      <a:pt x="229" y="177"/>
                    </a:lnTo>
                    <a:lnTo>
                      <a:pt x="229" y="175"/>
                    </a:lnTo>
                    <a:lnTo>
                      <a:pt x="231" y="175"/>
                    </a:lnTo>
                    <a:lnTo>
                      <a:pt x="233" y="175"/>
                    </a:lnTo>
                    <a:lnTo>
                      <a:pt x="236" y="172"/>
                    </a:lnTo>
                    <a:lnTo>
                      <a:pt x="236" y="172"/>
                    </a:lnTo>
                    <a:lnTo>
                      <a:pt x="238" y="170"/>
                    </a:lnTo>
                    <a:lnTo>
                      <a:pt x="238" y="170"/>
                    </a:lnTo>
                    <a:lnTo>
                      <a:pt x="238" y="168"/>
                    </a:lnTo>
                    <a:lnTo>
                      <a:pt x="238" y="165"/>
                    </a:lnTo>
                    <a:lnTo>
                      <a:pt x="241" y="165"/>
                    </a:lnTo>
                    <a:lnTo>
                      <a:pt x="238" y="163"/>
                    </a:lnTo>
                    <a:lnTo>
                      <a:pt x="238" y="163"/>
                    </a:lnTo>
                    <a:lnTo>
                      <a:pt x="238" y="161"/>
                    </a:lnTo>
                    <a:lnTo>
                      <a:pt x="238" y="161"/>
                    </a:lnTo>
                    <a:lnTo>
                      <a:pt x="238" y="156"/>
                    </a:lnTo>
                    <a:lnTo>
                      <a:pt x="238" y="156"/>
                    </a:lnTo>
                    <a:lnTo>
                      <a:pt x="238" y="153"/>
                    </a:lnTo>
                    <a:lnTo>
                      <a:pt x="238" y="153"/>
                    </a:lnTo>
                    <a:lnTo>
                      <a:pt x="238" y="151"/>
                    </a:lnTo>
                    <a:lnTo>
                      <a:pt x="241" y="146"/>
                    </a:lnTo>
                    <a:lnTo>
                      <a:pt x="241" y="142"/>
                    </a:lnTo>
                    <a:lnTo>
                      <a:pt x="241" y="142"/>
                    </a:lnTo>
                    <a:lnTo>
                      <a:pt x="241" y="142"/>
                    </a:lnTo>
                    <a:lnTo>
                      <a:pt x="243" y="142"/>
                    </a:lnTo>
                    <a:lnTo>
                      <a:pt x="243" y="139"/>
                    </a:lnTo>
                    <a:lnTo>
                      <a:pt x="245" y="137"/>
                    </a:lnTo>
                    <a:lnTo>
                      <a:pt x="250" y="135"/>
                    </a:lnTo>
                    <a:lnTo>
                      <a:pt x="252" y="135"/>
                    </a:lnTo>
                    <a:lnTo>
                      <a:pt x="255" y="135"/>
                    </a:lnTo>
                    <a:lnTo>
                      <a:pt x="257" y="135"/>
                    </a:lnTo>
                    <a:lnTo>
                      <a:pt x="257" y="135"/>
                    </a:lnTo>
                    <a:lnTo>
                      <a:pt x="259" y="139"/>
                    </a:lnTo>
                    <a:lnTo>
                      <a:pt x="259" y="139"/>
                    </a:lnTo>
                    <a:lnTo>
                      <a:pt x="262" y="137"/>
                    </a:lnTo>
                    <a:lnTo>
                      <a:pt x="267" y="135"/>
                    </a:lnTo>
                    <a:lnTo>
                      <a:pt x="267" y="135"/>
                    </a:lnTo>
                    <a:lnTo>
                      <a:pt x="269" y="135"/>
                    </a:lnTo>
                    <a:lnTo>
                      <a:pt x="269" y="135"/>
                    </a:lnTo>
                    <a:lnTo>
                      <a:pt x="271" y="137"/>
                    </a:lnTo>
                    <a:lnTo>
                      <a:pt x="274" y="137"/>
                    </a:lnTo>
                    <a:lnTo>
                      <a:pt x="276" y="137"/>
                    </a:lnTo>
                    <a:lnTo>
                      <a:pt x="278" y="137"/>
                    </a:lnTo>
                    <a:lnTo>
                      <a:pt x="281" y="137"/>
                    </a:lnTo>
                    <a:lnTo>
                      <a:pt x="281" y="137"/>
                    </a:lnTo>
                    <a:lnTo>
                      <a:pt x="283" y="137"/>
                    </a:lnTo>
                    <a:lnTo>
                      <a:pt x="283" y="135"/>
                    </a:lnTo>
                    <a:lnTo>
                      <a:pt x="283" y="135"/>
                    </a:lnTo>
                    <a:lnTo>
                      <a:pt x="285" y="135"/>
                    </a:lnTo>
                    <a:lnTo>
                      <a:pt x="285" y="132"/>
                    </a:lnTo>
                    <a:lnTo>
                      <a:pt x="288" y="132"/>
                    </a:lnTo>
                    <a:lnTo>
                      <a:pt x="293" y="135"/>
                    </a:lnTo>
                    <a:lnTo>
                      <a:pt x="297" y="132"/>
                    </a:lnTo>
                    <a:lnTo>
                      <a:pt x="297" y="132"/>
                    </a:lnTo>
                    <a:lnTo>
                      <a:pt x="300" y="132"/>
                    </a:lnTo>
                    <a:lnTo>
                      <a:pt x="302" y="132"/>
                    </a:lnTo>
                    <a:lnTo>
                      <a:pt x="304" y="132"/>
                    </a:lnTo>
                    <a:lnTo>
                      <a:pt x="307" y="130"/>
                    </a:lnTo>
                    <a:lnTo>
                      <a:pt x="314" y="127"/>
                    </a:lnTo>
                    <a:lnTo>
                      <a:pt x="316" y="127"/>
                    </a:lnTo>
                    <a:lnTo>
                      <a:pt x="316" y="127"/>
                    </a:lnTo>
                    <a:lnTo>
                      <a:pt x="316" y="130"/>
                    </a:lnTo>
                    <a:lnTo>
                      <a:pt x="314" y="135"/>
                    </a:lnTo>
                    <a:lnTo>
                      <a:pt x="314" y="135"/>
                    </a:lnTo>
                    <a:lnTo>
                      <a:pt x="316" y="135"/>
                    </a:lnTo>
                    <a:lnTo>
                      <a:pt x="318" y="135"/>
                    </a:lnTo>
                    <a:lnTo>
                      <a:pt x="323" y="135"/>
                    </a:lnTo>
                    <a:lnTo>
                      <a:pt x="326" y="135"/>
                    </a:lnTo>
                    <a:lnTo>
                      <a:pt x="333" y="132"/>
                    </a:lnTo>
                    <a:lnTo>
                      <a:pt x="337" y="132"/>
                    </a:lnTo>
                    <a:lnTo>
                      <a:pt x="337" y="130"/>
                    </a:lnTo>
                    <a:lnTo>
                      <a:pt x="337" y="127"/>
                    </a:lnTo>
                    <a:lnTo>
                      <a:pt x="337" y="123"/>
                    </a:lnTo>
                    <a:lnTo>
                      <a:pt x="337" y="118"/>
                    </a:lnTo>
                    <a:lnTo>
                      <a:pt x="335" y="116"/>
                    </a:lnTo>
                    <a:lnTo>
                      <a:pt x="335" y="116"/>
                    </a:lnTo>
                    <a:lnTo>
                      <a:pt x="335" y="116"/>
                    </a:lnTo>
                    <a:lnTo>
                      <a:pt x="340" y="113"/>
                    </a:lnTo>
                    <a:lnTo>
                      <a:pt x="340" y="111"/>
                    </a:lnTo>
                    <a:lnTo>
                      <a:pt x="337" y="106"/>
                    </a:lnTo>
                    <a:lnTo>
                      <a:pt x="337" y="104"/>
                    </a:lnTo>
                    <a:lnTo>
                      <a:pt x="340" y="99"/>
                    </a:lnTo>
                    <a:lnTo>
                      <a:pt x="340" y="99"/>
                    </a:lnTo>
                    <a:lnTo>
                      <a:pt x="342" y="99"/>
                    </a:lnTo>
                    <a:lnTo>
                      <a:pt x="344" y="99"/>
                    </a:lnTo>
                    <a:lnTo>
                      <a:pt x="347" y="99"/>
                    </a:lnTo>
                    <a:lnTo>
                      <a:pt x="347" y="99"/>
                    </a:lnTo>
                    <a:lnTo>
                      <a:pt x="352" y="99"/>
                    </a:lnTo>
                    <a:lnTo>
                      <a:pt x="352" y="97"/>
                    </a:lnTo>
                    <a:lnTo>
                      <a:pt x="354" y="92"/>
                    </a:lnTo>
                    <a:lnTo>
                      <a:pt x="354" y="92"/>
                    </a:lnTo>
                    <a:lnTo>
                      <a:pt x="354" y="90"/>
                    </a:lnTo>
                    <a:lnTo>
                      <a:pt x="356" y="90"/>
                    </a:lnTo>
                    <a:lnTo>
                      <a:pt x="356" y="87"/>
                    </a:lnTo>
                    <a:lnTo>
                      <a:pt x="356" y="87"/>
                    </a:lnTo>
                    <a:lnTo>
                      <a:pt x="359" y="83"/>
                    </a:lnTo>
                    <a:lnTo>
                      <a:pt x="359" y="80"/>
                    </a:lnTo>
                    <a:lnTo>
                      <a:pt x="359" y="80"/>
                    </a:lnTo>
                    <a:lnTo>
                      <a:pt x="361" y="83"/>
                    </a:lnTo>
                    <a:lnTo>
                      <a:pt x="361" y="83"/>
                    </a:lnTo>
                    <a:lnTo>
                      <a:pt x="361" y="85"/>
                    </a:lnTo>
                    <a:lnTo>
                      <a:pt x="363" y="85"/>
                    </a:lnTo>
                    <a:lnTo>
                      <a:pt x="366" y="80"/>
                    </a:lnTo>
                    <a:lnTo>
                      <a:pt x="366" y="78"/>
                    </a:lnTo>
                    <a:lnTo>
                      <a:pt x="366" y="78"/>
                    </a:lnTo>
                    <a:lnTo>
                      <a:pt x="363" y="78"/>
                    </a:lnTo>
                    <a:lnTo>
                      <a:pt x="363" y="73"/>
                    </a:lnTo>
                    <a:lnTo>
                      <a:pt x="361" y="71"/>
                    </a:lnTo>
                    <a:lnTo>
                      <a:pt x="359" y="68"/>
                    </a:lnTo>
                    <a:lnTo>
                      <a:pt x="359" y="68"/>
                    </a:lnTo>
                    <a:lnTo>
                      <a:pt x="363" y="64"/>
                    </a:lnTo>
                    <a:lnTo>
                      <a:pt x="363" y="64"/>
                    </a:lnTo>
                    <a:lnTo>
                      <a:pt x="361" y="61"/>
                    </a:lnTo>
                    <a:lnTo>
                      <a:pt x="359" y="61"/>
                    </a:lnTo>
                    <a:lnTo>
                      <a:pt x="359" y="59"/>
                    </a:lnTo>
                    <a:lnTo>
                      <a:pt x="363" y="57"/>
                    </a:lnTo>
                    <a:lnTo>
                      <a:pt x="363" y="50"/>
                    </a:lnTo>
                    <a:lnTo>
                      <a:pt x="366" y="47"/>
                    </a:lnTo>
                    <a:lnTo>
                      <a:pt x="368" y="50"/>
                    </a:lnTo>
                    <a:lnTo>
                      <a:pt x="368" y="47"/>
                    </a:lnTo>
                    <a:lnTo>
                      <a:pt x="370" y="45"/>
                    </a:lnTo>
                    <a:lnTo>
                      <a:pt x="370" y="42"/>
                    </a:lnTo>
                    <a:lnTo>
                      <a:pt x="373" y="42"/>
                    </a:lnTo>
                    <a:lnTo>
                      <a:pt x="373" y="42"/>
                    </a:lnTo>
                    <a:lnTo>
                      <a:pt x="375" y="45"/>
                    </a:lnTo>
                    <a:lnTo>
                      <a:pt x="378" y="45"/>
                    </a:lnTo>
                    <a:lnTo>
                      <a:pt x="382" y="50"/>
                    </a:lnTo>
                    <a:lnTo>
                      <a:pt x="385" y="50"/>
                    </a:lnTo>
                    <a:lnTo>
                      <a:pt x="385" y="47"/>
                    </a:lnTo>
                    <a:lnTo>
                      <a:pt x="387" y="45"/>
                    </a:lnTo>
                    <a:lnTo>
                      <a:pt x="387" y="42"/>
                    </a:lnTo>
                    <a:lnTo>
                      <a:pt x="387" y="40"/>
                    </a:lnTo>
                    <a:lnTo>
                      <a:pt x="392" y="38"/>
                    </a:lnTo>
                    <a:lnTo>
                      <a:pt x="387" y="33"/>
                    </a:lnTo>
                    <a:lnTo>
                      <a:pt x="387" y="31"/>
                    </a:lnTo>
                    <a:lnTo>
                      <a:pt x="389" y="28"/>
                    </a:lnTo>
                    <a:lnTo>
                      <a:pt x="394" y="26"/>
                    </a:lnTo>
                    <a:lnTo>
                      <a:pt x="396" y="21"/>
                    </a:lnTo>
                    <a:lnTo>
                      <a:pt x="399" y="21"/>
                    </a:lnTo>
                    <a:lnTo>
                      <a:pt x="399" y="19"/>
                    </a:lnTo>
                    <a:lnTo>
                      <a:pt x="399" y="16"/>
                    </a:lnTo>
                    <a:lnTo>
                      <a:pt x="399" y="16"/>
                    </a:lnTo>
                    <a:lnTo>
                      <a:pt x="401" y="14"/>
                    </a:lnTo>
                    <a:lnTo>
                      <a:pt x="401" y="12"/>
                    </a:lnTo>
                    <a:lnTo>
                      <a:pt x="404" y="9"/>
                    </a:lnTo>
                    <a:lnTo>
                      <a:pt x="404" y="9"/>
                    </a:lnTo>
                    <a:lnTo>
                      <a:pt x="404" y="7"/>
                    </a:lnTo>
                    <a:lnTo>
                      <a:pt x="404" y="0"/>
                    </a:lnTo>
                    <a:lnTo>
                      <a:pt x="415" y="2"/>
                    </a:lnTo>
                    <a:lnTo>
                      <a:pt x="420" y="2"/>
                    </a:lnTo>
                    <a:lnTo>
                      <a:pt x="441" y="2"/>
                    </a:lnTo>
                    <a:lnTo>
                      <a:pt x="500" y="2"/>
                    </a:lnTo>
                    <a:lnTo>
                      <a:pt x="500" y="5"/>
                    </a:lnTo>
                    <a:lnTo>
                      <a:pt x="503" y="5"/>
                    </a:lnTo>
                    <a:lnTo>
                      <a:pt x="503" y="5"/>
                    </a:lnTo>
                    <a:lnTo>
                      <a:pt x="505" y="5"/>
                    </a:lnTo>
                    <a:lnTo>
                      <a:pt x="505" y="7"/>
                    </a:lnTo>
                    <a:lnTo>
                      <a:pt x="507" y="9"/>
                    </a:lnTo>
                    <a:lnTo>
                      <a:pt x="510" y="9"/>
                    </a:lnTo>
                    <a:lnTo>
                      <a:pt x="515" y="12"/>
                    </a:lnTo>
                    <a:lnTo>
                      <a:pt x="517" y="14"/>
                    </a:lnTo>
                    <a:lnTo>
                      <a:pt x="519" y="16"/>
                    </a:lnTo>
                    <a:lnTo>
                      <a:pt x="522" y="16"/>
                    </a:lnTo>
                    <a:lnTo>
                      <a:pt x="522" y="19"/>
                    </a:lnTo>
                    <a:lnTo>
                      <a:pt x="524" y="21"/>
                    </a:lnTo>
                    <a:lnTo>
                      <a:pt x="524" y="21"/>
                    </a:lnTo>
                    <a:lnTo>
                      <a:pt x="524" y="24"/>
                    </a:lnTo>
                    <a:lnTo>
                      <a:pt x="524" y="24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8"/>
                    </a:lnTo>
                    <a:lnTo>
                      <a:pt x="524" y="28"/>
                    </a:lnTo>
                    <a:lnTo>
                      <a:pt x="524" y="31"/>
                    </a:lnTo>
                    <a:lnTo>
                      <a:pt x="526" y="31"/>
                    </a:lnTo>
                    <a:lnTo>
                      <a:pt x="526" y="35"/>
                    </a:lnTo>
                    <a:lnTo>
                      <a:pt x="526" y="35"/>
                    </a:lnTo>
                    <a:lnTo>
                      <a:pt x="526" y="35"/>
                    </a:lnTo>
                    <a:lnTo>
                      <a:pt x="533" y="40"/>
                    </a:lnTo>
                    <a:lnTo>
                      <a:pt x="533" y="40"/>
                    </a:lnTo>
                    <a:lnTo>
                      <a:pt x="533" y="42"/>
                    </a:lnTo>
                    <a:lnTo>
                      <a:pt x="536" y="40"/>
                    </a:lnTo>
                    <a:lnTo>
                      <a:pt x="536" y="42"/>
                    </a:lnTo>
                    <a:lnTo>
                      <a:pt x="536" y="42"/>
                    </a:lnTo>
                    <a:lnTo>
                      <a:pt x="538" y="42"/>
                    </a:lnTo>
                    <a:lnTo>
                      <a:pt x="538" y="42"/>
                    </a:lnTo>
                    <a:lnTo>
                      <a:pt x="541" y="45"/>
                    </a:lnTo>
                    <a:lnTo>
                      <a:pt x="538" y="47"/>
                    </a:lnTo>
                    <a:lnTo>
                      <a:pt x="541" y="47"/>
                    </a:lnTo>
                    <a:lnTo>
                      <a:pt x="541" y="50"/>
                    </a:lnTo>
                    <a:lnTo>
                      <a:pt x="541" y="50"/>
                    </a:lnTo>
                    <a:lnTo>
                      <a:pt x="541" y="52"/>
                    </a:lnTo>
                    <a:lnTo>
                      <a:pt x="541" y="52"/>
                    </a:lnTo>
                    <a:lnTo>
                      <a:pt x="543" y="54"/>
                    </a:lnTo>
                    <a:lnTo>
                      <a:pt x="543" y="54"/>
                    </a:lnTo>
                    <a:lnTo>
                      <a:pt x="543" y="54"/>
                    </a:lnTo>
                    <a:lnTo>
                      <a:pt x="543" y="54"/>
                    </a:lnTo>
                    <a:lnTo>
                      <a:pt x="545" y="52"/>
                    </a:lnTo>
                    <a:lnTo>
                      <a:pt x="548" y="52"/>
                    </a:lnTo>
                    <a:lnTo>
                      <a:pt x="550" y="50"/>
                    </a:lnTo>
                    <a:lnTo>
                      <a:pt x="550" y="50"/>
                    </a:lnTo>
                    <a:lnTo>
                      <a:pt x="550" y="50"/>
                    </a:lnTo>
                    <a:lnTo>
                      <a:pt x="552" y="52"/>
                    </a:lnTo>
                    <a:lnTo>
                      <a:pt x="552" y="52"/>
                    </a:lnTo>
                    <a:lnTo>
                      <a:pt x="555" y="54"/>
                    </a:lnTo>
                    <a:lnTo>
                      <a:pt x="559" y="54"/>
                    </a:lnTo>
                    <a:lnTo>
                      <a:pt x="559" y="54"/>
                    </a:lnTo>
                    <a:lnTo>
                      <a:pt x="562" y="54"/>
                    </a:lnTo>
                    <a:lnTo>
                      <a:pt x="564" y="57"/>
                    </a:lnTo>
                    <a:lnTo>
                      <a:pt x="564" y="57"/>
                    </a:lnTo>
                    <a:lnTo>
                      <a:pt x="564" y="59"/>
                    </a:lnTo>
                    <a:lnTo>
                      <a:pt x="564" y="61"/>
                    </a:lnTo>
                    <a:lnTo>
                      <a:pt x="562" y="64"/>
                    </a:lnTo>
                    <a:lnTo>
                      <a:pt x="564" y="68"/>
                    </a:lnTo>
                    <a:lnTo>
                      <a:pt x="564" y="71"/>
                    </a:lnTo>
                    <a:lnTo>
                      <a:pt x="564" y="71"/>
                    </a:lnTo>
                    <a:lnTo>
                      <a:pt x="564" y="73"/>
                    </a:lnTo>
                    <a:lnTo>
                      <a:pt x="567" y="73"/>
                    </a:lnTo>
                    <a:lnTo>
                      <a:pt x="569" y="73"/>
                    </a:lnTo>
                    <a:lnTo>
                      <a:pt x="567" y="78"/>
                    </a:lnTo>
                    <a:lnTo>
                      <a:pt x="569" y="78"/>
                    </a:lnTo>
                    <a:lnTo>
                      <a:pt x="569" y="80"/>
                    </a:lnTo>
                    <a:lnTo>
                      <a:pt x="567" y="83"/>
                    </a:lnTo>
                    <a:lnTo>
                      <a:pt x="567" y="83"/>
                    </a:lnTo>
                    <a:lnTo>
                      <a:pt x="567" y="85"/>
                    </a:lnTo>
                    <a:lnTo>
                      <a:pt x="574" y="90"/>
                    </a:lnTo>
                    <a:lnTo>
                      <a:pt x="574" y="90"/>
                    </a:lnTo>
                    <a:lnTo>
                      <a:pt x="574" y="87"/>
                    </a:lnTo>
                    <a:lnTo>
                      <a:pt x="571" y="85"/>
                    </a:lnTo>
                    <a:lnTo>
                      <a:pt x="571" y="83"/>
                    </a:lnTo>
                    <a:lnTo>
                      <a:pt x="574" y="83"/>
                    </a:lnTo>
                    <a:lnTo>
                      <a:pt x="574" y="80"/>
                    </a:lnTo>
                    <a:lnTo>
                      <a:pt x="576" y="80"/>
                    </a:lnTo>
                    <a:lnTo>
                      <a:pt x="578" y="80"/>
                    </a:lnTo>
                    <a:lnTo>
                      <a:pt x="581" y="83"/>
                    </a:lnTo>
                    <a:lnTo>
                      <a:pt x="583" y="83"/>
                    </a:lnTo>
                    <a:lnTo>
                      <a:pt x="585" y="83"/>
                    </a:lnTo>
                    <a:lnTo>
                      <a:pt x="588" y="85"/>
                    </a:lnTo>
                    <a:lnTo>
                      <a:pt x="588" y="87"/>
                    </a:lnTo>
                    <a:lnTo>
                      <a:pt x="588" y="90"/>
                    </a:lnTo>
                    <a:lnTo>
                      <a:pt x="585" y="90"/>
                    </a:lnTo>
                    <a:lnTo>
                      <a:pt x="583" y="90"/>
                    </a:lnTo>
                    <a:lnTo>
                      <a:pt x="588" y="92"/>
                    </a:lnTo>
                    <a:lnTo>
                      <a:pt x="588" y="94"/>
                    </a:lnTo>
                    <a:lnTo>
                      <a:pt x="588" y="97"/>
                    </a:lnTo>
                    <a:lnTo>
                      <a:pt x="588" y="97"/>
                    </a:lnTo>
                    <a:lnTo>
                      <a:pt x="590" y="99"/>
                    </a:lnTo>
                    <a:lnTo>
                      <a:pt x="590" y="99"/>
                    </a:lnTo>
                    <a:lnTo>
                      <a:pt x="590" y="101"/>
                    </a:lnTo>
                    <a:lnTo>
                      <a:pt x="590" y="101"/>
                    </a:lnTo>
                    <a:lnTo>
                      <a:pt x="593" y="111"/>
                    </a:lnTo>
                    <a:lnTo>
                      <a:pt x="597" y="111"/>
                    </a:lnTo>
                    <a:lnTo>
                      <a:pt x="600" y="109"/>
                    </a:lnTo>
                    <a:lnTo>
                      <a:pt x="604" y="109"/>
                    </a:lnTo>
                    <a:lnTo>
                      <a:pt x="607" y="109"/>
                    </a:lnTo>
                    <a:lnTo>
                      <a:pt x="607" y="113"/>
                    </a:lnTo>
                    <a:lnTo>
                      <a:pt x="609" y="113"/>
                    </a:lnTo>
                    <a:lnTo>
                      <a:pt x="611" y="116"/>
                    </a:lnTo>
                    <a:lnTo>
                      <a:pt x="611" y="118"/>
                    </a:lnTo>
                    <a:lnTo>
                      <a:pt x="611" y="120"/>
                    </a:lnTo>
                    <a:lnTo>
                      <a:pt x="614" y="118"/>
                    </a:lnTo>
                    <a:lnTo>
                      <a:pt x="618" y="120"/>
                    </a:lnTo>
                    <a:lnTo>
                      <a:pt x="618" y="120"/>
                    </a:lnTo>
                    <a:lnTo>
                      <a:pt x="623" y="120"/>
                    </a:lnTo>
                    <a:lnTo>
                      <a:pt x="623" y="118"/>
                    </a:lnTo>
                    <a:lnTo>
                      <a:pt x="626" y="118"/>
                    </a:lnTo>
                    <a:lnTo>
                      <a:pt x="628" y="116"/>
                    </a:lnTo>
                    <a:lnTo>
                      <a:pt x="628" y="113"/>
                    </a:lnTo>
                    <a:lnTo>
                      <a:pt x="628" y="113"/>
                    </a:lnTo>
                    <a:lnTo>
                      <a:pt x="628" y="113"/>
                    </a:lnTo>
                    <a:lnTo>
                      <a:pt x="628" y="111"/>
                    </a:lnTo>
                    <a:lnTo>
                      <a:pt x="628" y="109"/>
                    </a:lnTo>
                    <a:lnTo>
                      <a:pt x="630" y="106"/>
                    </a:lnTo>
                    <a:lnTo>
                      <a:pt x="630" y="104"/>
                    </a:lnTo>
                    <a:lnTo>
                      <a:pt x="630" y="101"/>
                    </a:lnTo>
                    <a:lnTo>
                      <a:pt x="633" y="101"/>
                    </a:lnTo>
                    <a:lnTo>
                      <a:pt x="635" y="104"/>
                    </a:lnTo>
                    <a:lnTo>
                      <a:pt x="637" y="104"/>
                    </a:lnTo>
                    <a:lnTo>
                      <a:pt x="637" y="104"/>
                    </a:lnTo>
                    <a:lnTo>
                      <a:pt x="640" y="101"/>
                    </a:lnTo>
                    <a:lnTo>
                      <a:pt x="640" y="101"/>
                    </a:lnTo>
                    <a:lnTo>
                      <a:pt x="642" y="99"/>
                    </a:lnTo>
                    <a:lnTo>
                      <a:pt x="642" y="99"/>
                    </a:lnTo>
                    <a:lnTo>
                      <a:pt x="642" y="99"/>
                    </a:lnTo>
                    <a:lnTo>
                      <a:pt x="642" y="97"/>
                    </a:lnTo>
                    <a:lnTo>
                      <a:pt x="642" y="97"/>
                    </a:lnTo>
                    <a:lnTo>
                      <a:pt x="644" y="97"/>
                    </a:lnTo>
                    <a:lnTo>
                      <a:pt x="647" y="94"/>
                    </a:lnTo>
                    <a:lnTo>
                      <a:pt x="647" y="97"/>
                    </a:lnTo>
                    <a:lnTo>
                      <a:pt x="647" y="99"/>
                    </a:lnTo>
                    <a:lnTo>
                      <a:pt x="652" y="97"/>
                    </a:lnTo>
                    <a:lnTo>
                      <a:pt x="654" y="99"/>
                    </a:lnTo>
                    <a:lnTo>
                      <a:pt x="654" y="99"/>
                    </a:lnTo>
                    <a:lnTo>
                      <a:pt x="656" y="99"/>
                    </a:lnTo>
                    <a:lnTo>
                      <a:pt x="656" y="101"/>
                    </a:lnTo>
                    <a:lnTo>
                      <a:pt x="656" y="104"/>
                    </a:lnTo>
                    <a:lnTo>
                      <a:pt x="656" y="104"/>
                    </a:lnTo>
                    <a:lnTo>
                      <a:pt x="661" y="109"/>
                    </a:lnTo>
                    <a:lnTo>
                      <a:pt x="661" y="109"/>
                    </a:lnTo>
                    <a:lnTo>
                      <a:pt x="663" y="109"/>
                    </a:lnTo>
                    <a:lnTo>
                      <a:pt x="663" y="111"/>
                    </a:lnTo>
                    <a:lnTo>
                      <a:pt x="663" y="111"/>
                    </a:lnTo>
                    <a:lnTo>
                      <a:pt x="668" y="113"/>
                    </a:lnTo>
                    <a:lnTo>
                      <a:pt x="668" y="113"/>
                    </a:lnTo>
                    <a:lnTo>
                      <a:pt x="670" y="113"/>
                    </a:lnTo>
                    <a:lnTo>
                      <a:pt x="670" y="113"/>
                    </a:lnTo>
                    <a:lnTo>
                      <a:pt x="670" y="113"/>
                    </a:lnTo>
                    <a:lnTo>
                      <a:pt x="670" y="116"/>
                    </a:lnTo>
                    <a:lnTo>
                      <a:pt x="673" y="118"/>
                    </a:lnTo>
                    <a:lnTo>
                      <a:pt x="675" y="120"/>
                    </a:lnTo>
                    <a:lnTo>
                      <a:pt x="675" y="123"/>
                    </a:lnTo>
                    <a:lnTo>
                      <a:pt x="678" y="125"/>
                    </a:lnTo>
                    <a:lnTo>
                      <a:pt x="675" y="127"/>
                    </a:lnTo>
                    <a:lnTo>
                      <a:pt x="673" y="130"/>
                    </a:lnTo>
                    <a:lnTo>
                      <a:pt x="670" y="137"/>
                    </a:lnTo>
                    <a:lnTo>
                      <a:pt x="670" y="139"/>
                    </a:lnTo>
                    <a:lnTo>
                      <a:pt x="670" y="142"/>
                    </a:lnTo>
                    <a:lnTo>
                      <a:pt x="668" y="144"/>
                    </a:lnTo>
                    <a:lnTo>
                      <a:pt x="668" y="144"/>
                    </a:lnTo>
                    <a:lnTo>
                      <a:pt x="666" y="144"/>
                    </a:lnTo>
                    <a:lnTo>
                      <a:pt x="666" y="146"/>
                    </a:lnTo>
                    <a:lnTo>
                      <a:pt x="666" y="149"/>
                    </a:lnTo>
                    <a:lnTo>
                      <a:pt x="666" y="151"/>
                    </a:lnTo>
                    <a:lnTo>
                      <a:pt x="666" y="153"/>
                    </a:lnTo>
                    <a:lnTo>
                      <a:pt x="668" y="156"/>
                    </a:lnTo>
                    <a:lnTo>
                      <a:pt x="668" y="156"/>
                    </a:lnTo>
                    <a:lnTo>
                      <a:pt x="670" y="158"/>
                    </a:lnTo>
                    <a:lnTo>
                      <a:pt x="670" y="161"/>
                    </a:lnTo>
                    <a:lnTo>
                      <a:pt x="670" y="161"/>
                    </a:lnTo>
                    <a:lnTo>
                      <a:pt x="670" y="163"/>
                    </a:lnTo>
                    <a:lnTo>
                      <a:pt x="670" y="165"/>
                    </a:lnTo>
                    <a:lnTo>
                      <a:pt x="670" y="168"/>
                    </a:lnTo>
                    <a:lnTo>
                      <a:pt x="670" y="170"/>
                    </a:lnTo>
                    <a:lnTo>
                      <a:pt x="668" y="168"/>
                    </a:lnTo>
                    <a:lnTo>
                      <a:pt x="666" y="168"/>
                    </a:lnTo>
                    <a:lnTo>
                      <a:pt x="663" y="168"/>
                    </a:lnTo>
                    <a:lnTo>
                      <a:pt x="661" y="168"/>
                    </a:lnTo>
                    <a:lnTo>
                      <a:pt x="661" y="170"/>
                    </a:lnTo>
                    <a:lnTo>
                      <a:pt x="656" y="170"/>
                    </a:lnTo>
                    <a:lnTo>
                      <a:pt x="656" y="170"/>
                    </a:lnTo>
                    <a:lnTo>
                      <a:pt x="656" y="172"/>
                    </a:lnTo>
                    <a:lnTo>
                      <a:pt x="656" y="172"/>
                    </a:lnTo>
                    <a:lnTo>
                      <a:pt x="659" y="172"/>
                    </a:lnTo>
                    <a:lnTo>
                      <a:pt x="659" y="172"/>
                    </a:lnTo>
                    <a:lnTo>
                      <a:pt x="659" y="175"/>
                    </a:lnTo>
                    <a:lnTo>
                      <a:pt x="659" y="177"/>
                    </a:lnTo>
                    <a:lnTo>
                      <a:pt x="659" y="179"/>
                    </a:lnTo>
                    <a:lnTo>
                      <a:pt x="656" y="179"/>
                    </a:lnTo>
                    <a:lnTo>
                      <a:pt x="656" y="182"/>
                    </a:lnTo>
                    <a:lnTo>
                      <a:pt x="656" y="184"/>
                    </a:lnTo>
                    <a:lnTo>
                      <a:pt x="659" y="182"/>
                    </a:lnTo>
                    <a:lnTo>
                      <a:pt x="659" y="184"/>
                    </a:lnTo>
                    <a:lnTo>
                      <a:pt x="661" y="184"/>
                    </a:lnTo>
                    <a:lnTo>
                      <a:pt x="663" y="184"/>
                    </a:lnTo>
                    <a:lnTo>
                      <a:pt x="666" y="187"/>
                    </a:lnTo>
                    <a:lnTo>
                      <a:pt x="666" y="187"/>
                    </a:lnTo>
                    <a:lnTo>
                      <a:pt x="666" y="189"/>
                    </a:lnTo>
                    <a:lnTo>
                      <a:pt x="666" y="191"/>
                    </a:lnTo>
                    <a:lnTo>
                      <a:pt x="666" y="191"/>
                    </a:lnTo>
                    <a:lnTo>
                      <a:pt x="666" y="194"/>
                    </a:lnTo>
                    <a:lnTo>
                      <a:pt x="666" y="194"/>
                    </a:lnTo>
                    <a:lnTo>
                      <a:pt x="663" y="196"/>
                    </a:lnTo>
                    <a:lnTo>
                      <a:pt x="663" y="196"/>
                    </a:lnTo>
                    <a:lnTo>
                      <a:pt x="663" y="198"/>
                    </a:lnTo>
                    <a:lnTo>
                      <a:pt x="663" y="198"/>
                    </a:lnTo>
                    <a:lnTo>
                      <a:pt x="666" y="198"/>
                    </a:lnTo>
                    <a:lnTo>
                      <a:pt x="670" y="201"/>
                    </a:lnTo>
                    <a:lnTo>
                      <a:pt x="666" y="203"/>
                    </a:lnTo>
                    <a:lnTo>
                      <a:pt x="666" y="203"/>
                    </a:lnTo>
                    <a:lnTo>
                      <a:pt x="670" y="205"/>
                    </a:lnTo>
                    <a:lnTo>
                      <a:pt x="670" y="205"/>
                    </a:lnTo>
                    <a:lnTo>
                      <a:pt x="670" y="208"/>
                    </a:lnTo>
                    <a:lnTo>
                      <a:pt x="673" y="208"/>
                    </a:lnTo>
                    <a:lnTo>
                      <a:pt x="673" y="210"/>
                    </a:lnTo>
                    <a:lnTo>
                      <a:pt x="673" y="210"/>
                    </a:lnTo>
                    <a:lnTo>
                      <a:pt x="673" y="210"/>
                    </a:lnTo>
                    <a:lnTo>
                      <a:pt x="673" y="210"/>
                    </a:lnTo>
                    <a:lnTo>
                      <a:pt x="673" y="212"/>
                    </a:lnTo>
                    <a:lnTo>
                      <a:pt x="673" y="217"/>
                    </a:lnTo>
                    <a:lnTo>
                      <a:pt x="673" y="217"/>
                    </a:lnTo>
                    <a:lnTo>
                      <a:pt x="675" y="217"/>
                    </a:lnTo>
                    <a:lnTo>
                      <a:pt x="675" y="217"/>
                    </a:lnTo>
                    <a:lnTo>
                      <a:pt x="675" y="217"/>
                    </a:lnTo>
                    <a:lnTo>
                      <a:pt x="675" y="217"/>
                    </a:lnTo>
                    <a:lnTo>
                      <a:pt x="675" y="220"/>
                    </a:lnTo>
                    <a:lnTo>
                      <a:pt x="673" y="222"/>
                    </a:lnTo>
                    <a:lnTo>
                      <a:pt x="673" y="222"/>
                    </a:lnTo>
                    <a:lnTo>
                      <a:pt x="673" y="224"/>
                    </a:lnTo>
                    <a:lnTo>
                      <a:pt x="673" y="227"/>
                    </a:lnTo>
                    <a:lnTo>
                      <a:pt x="670" y="227"/>
                    </a:lnTo>
                    <a:lnTo>
                      <a:pt x="670" y="229"/>
                    </a:lnTo>
                    <a:lnTo>
                      <a:pt x="668" y="229"/>
                    </a:lnTo>
                    <a:lnTo>
                      <a:pt x="666" y="229"/>
                    </a:lnTo>
                    <a:lnTo>
                      <a:pt x="663" y="229"/>
                    </a:lnTo>
                    <a:lnTo>
                      <a:pt x="663" y="231"/>
                    </a:lnTo>
                    <a:lnTo>
                      <a:pt x="666" y="231"/>
                    </a:lnTo>
                    <a:lnTo>
                      <a:pt x="670" y="234"/>
                    </a:lnTo>
                    <a:lnTo>
                      <a:pt x="670" y="236"/>
                    </a:lnTo>
                    <a:lnTo>
                      <a:pt x="666" y="238"/>
                    </a:lnTo>
                    <a:lnTo>
                      <a:pt x="668" y="238"/>
                    </a:lnTo>
                    <a:lnTo>
                      <a:pt x="670" y="241"/>
                    </a:lnTo>
                    <a:lnTo>
                      <a:pt x="670" y="241"/>
                    </a:lnTo>
                    <a:lnTo>
                      <a:pt x="670" y="243"/>
                    </a:lnTo>
                    <a:lnTo>
                      <a:pt x="670" y="243"/>
                    </a:lnTo>
                    <a:lnTo>
                      <a:pt x="670" y="246"/>
                    </a:lnTo>
                    <a:lnTo>
                      <a:pt x="673" y="248"/>
                    </a:lnTo>
                    <a:lnTo>
                      <a:pt x="673" y="250"/>
                    </a:lnTo>
                    <a:lnTo>
                      <a:pt x="673" y="253"/>
                    </a:lnTo>
                    <a:lnTo>
                      <a:pt x="670" y="255"/>
                    </a:lnTo>
                    <a:lnTo>
                      <a:pt x="670" y="257"/>
                    </a:lnTo>
                    <a:lnTo>
                      <a:pt x="670" y="257"/>
                    </a:lnTo>
                    <a:lnTo>
                      <a:pt x="670" y="260"/>
                    </a:lnTo>
                    <a:lnTo>
                      <a:pt x="670" y="260"/>
                    </a:lnTo>
                    <a:lnTo>
                      <a:pt x="670" y="260"/>
                    </a:lnTo>
                    <a:lnTo>
                      <a:pt x="668" y="262"/>
                    </a:lnTo>
                    <a:lnTo>
                      <a:pt x="670" y="262"/>
                    </a:lnTo>
                    <a:lnTo>
                      <a:pt x="670" y="264"/>
                    </a:lnTo>
                    <a:lnTo>
                      <a:pt x="668" y="267"/>
                    </a:lnTo>
                    <a:lnTo>
                      <a:pt x="668" y="267"/>
                    </a:lnTo>
                    <a:lnTo>
                      <a:pt x="666" y="272"/>
                    </a:lnTo>
                    <a:lnTo>
                      <a:pt x="663" y="274"/>
                    </a:lnTo>
                    <a:lnTo>
                      <a:pt x="663" y="274"/>
                    </a:lnTo>
                    <a:lnTo>
                      <a:pt x="663" y="274"/>
                    </a:lnTo>
                    <a:lnTo>
                      <a:pt x="663" y="279"/>
                    </a:lnTo>
                    <a:lnTo>
                      <a:pt x="663" y="279"/>
                    </a:lnTo>
                    <a:lnTo>
                      <a:pt x="663" y="279"/>
                    </a:lnTo>
                    <a:lnTo>
                      <a:pt x="661" y="281"/>
                    </a:lnTo>
                    <a:lnTo>
                      <a:pt x="661" y="283"/>
                    </a:lnTo>
                    <a:lnTo>
                      <a:pt x="661" y="288"/>
                    </a:lnTo>
                    <a:lnTo>
                      <a:pt x="661" y="288"/>
                    </a:lnTo>
                    <a:lnTo>
                      <a:pt x="663" y="288"/>
                    </a:lnTo>
                    <a:lnTo>
                      <a:pt x="663" y="288"/>
                    </a:lnTo>
                    <a:lnTo>
                      <a:pt x="666" y="290"/>
                    </a:lnTo>
                    <a:lnTo>
                      <a:pt x="666" y="290"/>
                    </a:lnTo>
                    <a:lnTo>
                      <a:pt x="666" y="293"/>
                    </a:lnTo>
                    <a:lnTo>
                      <a:pt x="666" y="293"/>
                    </a:lnTo>
                    <a:lnTo>
                      <a:pt x="663" y="293"/>
                    </a:lnTo>
                    <a:lnTo>
                      <a:pt x="663" y="295"/>
                    </a:lnTo>
                    <a:lnTo>
                      <a:pt x="663" y="298"/>
                    </a:lnTo>
                    <a:lnTo>
                      <a:pt x="663" y="300"/>
                    </a:lnTo>
                    <a:lnTo>
                      <a:pt x="663" y="300"/>
                    </a:lnTo>
                    <a:lnTo>
                      <a:pt x="666" y="302"/>
                    </a:lnTo>
                    <a:lnTo>
                      <a:pt x="668" y="307"/>
                    </a:lnTo>
                    <a:lnTo>
                      <a:pt x="666" y="307"/>
                    </a:lnTo>
                    <a:lnTo>
                      <a:pt x="666" y="309"/>
                    </a:lnTo>
                    <a:lnTo>
                      <a:pt x="668" y="309"/>
                    </a:lnTo>
                    <a:lnTo>
                      <a:pt x="668" y="309"/>
                    </a:lnTo>
                    <a:lnTo>
                      <a:pt x="670" y="309"/>
                    </a:lnTo>
                    <a:lnTo>
                      <a:pt x="670" y="309"/>
                    </a:lnTo>
                    <a:lnTo>
                      <a:pt x="673" y="312"/>
                    </a:lnTo>
                    <a:lnTo>
                      <a:pt x="673" y="312"/>
                    </a:lnTo>
                    <a:lnTo>
                      <a:pt x="673" y="316"/>
                    </a:lnTo>
                    <a:lnTo>
                      <a:pt x="673" y="319"/>
                    </a:lnTo>
                    <a:lnTo>
                      <a:pt x="675" y="319"/>
                    </a:lnTo>
                    <a:lnTo>
                      <a:pt x="675" y="319"/>
                    </a:lnTo>
                    <a:lnTo>
                      <a:pt x="678" y="319"/>
                    </a:lnTo>
                    <a:lnTo>
                      <a:pt x="675" y="321"/>
                    </a:lnTo>
                    <a:lnTo>
                      <a:pt x="675" y="321"/>
                    </a:lnTo>
                    <a:lnTo>
                      <a:pt x="678" y="321"/>
                    </a:lnTo>
                    <a:lnTo>
                      <a:pt x="678" y="321"/>
                    </a:lnTo>
                    <a:lnTo>
                      <a:pt x="678" y="326"/>
                    </a:lnTo>
                    <a:lnTo>
                      <a:pt x="675" y="326"/>
                    </a:lnTo>
                    <a:lnTo>
                      <a:pt x="678" y="328"/>
                    </a:lnTo>
                    <a:lnTo>
                      <a:pt x="675" y="331"/>
                    </a:lnTo>
                    <a:lnTo>
                      <a:pt x="675" y="335"/>
                    </a:lnTo>
                    <a:lnTo>
                      <a:pt x="678" y="338"/>
                    </a:lnTo>
                    <a:lnTo>
                      <a:pt x="678" y="340"/>
                    </a:lnTo>
                    <a:lnTo>
                      <a:pt x="675" y="340"/>
                    </a:lnTo>
                    <a:lnTo>
                      <a:pt x="675" y="345"/>
                    </a:lnTo>
                    <a:lnTo>
                      <a:pt x="675" y="345"/>
                    </a:lnTo>
                    <a:lnTo>
                      <a:pt x="675" y="347"/>
                    </a:lnTo>
                    <a:lnTo>
                      <a:pt x="675" y="349"/>
                    </a:lnTo>
                    <a:lnTo>
                      <a:pt x="675" y="349"/>
                    </a:lnTo>
                    <a:lnTo>
                      <a:pt x="675" y="349"/>
                    </a:lnTo>
                    <a:lnTo>
                      <a:pt x="675" y="352"/>
                    </a:lnTo>
                    <a:lnTo>
                      <a:pt x="675" y="354"/>
                    </a:lnTo>
                    <a:lnTo>
                      <a:pt x="675" y="354"/>
                    </a:lnTo>
                    <a:lnTo>
                      <a:pt x="675" y="354"/>
                    </a:lnTo>
                    <a:lnTo>
                      <a:pt x="673" y="357"/>
                    </a:lnTo>
                    <a:lnTo>
                      <a:pt x="673" y="359"/>
                    </a:lnTo>
                    <a:lnTo>
                      <a:pt x="675" y="361"/>
                    </a:lnTo>
                    <a:lnTo>
                      <a:pt x="675" y="361"/>
                    </a:lnTo>
                    <a:lnTo>
                      <a:pt x="675" y="361"/>
                    </a:lnTo>
                    <a:lnTo>
                      <a:pt x="675" y="361"/>
                    </a:lnTo>
                    <a:lnTo>
                      <a:pt x="675" y="364"/>
                    </a:lnTo>
                    <a:lnTo>
                      <a:pt x="675" y="364"/>
                    </a:lnTo>
                    <a:lnTo>
                      <a:pt x="675" y="366"/>
                    </a:lnTo>
                    <a:lnTo>
                      <a:pt x="675" y="366"/>
                    </a:lnTo>
                    <a:lnTo>
                      <a:pt x="675" y="371"/>
                    </a:lnTo>
                    <a:lnTo>
                      <a:pt x="675" y="371"/>
                    </a:lnTo>
                    <a:lnTo>
                      <a:pt x="675" y="371"/>
                    </a:lnTo>
                    <a:lnTo>
                      <a:pt x="675" y="371"/>
                    </a:lnTo>
                    <a:lnTo>
                      <a:pt x="673" y="371"/>
                    </a:lnTo>
                    <a:lnTo>
                      <a:pt x="673" y="368"/>
                    </a:lnTo>
                    <a:lnTo>
                      <a:pt x="673" y="371"/>
                    </a:lnTo>
                    <a:lnTo>
                      <a:pt x="673" y="371"/>
                    </a:lnTo>
                    <a:lnTo>
                      <a:pt x="673" y="373"/>
                    </a:lnTo>
                    <a:lnTo>
                      <a:pt x="673" y="373"/>
                    </a:lnTo>
                    <a:lnTo>
                      <a:pt x="673" y="375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3"/>
                    </a:lnTo>
                    <a:lnTo>
                      <a:pt x="670" y="383"/>
                    </a:lnTo>
                    <a:lnTo>
                      <a:pt x="670" y="383"/>
                    </a:lnTo>
                    <a:lnTo>
                      <a:pt x="670" y="385"/>
                    </a:lnTo>
                    <a:lnTo>
                      <a:pt x="670" y="385"/>
                    </a:lnTo>
                    <a:lnTo>
                      <a:pt x="670" y="387"/>
                    </a:lnTo>
                    <a:lnTo>
                      <a:pt x="670" y="390"/>
                    </a:lnTo>
                    <a:lnTo>
                      <a:pt x="670" y="392"/>
                    </a:lnTo>
                    <a:lnTo>
                      <a:pt x="670" y="392"/>
                    </a:lnTo>
                    <a:lnTo>
                      <a:pt x="670" y="394"/>
                    </a:lnTo>
                    <a:lnTo>
                      <a:pt x="668" y="394"/>
                    </a:lnTo>
                    <a:lnTo>
                      <a:pt x="666" y="394"/>
                    </a:lnTo>
                    <a:lnTo>
                      <a:pt x="666" y="394"/>
                    </a:lnTo>
                    <a:lnTo>
                      <a:pt x="682" y="397"/>
                    </a:lnTo>
                    <a:lnTo>
                      <a:pt x="737" y="397"/>
                    </a:lnTo>
                    <a:lnTo>
                      <a:pt x="805" y="397"/>
                    </a:lnTo>
                    <a:lnTo>
                      <a:pt x="807" y="397"/>
                    </a:lnTo>
                    <a:lnTo>
                      <a:pt x="807" y="399"/>
                    </a:lnTo>
                    <a:lnTo>
                      <a:pt x="807" y="399"/>
                    </a:lnTo>
                    <a:lnTo>
                      <a:pt x="807" y="399"/>
                    </a:lnTo>
                    <a:lnTo>
                      <a:pt x="807" y="404"/>
                    </a:lnTo>
                    <a:lnTo>
                      <a:pt x="807" y="404"/>
                    </a:lnTo>
                    <a:lnTo>
                      <a:pt x="810" y="401"/>
                    </a:lnTo>
                    <a:lnTo>
                      <a:pt x="810" y="404"/>
                    </a:lnTo>
                    <a:lnTo>
                      <a:pt x="812" y="404"/>
                    </a:lnTo>
                    <a:lnTo>
                      <a:pt x="810" y="406"/>
                    </a:lnTo>
                    <a:lnTo>
                      <a:pt x="812" y="406"/>
                    </a:lnTo>
                    <a:lnTo>
                      <a:pt x="812" y="406"/>
                    </a:lnTo>
                    <a:lnTo>
                      <a:pt x="812" y="409"/>
                    </a:lnTo>
                    <a:lnTo>
                      <a:pt x="812" y="409"/>
                    </a:lnTo>
                    <a:lnTo>
                      <a:pt x="812" y="409"/>
                    </a:lnTo>
                    <a:lnTo>
                      <a:pt x="815" y="411"/>
                    </a:lnTo>
                    <a:lnTo>
                      <a:pt x="815" y="411"/>
                    </a:lnTo>
                    <a:lnTo>
                      <a:pt x="817" y="411"/>
                    </a:lnTo>
                    <a:lnTo>
                      <a:pt x="817" y="411"/>
                    </a:lnTo>
                    <a:lnTo>
                      <a:pt x="819" y="411"/>
                    </a:lnTo>
                    <a:lnTo>
                      <a:pt x="819" y="411"/>
                    </a:lnTo>
                    <a:lnTo>
                      <a:pt x="819" y="411"/>
                    </a:lnTo>
                    <a:lnTo>
                      <a:pt x="819" y="409"/>
                    </a:lnTo>
                    <a:lnTo>
                      <a:pt x="819" y="409"/>
                    </a:lnTo>
                    <a:lnTo>
                      <a:pt x="822" y="409"/>
                    </a:lnTo>
                    <a:lnTo>
                      <a:pt x="824" y="406"/>
                    </a:lnTo>
                    <a:lnTo>
                      <a:pt x="824" y="406"/>
                    </a:lnTo>
                    <a:lnTo>
                      <a:pt x="826" y="404"/>
                    </a:lnTo>
                    <a:lnTo>
                      <a:pt x="826" y="406"/>
                    </a:lnTo>
                    <a:lnTo>
                      <a:pt x="826" y="406"/>
                    </a:lnTo>
                    <a:lnTo>
                      <a:pt x="829" y="406"/>
                    </a:lnTo>
                    <a:lnTo>
                      <a:pt x="829" y="406"/>
                    </a:lnTo>
                    <a:lnTo>
                      <a:pt x="829" y="409"/>
                    </a:lnTo>
                    <a:lnTo>
                      <a:pt x="829" y="409"/>
                    </a:lnTo>
                    <a:lnTo>
                      <a:pt x="829" y="411"/>
                    </a:lnTo>
                    <a:lnTo>
                      <a:pt x="829" y="411"/>
                    </a:lnTo>
                    <a:lnTo>
                      <a:pt x="831" y="411"/>
                    </a:lnTo>
                    <a:lnTo>
                      <a:pt x="833" y="411"/>
                    </a:lnTo>
                    <a:lnTo>
                      <a:pt x="836" y="411"/>
                    </a:lnTo>
                    <a:lnTo>
                      <a:pt x="836" y="411"/>
                    </a:lnTo>
                    <a:lnTo>
                      <a:pt x="838" y="411"/>
                    </a:lnTo>
                    <a:lnTo>
                      <a:pt x="838" y="413"/>
                    </a:lnTo>
                    <a:lnTo>
                      <a:pt x="841" y="411"/>
                    </a:lnTo>
                    <a:lnTo>
                      <a:pt x="841" y="411"/>
                    </a:lnTo>
                    <a:lnTo>
                      <a:pt x="843" y="411"/>
                    </a:lnTo>
                    <a:lnTo>
                      <a:pt x="845" y="411"/>
                    </a:lnTo>
                    <a:lnTo>
                      <a:pt x="845" y="411"/>
                    </a:lnTo>
                    <a:lnTo>
                      <a:pt x="848" y="411"/>
                    </a:lnTo>
                    <a:lnTo>
                      <a:pt x="848" y="411"/>
                    </a:lnTo>
                    <a:lnTo>
                      <a:pt x="850" y="411"/>
                    </a:lnTo>
                    <a:lnTo>
                      <a:pt x="850" y="411"/>
                    </a:lnTo>
                    <a:lnTo>
                      <a:pt x="850" y="411"/>
                    </a:lnTo>
                    <a:lnTo>
                      <a:pt x="852" y="411"/>
                    </a:lnTo>
                    <a:lnTo>
                      <a:pt x="852" y="411"/>
                    </a:lnTo>
                    <a:lnTo>
                      <a:pt x="852" y="411"/>
                    </a:lnTo>
                    <a:lnTo>
                      <a:pt x="855" y="411"/>
                    </a:lnTo>
                    <a:lnTo>
                      <a:pt x="855" y="413"/>
                    </a:lnTo>
                    <a:lnTo>
                      <a:pt x="857" y="413"/>
                    </a:lnTo>
                    <a:lnTo>
                      <a:pt x="859" y="413"/>
                    </a:lnTo>
                    <a:lnTo>
                      <a:pt x="859" y="413"/>
                    </a:lnTo>
                    <a:lnTo>
                      <a:pt x="859" y="413"/>
                    </a:lnTo>
                    <a:lnTo>
                      <a:pt x="862" y="413"/>
                    </a:lnTo>
                    <a:lnTo>
                      <a:pt x="862" y="413"/>
                    </a:lnTo>
                    <a:lnTo>
                      <a:pt x="864" y="413"/>
                    </a:lnTo>
                    <a:lnTo>
                      <a:pt x="864" y="413"/>
                    </a:lnTo>
                    <a:lnTo>
                      <a:pt x="864" y="413"/>
                    </a:lnTo>
                    <a:lnTo>
                      <a:pt x="867" y="413"/>
                    </a:lnTo>
                    <a:lnTo>
                      <a:pt x="867" y="416"/>
                    </a:lnTo>
                    <a:lnTo>
                      <a:pt x="864" y="416"/>
                    </a:lnTo>
                    <a:lnTo>
                      <a:pt x="867" y="418"/>
                    </a:lnTo>
                    <a:lnTo>
                      <a:pt x="864" y="418"/>
                    </a:lnTo>
                    <a:lnTo>
                      <a:pt x="864" y="418"/>
                    </a:lnTo>
                    <a:lnTo>
                      <a:pt x="864" y="418"/>
                    </a:lnTo>
                    <a:lnTo>
                      <a:pt x="864" y="420"/>
                    </a:lnTo>
                    <a:lnTo>
                      <a:pt x="867" y="420"/>
                    </a:lnTo>
                    <a:lnTo>
                      <a:pt x="867" y="420"/>
                    </a:lnTo>
                    <a:lnTo>
                      <a:pt x="867" y="423"/>
                    </a:lnTo>
                    <a:lnTo>
                      <a:pt x="869" y="423"/>
                    </a:lnTo>
                    <a:lnTo>
                      <a:pt x="867" y="423"/>
                    </a:lnTo>
                    <a:lnTo>
                      <a:pt x="867" y="423"/>
                    </a:lnTo>
                    <a:lnTo>
                      <a:pt x="867" y="423"/>
                    </a:lnTo>
                    <a:lnTo>
                      <a:pt x="867" y="425"/>
                    </a:lnTo>
                    <a:lnTo>
                      <a:pt x="867" y="427"/>
                    </a:lnTo>
                    <a:lnTo>
                      <a:pt x="867" y="430"/>
                    </a:lnTo>
                    <a:lnTo>
                      <a:pt x="867" y="432"/>
                    </a:lnTo>
                    <a:lnTo>
                      <a:pt x="869" y="435"/>
                    </a:lnTo>
                    <a:lnTo>
                      <a:pt x="869" y="437"/>
                    </a:lnTo>
                    <a:lnTo>
                      <a:pt x="871" y="437"/>
                    </a:lnTo>
                    <a:lnTo>
                      <a:pt x="874" y="439"/>
                    </a:lnTo>
                    <a:lnTo>
                      <a:pt x="874" y="442"/>
                    </a:lnTo>
                    <a:lnTo>
                      <a:pt x="874" y="444"/>
                    </a:lnTo>
                    <a:lnTo>
                      <a:pt x="874" y="444"/>
                    </a:lnTo>
                    <a:lnTo>
                      <a:pt x="874" y="444"/>
                    </a:lnTo>
                    <a:lnTo>
                      <a:pt x="874" y="444"/>
                    </a:lnTo>
                    <a:lnTo>
                      <a:pt x="874" y="446"/>
                    </a:lnTo>
                    <a:lnTo>
                      <a:pt x="874" y="449"/>
                    </a:lnTo>
                    <a:lnTo>
                      <a:pt x="874" y="449"/>
                    </a:lnTo>
                    <a:lnTo>
                      <a:pt x="874" y="451"/>
                    </a:lnTo>
                    <a:lnTo>
                      <a:pt x="874" y="453"/>
                    </a:lnTo>
                    <a:lnTo>
                      <a:pt x="871" y="453"/>
                    </a:lnTo>
                    <a:lnTo>
                      <a:pt x="871" y="453"/>
                    </a:lnTo>
                    <a:lnTo>
                      <a:pt x="871" y="453"/>
                    </a:lnTo>
                    <a:lnTo>
                      <a:pt x="869" y="456"/>
                    </a:lnTo>
                    <a:lnTo>
                      <a:pt x="867" y="456"/>
                    </a:lnTo>
                    <a:lnTo>
                      <a:pt x="864" y="458"/>
                    </a:lnTo>
                    <a:lnTo>
                      <a:pt x="864" y="461"/>
                    </a:lnTo>
                    <a:lnTo>
                      <a:pt x="862" y="461"/>
                    </a:lnTo>
                    <a:lnTo>
                      <a:pt x="862" y="463"/>
                    </a:lnTo>
                    <a:lnTo>
                      <a:pt x="859" y="463"/>
                    </a:lnTo>
                    <a:lnTo>
                      <a:pt x="859" y="463"/>
                    </a:lnTo>
                    <a:lnTo>
                      <a:pt x="859" y="463"/>
                    </a:lnTo>
                    <a:lnTo>
                      <a:pt x="859" y="463"/>
                    </a:lnTo>
                    <a:lnTo>
                      <a:pt x="857" y="465"/>
                    </a:lnTo>
                    <a:lnTo>
                      <a:pt x="857" y="468"/>
                    </a:lnTo>
                    <a:lnTo>
                      <a:pt x="857" y="468"/>
                    </a:lnTo>
                    <a:lnTo>
                      <a:pt x="855" y="470"/>
                    </a:lnTo>
                    <a:lnTo>
                      <a:pt x="855" y="470"/>
                    </a:lnTo>
                    <a:lnTo>
                      <a:pt x="852" y="470"/>
                    </a:lnTo>
                    <a:lnTo>
                      <a:pt x="852" y="472"/>
                    </a:lnTo>
                    <a:lnTo>
                      <a:pt x="852" y="470"/>
                    </a:lnTo>
                    <a:lnTo>
                      <a:pt x="850" y="472"/>
                    </a:lnTo>
                    <a:lnTo>
                      <a:pt x="852" y="472"/>
                    </a:lnTo>
                    <a:lnTo>
                      <a:pt x="850" y="472"/>
                    </a:lnTo>
                    <a:lnTo>
                      <a:pt x="852" y="472"/>
                    </a:lnTo>
                    <a:lnTo>
                      <a:pt x="850" y="472"/>
                    </a:lnTo>
                    <a:lnTo>
                      <a:pt x="850" y="475"/>
                    </a:lnTo>
                    <a:lnTo>
                      <a:pt x="850" y="475"/>
                    </a:lnTo>
                    <a:lnTo>
                      <a:pt x="850" y="475"/>
                    </a:lnTo>
                    <a:lnTo>
                      <a:pt x="848" y="475"/>
                    </a:lnTo>
                    <a:lnTo>
                      <a:pt x="850" y="475"/>
                    </a:lnTo>
                    <a:lnTo>
                      <a:pt x="848" y="477"/>
                    </a:lnTo>
                    <a:lnTo>
                      <a:pt x="850" y="477"/>
                    </a:lnTo>
                    <a:lnTo>
                      <a:pt x="848" y="479"/>
                    </a:lnTo>
                    <a:lnTo>
                      <a:pt x="850" y="479"/>
                    </a:lnTo>
                    <a:lnTo>
                      <a:pt x="848" y="482"/>
                    </a:lnTo>
                    <a:lnTo>
                      <a:pt x="850" y="482"/>
                    </a:lnTo>
                    <a:lnTo>
                      <a:pt x="848" y="482"/>
                    </a:lnTo>
                    <a:lnTo>
                      <a:pt x="848" y="484"/>
                    </a:lnTo>
                    <a:lnTo>
                      <a:pt x="848" y="484"/>
                    </a:lnTo>
                    <a:lnTo>
                      <a:pt x="848" y="487"/>
                    </a:lnTo>
                    <a:lnTo>
                      <a:pt x="848" y="487"/>
                    </a:lnTo>
                    <a:lnTo>
                      <a:pt x="848" y="487"/>
                    </a:lnTo>
                    <a:lnTo>
                      <a:pt x="848" y="489"/>
                    </a:lnTo>
                    <a:lnTo>
                      <a:pt x="848" y="491"/>
                    </a:lnTo>
                    <a:lnTo>
                      <a:pt x="848" y="491"/>
                    </a:lnTo>
                    <a:lnTo>
                      <a:pt x="850" y="491"/>
                    </a:lnTo>
                    <a:lnTo>
                      <a:pt x="848" y="494"/>
                    </a:lnTo>
                    <a:lnTo>
                      <a:pt x="850" y="496"/>
                    </a:lnTo>
                    <a:lnTo>
                      <a:pt x="850" y="496"/>
                    </a:lnTo>
                    <a:lnTo>
                      <a:pt x="850" y="496"/>
                    </a:lnTo>
                    <a:lnTo>
                      <a:pt x="850" y="498"/>
                    </a:lnTo>
                    <a:lnTo>
                      <a:pt x="850" y="498"/>
                    </a:lnTo>
                    <a:lnTo>
                      <a:pt x="850" y="498"/>
                    </a:lnTo>
                    <a:lnTo>
                      <a:pt x="850" y="501"/>
                    </a:lnTo>
                    <a:lnTo>
                      <a:pt x="850" y="501"/>
                    </a:lnTo>
                    <a:lnTo>
                      <a:pt x="850" y="501"/>
                    </a:lnTo>
                    <a:lnTo>
                      <a:pt x="850" y="501"/>
                    </a:lnTo>
                    <a:lnTo>
                      <a:pt x="850" y="501"/>
                    </a:lnTo>
                    <a:lnTo>
                      <a:pt x="850" y="503"/>
                    </a:lnTo>
                    <a:lnTo>
                      <a:pt x="850" y="503"/>
                    </a:lnTo>
                    <a:lnTo>
                      <a:pt x="850" y="503"/>
                    </a:lnTo>
                    <a:lnTo>
                      <a:pt x="850" y="503"/>
                    </a:lnTo>
                    <a:lnTo>
                      <a:pt x="850" y="505"/>
                    </a:lnTo>
                    <a:lnTo>
                      <a:pt x="850" y="505"/>
                    </a:lnTo>
                    <a:lnTo>
                      <a:pt x="850" y="505"/>
                    </a:lnTo>
                    <a:lnTo>
                      <a:pt x="850" y="508"/>
                    </a:lnTo>
                    <a:lnTo>
                      <a:pt x="850" y="505"/>
                    </a:lnTo>
                    <a:lnTo>
                      <a:pt x="850" y="508"/>
                    </a:lnTo>
                    <a:lnTo>
                      <a:pt x="850" y="508"/>
                    </a:lnTo>
                    <a:lnTo>
                      <a:pt x="850" y="510"/>
                    </a:lnTo>
                    <a:lnTo>
                      <a:pt x="850" y="510"/>
                    </a:lnTo>
                    <a:lnTo>
                      <a:pt x="852" y="510"/>
                    </a:lnTo>
                    <a:lnTo>
                      <a:pt x="852" y="510"/>
                    </a:lnTo>
                    <a:lnTo>
                      <a:pt x="852" y="510"/>
                    </a:lnTo>
                    <a:lnTo>
                      <a:pt x="852" y="510"/>
                    </a:lnTo>
                    <a:lnTo>
                      <a:pt x="855" y="512"/>
                    </a:lnTo>
                    <a:lnTo>
                      <a:pt x="855" y="512"/>
                    </a:lnTo>
                    <a:lnTo>
                      <a:pt x="855" y="512"/>
                    </a:lnTo>
                    <a:lnTo>
                      <a:pt x="855" y="515"/>
                    </a:lnTo>
                    <a:lnTo>
                      <a:pt x="857" y="515"/>
                    </a:lnTo>
                    <a:lnTo>
                      <a:pt x="857" y="515"/>
                    </a:lnTo>
                    <a:lnTo>
                      <a:pt x="859" y="515"/>
                    </a:lnTo>
                    <a:lnTo>
                      <a:pt x="859" y="515"/>
                    </a:lnTo>
                    <a:lnTo>
                      <a:pt x="859" y="515"/>
                    </a:lnTo>
                    <a:lnTo>
                      <a:pt x="862" y="515"/>
                    </a:lnTo>
                    <a:lnTo>
                      <a:pt x="864" y="517"/>
                    </a:lnTo>
                    <a:lnTo>
                      <a:pt x="864" y="517"/>
                    </a:lnTo>
                    <a:lnTo>
                      <a:pt x="867" y="517"/>
                    </a:lnTo>
                    <a:lnTo>
                      <a:pt x="864" y="520"/>
                    </a:lnTo>
                    <a:lnTo>
                      <a:pt x="867" y="522"/>
                    </a:lnTo>
                    <a:lnTo>
                      <a:pt x="867" y="522"/>
                    </a:lnTo>
                    <a:lnTo>
                      <a:pt x="867" y="522"/>
                    </a:lnTo>
                    <a:lnTo>
                      <a:pt x="864" y="522"/>
                    </a:lnTo>
                    <a:lnTo>
                      <a:pt x="867" y="524"/>
                    </a:lnTo>
                    <a:lnTo>
                      <a:pt x="867" y="527"/>
                    </a:lnTo>
                    <a:lnTo>
                      <a:pt x="867" y="527"/>
                    </a:lnTo>
                    <a:lnTo>
                      <a:pt x="867" y="527"/>
                    </a:lnTo>
                    <a:lnTo>
                      <a:pt x="867" y="527"/>
                    </a:lnTo>
                    <a:lnTo>
                      <a:pt x="867" y="527"/>
                    </a:lnTo>
                    <a:lnTo>
                      <a:pt x="867" y="529"/>
                    </a:lnTo>
                    <a:lnTo>
                      <a:pt x="867" y="529"/>
                    </a:lnTo>
                    <a:lnTo>
                      <a:pt x="867" y="531"/>
                    </a:lnTo>
                    <a:lnTo>
                      <a:pt x="867" y="531"/>
                    </a:lnTo>
                    <a:lnTo>
                      <a:pt x="867" y="531"/>
                    </a:lnTo>
                    <a:lnTo>
                      <a:pt x="867" y="534"/>
                    </a:lnTo>
                    <a:lnTo>
                      <a:pt x="869" y="536"/>
                    </a:lnTo>
                    <a:lnTo>
                      <a:pt x="869" y="536"/>
                    </a:lnTo>
                    <a:lnTo>
                      <a:pt x="869" y="536"/>
                    </a:lnTo>
                    <a:lnTo>
                      <a:pt x="869" y="536"/>
                    </a:lnTo>
                    <a:lnTo>
                      <a:pt x="871" y="536"/>
                    </a:lnTo>
                    <a:lnTo>
                      <a:pt x="874" y="538"/>
                    </a:lnTo>
                    <a:lnTo>
                      <a:pt x="874" y="541"/>
                    </a:lnTo>
                    <a:lnTo>
                      <a:pt x="874" y="541"/>
                    </a:lnTo>
                    <a:lnTo>
                      <a:pt x="876" y="543"/>
                    </a:lnTo>
                    <a:lnTo>
                      <a:pt x="876" y="548"/>
                    </a:lnTo>
                    <a:lnTo>
                      <a:pt x="876" y="550"/>
                    </a:lnTo>
                    <a:lnTo>
                      <a:pt x="876" y="550"/>
                    </a:lnTo>
                    <a:lnTo>
                      <a:pt x="876" y="553"/>
                    </a:lnTo>
                    <a:lnTo>
                      <a:pt x="876" y="555"/>
                    </a:lnTo>
                    <a:lnTo>
                      <a:pt x="876" y="557"/>
                    </a:lnTo>
                    <a:lnTo>
                      <a:pt x="876" y="557"/>
                    </a:lnTo>
                    <a:lnTo>
                      <a:pt x="876" y="560"/>
                    </a:lnTo>
                    <a:lnTo>
                      <a:pt x="876" y="560"/>
                    </a:lnTo>
                    <a:lnTo>
                      <a:pt x="876" y="560"/>
                    </a:lnTo>
                    <a:lnTo>
                      <a:pt x="878" y="560"/>
                    </a:lnTo>
                    <a:lnTo>
                      <a:pt x="893" y="574"/>
                    </a:lnTo>
                    <a:lnTo>
                      <a:pt x="890" y="574"/>
                    </a:lnTo>
                    <a:lnTo>
                      <a:pt x="888" y="576"/>
                    </a:lnTo>
                    <a:lnTo>
                      <a:pt x="888" y="576"/>
                    </a:lnTo>
                    <a:lnTo>
                      <a:pt x="885" y="579"/>
                    </a:lnTo>
                    <a:lnTo>
                      <a:pt x="885" y="579"/>
                    </a:lnTo>
                    <a:lnTo>
                      <a:pt x="885" y="579"/>
                    </a:lnTo>
                    <a:lnTo>
                      <a:pt x="885" y="581"/>
                    </a:lnTo>
                    <a:lnTo>
                      <a:pt x="885" y="583"/>
                    </a:lnTo>
                    <a:lnTo>
                      <a:pt x="883" y="583"/>
                    </a:lnTo>
                    <a:lnTo>
                      <a:pt x="883" y="588"/>
                    </a:lnTo>
                    <a:lnTo>
                      <a:pt x="883" y="590"/>
                    </a:lnTo>
                    <a:lnTo>
                      <a:pt x="883" y="590"/>
                    </a:lnTo>
                    <a:lnTo>
                      <a:pt x="881" y="593"/>
                    </a:lnTo>
                    <a:lnTo>
                      <a:pt x="878" y="590"/>
                    </a:lnTo>
                    <a:lnTo>
                      <a:pt x="878" y="590"/>
                    </a:lnTo>
                    <a:lnTo>
                      <a:pt x="876" y="590"/>
                    </a:lnTo>
                    <a:lnTo>
                      <a:pt x="876" y="590"/>
                    </a:lnTo>
                    <a:lnTo>
                      <a:pt x="876" y="590"/>
                    </a:lnTo>
                    <a:lnTo>
                      <a:pt x="874" y="590"/>
                    </a:lnTo>
                    <a:lnTo>
                      <a:pt x="874" y="590"/>
                    </a:lnTo>
                    <a:lnTo>
                      <a:pt x="874" y="593"/>
                    </a:lnTo>
                    <a:lnTo>
                      <a:pt x="871" y="593"/>
                    </a:lnTo>
                    <a:lnTo>
                      <a:pt x="871" y="593"/>
                    </a:lnTo>
                    <a:lnTo>
                      <a:pt x="871" y="593"/>
                    </a:lnTo>
                    <a:lnTo>
                      <a:pt x="869" y="595"/>
                    </a:lnTo>
                    <a:lnTo>
                      <a:pt x="867" y="598"/>
                    </a:lnTo>
                    <a:lnTo>
                      <a:pt x="864" y="598"/>
                    </a:lnTo>
                    <a:lnTo>
                      <a:pt x="862" y="600"/>
                    </a:lnTo>
                    <a:lnTo>
                      <a:pt x="859" y="602"/>
                    </a:lnTo>
                    <a:lnTo>
                      <a:pt x="859" y="602"/>
                    </a:lnTo>
                    <a:lnTo>
                      <a:pt x="859" y="605"/>
                    </a:lnTo>
                    <a:lnTo>
                      <a:pt x="859" y="607"/>
                    </a:lnTo>
                    <a:lnTo>
                      <a:pt x="857" y="607"/>
                    </a:lnTo>
                    <a:lnTo>
                      <a:pt x="857" y="607"/>
                    </a:lnTo>
                    <a:lnTo>
                      <a:pt x="855" y="609"/>
                    </a:lnTo>
                    <a:lnTo>
                      <a:pt x="855" y="612"/>
                    </a:lnTo>
                    <a:lnTo>
                      <a:pt x="855" y="612"/>
                    </a:lnTo>
                    <a:lnTo>
                      <a:pt x="855" y="614"/>
                    </a:lnTo>
                    <a:lnTo>
                      <a:pt x="855" y="619"/>
                    </a:lnTo>
                    <a:lnTo>
                      <a:pt x="852" y="624"/>
                    </a:lnTo>
                    <a:lnTo>
                      <a:pt x="852" y="624"/>
                    </a:lnTo>
                    <a:lnTo>
                      <a:pt x="852" y="626"/>
                    </a:lnTo>
                    <a:lnTo>
                      <a:pt x="855" y="631"/>
                    </a:lnTo>
                    <a:lnTo>
                      <a:pt x="855" y="633"/>
                    </a:lnTo>
                    <a:lnTo>
                      <a:pt x="852" y="638"/>
                    </a:lnTo>
                    <a:lnTo>
                      <a:pt x="855" y="642"/>
                    </a:lnTo>
                    <a:lnTo>
                      <a:pt x="852" y="647"/>
                    </a:lnTo>
                    <a:lnTo>
                      <a:pt x="850" y="649"/>
                    </a:lnTo>
                    <a:lnTo>
                      <a:pt x="848" y="654"/>
                    </a:lnTo>
                    <a:lnTo>
                      <a:pt x="848" y="654"/>
                    </a:lnTo>
                    <a:lnTo>
                      <a:pt x="845" y="657"/>
                    </a:lnTo>
                    <a:lnTo>
                      <a:pt x="845" y="654"/>
                    </a:lnTo>
                    <a:lnTo>
                      <a:pt x="845" y="654"/>
                    </a:lnTo>
                    <a:lnTo>
                      <a:pt x="843" y="654"/>
                    </a:lnTo>
                    <a:lnTo>
                      <a:pt x="843" y="657"/>
                    </a:lnTo>
                    <a:lnTo>
                      <a:pt x="841" y="654"/>
                    </a:lnTo>
                    <a:lnTo>
                      <a:pt x="838" y="657"/>
                    </a:lnTo>
                    <a:lnTo>
                      <a:pt x="838" y="657"/>
                    </a:lnTo>
                    <a:lnTo>
                      <a:pt x="838" y="657"/>
                    </a:lnTo>
                    <a:lnTo>
                      <a:pt x="838" y="659"/>
                    </a:lnTo>
                    <a:lnTo>
                      <a:pt x="836" y="659"/>
                    </a:lnTo>
                    <a:lnTo>
                      <a:pt x="836" y="661"/>
                    </a:lnTo>
                    <a:lnTo>
                      <a:pt x="836" y="661"/>
                    </a:lnTo>
                    <a:lnTo>
                      <a:pt x="836" y="664"/>
                    </a:lnTo>
                    <a:lnTo>
                      <a:pt x="833" y="664"/>
                    </a:lnTo>
                    <a:lnTo>
                      <a:pt x="833" y="666"/>
                    </a:lnTo>
                    <a:lnTo>
                      <a:pt x="831" y="666"/>
                    </a:lnTo>
                    <a:lnTo>
                      <a:pt x="831" y="666"/>
                    </a:lnTo>
                    <a:lnTo>
                      <a:pt x="829" y="668"/>
                    </a:lnTo>
                    <a:lnTo>
                      <a:pt x="829" y="668"/>
                    </a:lnTo>
                    <a:lnTo>
                      <a:pt x="829" y="671"/>
                    </a:lnTo>
                    <a:lnTo>
                      <a:pt x="826" y="671"/>
                    </a:lnTo>
                    <a:lnTo>
                      <a:pt x="829" y="673"/>
                    </a:lnTo>
                    <a:lnTo>
                      <a:pt x="829" y="673"/>
                    </a:lnTo>
                    <a:lnTo>
                      <a:pt x="829" y="675"/>
                    </a:lnTo>
                    <a:lnTo>
                      <a:pt x="829" y="675"/>
                    </a:lnTo>
                    <a:lnTo>
                      <a:pt x="829" y="678"/>
                    </a:lnTo>
                    <a:lnTo>
                      <a:pt x="829" y="678"/>
                    </a:lnTo>
                    <a:lnTo>
                      <a:pt x="826" y="683"/>
                    </a:lnTo>
                    <a:lnTo>
                      <a:pt x="826" y="683"/>
                    </a:lnTo>
                    <a:lnTo>
                      <a:pt x="824" y="683"/>
                    </a:lnTo>
                    <a:lnTo>
                      <a:pt x="824" y="685"/>
                    </a:lnTo>
                    <a:lnTo>
                      <a:pt x="824" y="685"/>
                    </a:lnTo>
                    <a:lnTo>
                      <a:pt x="822" y="687"/>
                    </a:lnTo>
                    <a:lnTo>
                      <a:pt x="822" y="690"/>
                    </a:lnTo>
                    <a:lnTo>
                      <a:pt x="822" y="690"/>
                    </a:lnTo>
                    <a:lnTo>
                      <a:pt x="822" y="692"/>
                    </a:lnTo>
                    <a:lnTo>
                      <a:pt x="822" y="692"/>
                    </a:lnTo>
                    <a:lnTo>
                      <a:pt x="819" y="694"/>
                    </a:lnTo>
                    <a:lnTo>
                      <a:pt x="819" y="694"/>
                    </a:lnTo>
                    <a:lnTo>
                      <a:pt x="819" y="697"/>
                    </a:lnTo>
                    <a:lnTo>
                      <a:pt x="819" y="697"/>
                    </a:lnTo>
                    <a:lnTo>
                      <a:pt x="817" y="699"/>
                    </a:lnTo>
                    <a:lnTo>
                      <a:pt x="817" y="697"/>
                    </a:lnTo>
                    <a:lnTo>
                      <a:pt x="817" y="699"/>
                    </a:lnTo>
                    <a:lnTo>
                      <a:pt x="817" y="699"/>
                    </a:lnTo>
                    <a:lnTo>
                      <a:pt x="817" y="701"/>
                    </a:lnTo>
                    <a:lnTo>
                      <a:pt x="817" y="701"/>
                    </a:lnTo>
                    <a:lnTo>
                      <a:pt x="817" y="704"/>
                    </a:lnTo>
                    <a:lnTo>
                      <a:pt x="817" y="704"/>
                    </a:lnTo>
                    <a:lnTo>
                      <a:pt x="817" y="704"/>
                    </a:lnTo>
                    <a:lnTo>
                      <a:pt x="817" y="706"/>
                    </a:lnTo>
                    <a:lnTo>
                      <a:pt x="817" y="706"/>
                    </a:lnTo>
                    <a:lnTo>
                      <a:pt x="817" y="706"/>
                    </a:lnTo>
                    <a:lnTo>
                      <a:pt x="817" y="709"/>
                    </a:lnTo>
                    <a:lnTo>
                      <a:pt x="815" y="709"/>
                    </a:lnTo>
                    <a:lnTo>
                      <a:pt x="815" y="711"/>
                    </a:lnTo>
                    <a:lnTo>
                      <a:pt x="817" y="713"/>
                    </a:lnTo>
                    <a:lnTo>
                      <a:pt x="815" y="713"/>
                    </a:lnTo>
                    <a:lnTo>
                      <a:pt x="815" y="713"/>
                    </a:lnTo>
                    <a:lnTo>
                      <a:pt x="815" y="716"/>
                    </a:lnTo>
                    <a:lnTo>
                      <a:pt x="815" y="718"/>
                    </a:lnTo>
                    <a:lnTo>
                      <a:pt x="812" y="718"/>
                    </a:lnTo>
                    <a:lnTo>
                      <a:pt x="812" y="720"/>
                    </a:lnTo>
                    <a:lnTo>
                      <a:pt x="812" y="720"/>
                    </a:lnTo>
                    <a:lnTo>
                      <a:pt x="810" y="723"/>
                    </a:lnTo>
                    <a:lnTo>
                      <a:pt x="810" y="723"/>
                    </a:lnTo>
                    <a:lnTo>
                      <a:pt x="805" y="723"/>
                    </a:lnTo>
                    <a:lnTo>
                      <a:pt x="805" y="723"/>
                    </a:lnTo>
                    <a:lnTo>
                      <a:pt x="803" y="723"/>
                    </a:lnTo>
                    <a:lnTo>
                      <a:pt x="803" y="725"/>
                    </a:lnTo>
                    <a:lnTo>
                      <a:pt x="803" y="723"/>
                    </a:lnTo>
                    <a:lnTo>
                      <a:pt x="800" y="725"/>
                    </a:lnTo>
                    <a:lnTo>
                      <a:pt x="796" y="727"/>
                    </a:lnTo>
                    <a:lnTo>
                      <a:pt x="796" y="730"/>
                    </a:lnTo>
                    <a:lnTo>
                      <a:pt x="793" y="730"/>
                    </a:lnTo>
                    <a:lnTo>
                      <a:pt x="793" y="730"/>
                    </a:lnTo>
                    <a:lnTo>
                      <a:pt x="793" y="730"/>
                    </a:lnTo>
                    <a:lnTo>
                      <a:pt x="793" y="732"/>
                    </a:lnTo>
                    <a:lnTo>
                      <a:pt x="791" y="732"/>
                    </a:lnTo>
                    <a:lnTo>
                      <a:pt x="789" y="732"/>
                    </a:lnTo>
                    <a:lnTo>
                      <a:pt x="789" y="735"/>
                    </a:lnTo>
                    <a:lnTo>
                      <a:pt x="789" y="735"/>
                    </a:lnTo>
                    <a:lnTo>
                      <a:pt x="786" y="732"/>
                    </a:lnTo>
                    <a:lnTo>
                      <a:pt x="784" y="735"/>
                    </a:lnTo>
                    <a:lnTo>
                      <a:pt x="784" y="735"/>
                    </a:lnTo>
                    <a:lnTo>
                      <a:pt x="781" y="735"/>
                    </a:lnTo>
                    <a:lnTo>
                      <a:pt x="781" y="737"/>
                    </a:lnTo>
                    <a:lnTo>
                      <a:pt x="781" y="737"/>
                    </a:lnTo>
                    <a:lnTo>
                      <a:pt x="781" y="737"/>
                    </a:lnTo>
                    <a:lnTo>
                      <a:pt x="781" y="739"/>
                    </a:lnTo>
                    <a:lnTo>
                      <a:pt x="779" y="739"/>
                    </a:lnTo>
                    <a:lnTo>
                      <a:pt x="779" y="739"/>
                    </a:lnTo>
                    <a:lnTo>
                      <a:pt x="779" y="739"/>
                    </a:lnTo>
                    <a:lnTo>
                      <a:pt x="779" y="739"/>
                    </a:lnTo>
                    <a:lnTo>
                      <a:pt x="777" y="742"/>
                    </a:lnTo>
                    <a:lnTo>
                      <a:pt x="777" y="742"/>
                    </a:lnTo>
                    <a:lnTo>
                      <a:pt x="777" y="742"/>
                    </a:lnTo>
                    <a:lnTo>
                      <a:pt x="774" y="744"/>
                    </a:lnTo>
                    <a:lnTo>
                      <a:pt x="777" y="744"/>
                    </a:lnTo>
                    <a:lnTo>
                      <a:pt x="774" y="744"/>
                    </a:lnTo>
                    <a:lnTo>
                      <a:pt x="774" y="744"/>
                    </a:lnTo>
                    <a:lnTo>
                      <a:pt x="774" y="744"/>
                    </a:lnTo>
                    <a:lnTo>
                      <a:pt x="774" y="744"/>
                    </a:lnTo>
                    <a:lnTo>
                      <a:pt x="774" y="746"/>
                    </a:lnTo>
                    <a:lnTo>
                      <a:pt x="774" y="746"/>
                    </a:lnTo>
                    <a:lnTo>
                      <a:pt x="774" y="746"/>
                    </a:lnTo>
                    <a:lnTo>
                      <a:pt x="774" y="749"/>
                    </a:lnTo>
                    <a:lnTo>
                      <a:pt x="772" y="749"/>
                    </a:lnTo>
                    <a:lnTo>
                      <a:pt x="772" y="749"/>
                    </a:lnTo>
                    <a:lnTo>
                      <a:pt x="774" y="749"/>
                    </a:lnTo>
                    <a:lnTo>
                      <a:pt x="772" y="751"/>
                    </a:lnTo>
                    <a:lnTo>
                      <a:pt x="770" y="749"/>
                    </a:lnTo>
                    <a:lnTo>
                      <a:pt x="767" y="749"/>
                    </a:lnTo>
                    <a:lnTo>
                      <a:pt x="765" y="749"/>
                    </a:lnTo>
                    <a:lnTo>
                      <a:pt x="765" y="746"/>
                    </a:lnTo>
                    <a:lnTo>
                      <a:pt x="765" y="746"/>
                    </a:lnTo>
                    <a:lnTo>
                      <a:pt x="763" y="744"/>
                    </a:lnTo>
                    <a:lnTo>
                      <a:pt x="760" y="744"/>
                    </a:lnTo>
                    <a:lnTo>
                      <a:pt x="760" y="742"/>
                    </a:lnTo>
                    <a:lnTo>
                      <a:pt x="758" y="742"/>
                    </a:lnTo>
                    <a:lnTo>
                      <a:pt x="756" y="742"/>
                    </a:lnTo>
                    <a:lnTo>
                      <a:pt x="753" y="739"/>
                    </a:lnTo>
                    <a:lnTo>
                      <a:pt x="751" y="739"/>
                    </a:lnTo>
                    <a:lnTo>
                      <a:pt x="748" y="735"/>
                    </a:lnTo>
                    <a:lnTo>
                      <a:pt x="746" y="735"/>
                    </a:lnTo>
                    <a:lnTo>
                      <a:pt x="746" y="732"/>
                    </a:lnTo>
                    <a:lnTo>
                      <a:pt x="746" y="730"/>
                    </a:lnTo>
                    <a:lnTo>
                      <a:pt x="746" y="730"/>
                    </a:lnTo>
                    <a:lnTo>
                      <a:pt x="746" y="730"/>
                    </a:lnTo>
                    <a:lnTo>
                      <a:pt x="744" y="732"/>
                    </a:lnTo>
                    <a:lnTo>
                      <a:pt x="741" y="732"/>
                    </a:lnTo>
                    <a:lnTo>
                      <a:pt x="741" y="730"/>
                    </a:lnTo>
                    <a:lnTo>
                      <a:pt x="739" y="730"/>
                    </a:lnTo>
                    <a:lnTo>
                      <a:pt x="739" y="730"/>
                    </a:lnTo>
                    <a:lnTo>
                      <a:pt x="739" y="730"/>
                    </a:lnTo>
                    <a:lnTo>
                      <a:pt x="739" y="730"/>
                    </a:lnTo>
                    <a:lnTo>
                      <a:pt x="737" y="732"/>
                    </a:lnTo>
                    <a:lnTo>
                      <a:pt x="734" y="727"/>
                    </a:lnTo>
                    <a:lnTo>
                      <a:pt x="737" y="727"/>
                    </a:lnTo>
                    <a:lnTo>
                      <a:pt x="737" y="730"/>
                    </a:lnTo>
                    <a:lnTo>
                      <a:pt x="737" y="727"/>
                    </a:lnTo>
                    <a:lnTo>
                      <a:pt x="737" y="727"/>
                    </a:lnTo>
                    <a:lnTo>
                      <a:pt x="737" y="725"/>
                    </a:lnTo>
                    <a:lnTo>
                      <a:pt x="737" y="725"/>
                    </a:lnTo>
                    <a:lnTo>
                      <a:pt x="737" y="725"/>
                    </a:lnTo>
                    <a:lnTo>
                      <a:pt x="739" y="725"/>
                    </a:lnTo>
                    <a:lnTo>
                      <a:pt x="734" y="723"/>
                    </a:lnTo>
                    <a:lnTo>
                      <a:pt x="734" y="723"/>
                    </a:lnTo>
                    <a:lnTo>
                      <a:pt x="732" y="723"/>
                    </a:lnTo>
                    <a:lnTo>
                      <a:pt x="730" y="723"/>
                    </a:lnTo>
                    <a:lnTo>
                      <a:pt x="730" y="723"/>
                    </a:lnTo>
                    <a:lnTo>
                      <a:pt x="730" y="723"/>
                    </a:lnTo>
                    <a:lnTo>
                      <a:pt x="732" y="725"/>
                    </a:lnTo>
                    <a:lnTo>
                      <a:pt x="732" y="725"/>
                    </a:lnTo>
                    <a:lnTo>
                      <a:pt x="730" y="725"/>
                    </a:lnTo>
                    <a:lnTo>
                      <a:pt x="730" y="725"/>
                    </a:lnTo>
                    <a:lnTo>
                      <a:pt x="727" y="725"/>
                    </a:lnTo>
                    <a:lnTo>
                      <a:pt x="727" y="725"/>
                    </a:lnTo>
                    <a:lnTo>
                      <a:pt x="725" y="723"/>
                    </a:lnTo>
                    <a:lnTo>
                      <a:pt x="725" y="723"/>
                    </a:lnTo>
                    <a:lnTo>
                      <a:pt x="725" y="725"/>
                    </a:lnTo>
                    <a:lnTo>
                      <a:pt x="725" y="727"/>
                    </a:lnTo>
                    <a:lnTo>
                      <a:pt x="725" y="727"/>
                    </a:lnTo>
                    <a:lnTo>
                      <a:pt x="722" y="730"/>
                    </a:lnTo>
                    <a:lnTo>
                      <a:pt x="720" y="727"/>
                    </a:lnTo>
                    <a:lnTo>
                      <a:pt x="718" y="730"/>
                    </a:lnTo>
                    <a:lnTo>
                      <a:pt x="720" y="725"/>
                    </a:lnTo>
                    <a:lnTo>
                      <a:pt x="718" y="725"/>
                    </a:lnTo>
                    <a:lnTo>
                      <a:pt x="718" y="727"/>
                    </a:lnTo>
                    <a:lnTo>
                      <a:pt x="718" y="727"/>
                    </a:lnTo>
                    <a:lnTo>
                      <a:pt x="718" y="730"/>
                    </a:lnTo>
                    <a:lnTo>
                      <a:pt x="718" y="727"/>
                    </a:lnTo>
                    <a:lnTo>
                      <a:pt x="718" y="727"/>
                    </a:lnTo>
                    <a:lnTo>
                      <a:pt x="715" y="725"/>
                    </a:lnTo>
                    <a:lnTo>
                      <a:pt x="713" y="725"/>
                    </a:lnTo>
                    <a:lnTo>
                      <a:pt x="713" y="725"/>
                    </a:lnTo>
                    <a:lnTo>
                      <a:pt x="713" y="727"/>
                    </a:lnTo>
                    <a:lnTo>
                      <a:pt x="713" y="727"/>
                    </a:lnTo>
                    <a:lnTo>
                      <a:pt x="711" y="730"/>
                    </a:lnTo>
                    <a:lnTo>
                      <a:pt x="711" y="727"/>
                    </a:lnTo>
                    <a:lnTo>
                      <a:pt x="708" y="730"/>
                    </a:lnTo>
                    <a:lnTo>
                      <a:pt x="708" y="727"/>
                    </a:lnTo>
                    <a:lnTo>
                      <a:pt x="706" y="727"/>
                    </a:lnTo>
                    <a:lnTo>
                      <a:pt x="706" y="725"/>
                    </a:lnTo>
                    <a:lnTo>
                      <a:pt x="706" y="725"/>
                    </a:lnTo>
                    <a:lnTo>
                      <a:pt x="706" y="725"/>
                    </a:lnTo>
                    <a:lnTo>
                      <a:pt x="704" y="725"/>
                    </a:lnTo>
                    <a:lnTo>
                      <a:pt x="701" y="725"/>
                    </a:lnTo>
                    <a:lnTo>
                      <a:pt x="701" y="725"/>
                    </a:lnTo>
                    <a:lnTo>
                      <a:pt x="701" y="723"/>
                    </a:lnTo>
                    <a:lnTo>
                      <a:pt x="699" y="723"/>
                    </a:lnTo>
                    <a:lnTo>
                      <a:pt x="699" y="723"/>
                    </a:lnTo>
                    <a:lnTo>
                      <a:pt x="699" y="725"/>
                    </a:lnTo>
                    <a:lnTo>
                      <a:pt x="696" y="725"/>
                    </a:lnTo>
                    <a:lnTo>
                      <a:pt x="694" y="725"/>
                    </a:lnTo>
                    <a:lnTo>
                      <a:pt x="694" y="727"/>
                    </a:lnTo>
                    <a:lnTo>
                      <a:pt x="692" y="727"/>
                    </a:lnTo>
                    <a:lnTo>
                      <a:pt x="687" y="727"/>
                    </a:lnTo>
                    <a:lnTo>
                      <a:pt x="685" y="727"/>
                    </a:lnTo>
                    <a:lnTo>
                      <a:pt x="685" y="730"/>
                    </a:lnTo>
                    <a:lnTo>
                      <a:pt x="685" y="730"/>
                    </a:lnTo>
                    <a:lnTo>
                      <a:pt x="685" y="730"/>
                    </a:lnTo>
                    <a:lnTo>
                      <a:pt x="682" y="730"/>
                    </a:lnTo>
                    <a:lnTo>
                      <a:pt x="678" y="732"/>
                    </a:lnTo>
                    <a:lnTo>
                      <a:pt x="675" y="730"/>
                    </a:lnTo>
                    <a:lnTo>
                      <a:pt x="673" y="730"/>
                    </a:lnTo>
                    <a:lnTo>
                      <a:pt x="670" y="730"/>
                    </a:lnTo>
                    <a:lnTo>
                      <a:pt x="668" y="730"/>
                    </a:lnTo>
                    <a:lnTo>
                      <a:pt x="668" y="727"/>
                    </a:lnTo>
                    <a:lnTo>
                      <a:pt x="666" y="727"/>
                    </a:lnTo>
                    <a:lnTo>
                      <a:pt x="666" y="727"/>
                    </a:lnTo>
                    <a:lnTo>
                      <a:pt x="663" y="727"/>
                    </a:lnTo>
                    <a:lnTo>
                      <a:pt x="663" y="725"/>
                    </a:lnTo>
                    <a:lnTo>
                      <a:pt x="663" y="723"/>
                    </a:lnTo>
                    <a:lnTo>
                      <a:pt x="663" y="723"/>
                    </a:lnTo>
                    <a:lnTo>
                      <a:pt x="663" y="723"/>
                    </a:lnTo>
                    <a:lnTo>
                      <a:pt x="663" y="725"/>
                    </a:lnTo>
                    <a:lnTo>
                      <a:pt x="661" y="725"/>
                    </a:lnTo>
                    <a:lnTo>
                      <a:pt x="659" y="725"/>
                    </a:lnTo>
                    <a:lnTo>
                      <a:pt x="659" y="725"/>
                    </a:lnTo>
                    <a:lnTo>
                      <a:pt x="659" y="725"/>
                    </a:lnTo>
                    <a:lnTo>
                      <a:pt x="656" y="725"/>
                    </a:lnTo>
                    <a:lnTo>
                      <a:pt x="656" y="725"/>
                    </a:lnTo>
                    <a:lnTo>
                      <a:pt x="656" y="725"/>
                    </a:lnTo>
                    <a:lnTo>
                      <a:pt x="654" y="725"/>
                    </a:lnTo>
                    <a:lnTo>
                      <a:pt x="654" y="727"/>
                    </a:lnTo>
                    <a:lnTo>
                      <a:pt x="654" y="727"/>
                    </a:lnTo>
                    <a:lnTo>
                      <a:pt x="652" y="725"/>
                    </a:lnTo>
                    <a:lnTo>
                      <a:pt x="652" y="725"/>
                    </a:lnTo>
                    <a:lnTo>
                      <a:pt x="649" y="725"/>
                    </a:lnTo>
                    <a:lnTo>
                      <a:pt x="647" y="725"/>
                    </a:lnTo>
                    <a:lnTo>
                      <a:pt x="649" y="725"/>
                    </a:lnTo>
                    <a:lnTo>
                      <a:pt x="647" y="725"/>
                    </a:lnTo>
                    <a:lnTo>
                      <a:pt x="644" y="727"/>
                    </a:lnTo>
                    <a:lnTo>
                      <a:pt x="644" y="727"/>
                    </a:lnTo>
                    <a:lnTo>
                      <a:pt x="644" y="727"/>
                    </a:lnTo>
                    <a:lnTo>
                      <a:pt x="642" y="727"/>
                    </a:lnTo>
                    <a:lnTo>
                      <a:pt x="642" y="727"/>
                    </a:lnTo>
                    <a:lnTo>
                      <a:pt x="640" y="727"/>
                    </a:lnTo>
                    <a:lnTo>
                      <a:pt x="642" y="730"/>
                    </a:lnTo>
                    <a:lnTo>
                      <a:pt x="640" y="730"/>
                    </a:lnTo>
                    <a:lnTo>
                      <a:pt x="640" y="730"/>
                    </a:lnTo>
                    <a:lnTo>
                      <a:pt x="640" y="727"/>
                    </a:lnTo>
                    <a:lnTo>
                      <a:pt x="637" y="727"/>
                    </a:lnTo>
                    <a:lnTo>
                      <a:pt x="637" y="730"/>
                    </a:lnTo>
                    <a:lnTo>
                      <a:pt x="637" y="730"/>
                    </a:lnTo>
                    <a:lnTo>
                      <a:pt x="635" y="730"/>
                    </a:lnTo>
                    <a:lnTo>
                      <a:pt x="633" y="727"/>
                    </a:lnTo>
                    <a:lnTo>
                      <a:pt x="633" y="730"/>
                    </a:lnTo>
                    <a:lnTo>
                      <a:pt x="633" y="730"/>
                    </a:lnTo>
                    <a:lnTo>
                      <a:pt x="633" y="730"/>
                    </a:lnTo>
                    <a:lnTo>
                      <a:pt x="630" y="730"/>
                    </a:lnTo>
                    <a:lnTo>
                      <a:pt x="630" y="732"/>
                    </a:lnTo>
                    <a:lnTo>
                      <a:pt x="630" y="730"/>
                    </a:lnTo>
                    <a:lnTo>
                      <a:pt x="630" y="730"/>
                    </a:lnTo>
                    <a:lnTo>
                      <a:pt x="630" y="727"/>
                    </a:lnTo>
                    <a:lnTo>
                      <a:pt x="628" y="727"/>
                    </a:lnTo>
                    <a:lnTo>
                      <a:pt x="628" y="730"/>
                    </a:lnTo>
                    <a:lnTo>
                      <a:pt x="626" y="730"/>
                    </a:lnTo>
                    <a:lnTo>
                      <a:pt x="626" y="725"/>
                    </a:lnTo>
                    <a:lnTo>
                      <a:pt x="626" y="725"/>
                    </a:lnTo>
                    <a:lnTo>
                      <a:pt x="626" y="723"/>
                    </a:lnTo>
                    <a:lnTo>
                      <a:pt x="626" y="720"/>
                    </a:lnTo>
                    <a:lnTo>
                      <a:pt x="623" y="716"/>
                    </a:lnTo>
                    <a:lnTo>
                      <a:pt x="623" y="716"/>
                    </a:lnTo>
                    <a:lnTo>
                      <a:pt x="621" y="716"/>
                    </a:lnTo>
                    <a:lnTo>
                      <a:pt x="621" y="716"/>
                    </a:lnTo>
                    <a:lnTo>
                      <a:pt x="618" y="716"/>
                    </a:lnTo>
                    <a:lnTo>
                      <a:pt x="618" y="713"/>
                    </a:lnTo>
                    <a:lnTo>
                      <a:pt x="616" y="713"/>
                    </a:lnTo>
                    <a:lnTo>
                      <a:pt x="616" y="713"/>
                    </a:lnTo>
                    <a:lnTo>
                      <a:pt x="616" y="713"/>
                    </a:lnTo>
                    <a:lnTo>
                      <a:pt x="614" y="713"/>
                    </a:lnTo>
                    <a:lnTo>
                      <a:pt x="614" y="711"/>
                    </a:lnTo>
                    <a:lnTo>
                      <a:pt x="614" y="711"/>
                    </a:lnTo>
                    <a:lnTo>
                      <a:pt x="614" y="711"/>
                    </a:lnTo>
                    <a:lnTo>
                      <a:pt x="614" y="709"/>
                    </a:lnTo>
                    <a:lnTo>
                      <a:pt x="614" y="706"/>
                    </a:lnTo>
                    <a:lnTo>
                      <a:pt x="609" y="706"/>
                    </a:lnTo>
                    <a:lnTo>
                      <a:pt x="609" y="706"/>
                    </a:lnTo>
                    <a:lnTo>
                      <a:pt x="611" y="706"/>
                    </a:lnTo>
                    <a:lnTo>
                      <a:pt x="609" y="709"/>
                    </a:lnTo>
                    <a:lnTo>
                      <a:pt x="609" y="706"/>
                    </a:lnTo>
                    <a:lnTo>
                      <a:pt x="609" y="701"/>
                    </a:lnTo>
                    <a:lnTo>
                      <a:pt x="607" y="701"/>
                    </a:lnTo>
                    <a:lnTo>
                      <a:pt x="607" y="701"/>
                    </a:lnTo>
                    <a:lnTo>
                      <a:pt x="607" y="704"/>
                    </a:lnTo>
                    <a:lnTo>
                      <a:pt x="604" y="701"/>
                    </a:lnTo>
                    <a:lnTo>
                      <a:pt x="602" y="701"/>
                    </a:lnTo>
                    <a:lnTo>
                      <a:pt x="602" y="697"/>
                    </a:lnTo>
                    <a:lnTo>
                      <a:pt x="600" y="697"/>
                    </a:lnTo>
                    <a:lnTo>
                      <a:pt x="600" y="697"/>
                    </a:lnTo>
                    <a:lnTo>
                      <a:pt x="600" y="697"/>
                    </a:lnTo>
                    <a:lnTo>
                      <a:pt x="597" y="697"/>
                    </a:lnTo>
                    <a:lnTo>
                      <a:pt x="597" y="694"/>
                    </a:lnTo>
                    <a:lnTo>
                      <a:pt x="595" y="692"/>
                    </a:lnTo>
                    <a:lnTo>
                      <a:pt x="595" y="692"/>
                    </a:lnTo>
                    <a:lnTo>
                      <a:pt x="597" y="690"/>
                    </a:lnTo>
                    <a:lnTo>
                      <a:pt x="597" y="687"/>
                    </a:lnTo>
                    <a:lnTo>
                      <a:pt x="595" y="687"/>
                    </a:lnTo>
                    <a:lnTo>
                      <a:pt x="595" y="683"/>
                    </a:lnTo>
                    <a:lnTo>
                      <a:pt x="595" y="680"/>
                    </a:lnTo>
                    <a:lnTo>
                      <a:pt x="595" y="680"/>
                    </a:lnTo>
                    <a:lnTo>
                      <a:pt x="593" y="678"/>
                    </a:lnTo>
                    <a:lnTo>
                      <a:pt x="593" y="678"/>
                    </a:lnTo>
                    <a:lnTo>
                      <a:pt x="593" y="680"/>
                    </a:lnTo>
                    <a:lnTo>
                      <a:pt x="590" y="680"/>
                    </a:lnTo>
                    <a:lnTo>
                      <a:pt x="590" y="678"/>
                    </a:lnTo>
                    <a:lnTo>
                      <a:pt x="590" y="678"/>
                    </a:lnTo>
                    <a:lnTo>
                      <a:pt x="588" y="678"/>
                    </a:lnTo>
                    <a:lnTo>
                      <a:pt x="588" y="675"/>
                    </a:lnTo>
                    <a:lnTo>
                      <a:pt x="588" y="675"/>
                    </a:lnTo>
                    <a:lnTo>
                      <a:pt x="588" y="675"/>
                    </a:lnTo>
                    <a:lnTo>
                      <a:pt x="588" y="678"/>
                    </a:lnTo>
                    <a:lnTo>
                      <a:pt x="588" y="678"/>
                    </a:lnTo>
                    <a:lnTo>
                      <a:pt x="585" y="680"/>
                    </a:lnTo>
                    <a:lnTo>
                      <a:pt x="583" y="678"/>
                    </a:lnTo>
                    <a:lnTo>
                      <a:pt x="583" y="675"/>
                    </a:lnTo>
                    <a:lnTo>
                      <a:pt x="583" y="673"/>
                    </a:lnTo>
                    <a:lnTo>
                      <a:pt x="581" y="673"/>
                    </a:lnTo>
                    <a:lnTo>
                      <a:pt x="581" y="675"/>
                    </a:lnTo>
                    <a:lnTo>
                      <a:pt x="581" y="675"/>
                    </a:lnTo>
                    <a:lnTo>
                      <a:pt x="578" y="675"/>
                    </a:lnTo>
                    <a:lnTo>
                      <a:pt x="578" y="678"/>
                    </a:lnTo>
                    <a:lnTo>
                      <a:pt x="576" y="678"/>
                    </a:lnTo>
                    <a:lnTo>
                      <a:pt x="576" y="678"/>
                    </a:lnTo>
                    <a:lnTo>
                      <a:pt x="574" y="678"/>
                    </a:lnTo>
                    <a:lnTo>
                      <a:pt x="576" y="680"/>
                    </a:lnTo>
                    <a:lnTo>
                      <a:pt x="574" y="680"/>
                    </a:lnTo>
                    <a:lnTo>
                      <a:pt x="574" y="678"/>
                    </a:lnTo>
                    <a:lnTo>
                      <a:pt x="571" y="678"/>
                    </a:lnTo>
                    <a:lnTo>
                      <a:pt x="571" y="678"/>
                    </a:lnTo>
                    <a:lnTo>
                      <a:pt x="569" y="678"/>
                    </a:lnTo>
                    <a:lnTo>
                      <a:pt x="569" y="678"/>
                    </a:lnTo>
                    <a:lnTo>
                      <a:pt x="569" y="678"/>
                    </a:lnTo>
                    <a:lnTo>
                      <a:pt x="567" y="678"/>
                    </a:lnTo>
                    <a:lnTo>
                      <a:pt x="567" y="678"/>
                    </a:lnTo>
                    <a:lnTo>
                      <a:pt x="567" y="678"/>
                    </a:lnTo>
                    <a:lnTo>
                      <a:pt x="567" y="678"/>
                    </a:lnTo>
                    <a:lnTo>
                      <a:pt x="564" y="678"/>
                    </a:lnTo>
                    <a:lnTo>
                      <a:pt x="564" y="678"/>
                    </a:lnTo>
                    <a:lnTo>
                      <a:pt x="562" y="678"/>
                    </a:lnTo>
                    <a:lnTo>
                      <a:pt x="562" y="675"/>
                    </a:lnTo>
                    <a:lnTo>
                      <a:pt x="559" y="678"/>
                    </a:lnTo>
                    <a:lnTo>
                      <a:pt x="559" y="675"/>
                    </a:lnTo>
                    <a:lnTo>
                      <a:pt x="559" y="675"/>
                    </a:lnTo>
                    <a:lnTo>
                      <a:pt x="559" y="673"/>
                    </a:lnTo>
                    <a:lnTo>
                      <a:pt x="557" y="675"/>
                    </a:lnTo>
                    <a:lnTo>
                      <a:pt x="557" y="675"/>
                    </a:lnTo>
                    <a:lnTo>
                      <a:pt x="555" y="673"/>
                    </a:lnTo>
                    <a:lnTo>
                      <a:pt x="555" y="671"/>
                    </a:lnTo>
                    <a:lnTo>
                      <a:pt x="555" y="668"/>
                    </a:lnTo>
                    <a:lnTo>
                      <a:pt x="552" y="668"/>
                    </a:lnTo>
                    <a:lnTo>
                      <a:pt x="552" y="671"/>
                    </a:lnTo>
                    <a:lnTo>
                      <a:pt x="552" y="671"/>
                    </a:lnTo>
                    <a:lnTo>
                      <a:pt x="552" y="668"/>
                    </a:lnTo>
                    <a:lnTo>
                      <a:pt x="552" y="668"/>
                    </a:lnTo>
                    <a:lnTo>
                      <a:pt x="552" y="668"/>
                    </a:lnTo>
                    <a:lnTo>
                      <a:pt x="550" y="668"/>
                    </a:lnTo>
                    <a:lnTo>
                      <a:pt x="550" y="668"/>
                    </a:lnTo>
                    <a:lnTo>
                      <a:pt x="550" y="666"/>
                    </a:lnTo>
                    <a:lnTo>
                      <a:pt x="550" y="666"/>
                    </a:lnTo>
                    <a:lnTo>
                      <a:pt x="548" y="668"/>
                    </a:lnTo>
                    <a:lnTo>
                      <a:pt x="550" y="668"/>
                    </a:lnTo>
                    <a:lnTo>
                      <a:pt x="545" y="671"/>
                    </a:lnTo>
                    <a:lnTo>
                      <a:pt x="543" y="668"/>
                    </a:lnTo>
                    <a:lnTo>
                      <a:pt x="543" y="668"/>
                    </a:lnTo>
                    <a:lnTo>
                      <a:pt x="541" y="668"/>
                    </a:lnTo>
                    <a:lnTo>
                      <a:pt x="538" y="668"/>
                    </a:lnTo>
                    <a:lnTo>
                      <a:pt x="531" y="664"/>
                    </a:lnTo>
                    <a:lnTo>
                      <a:pt x="531" y="661"/>
                    </a:lnTo>
                    <a:lnTo>
                      <a:pt x="533" y="661"/>
                    </a:lnTo>
                    <a:lnTo>
                      <a:pt x="533" y="661"/>
                    </a:lnTo>
                    <a:lnTo>
                      <a:pt x="531" y="661"/>
                    </a:lnTo>
                    <a:lnTo>
                      <a:pt x="531" y="661"/>
                    </a:lnTo>
                    <a:lnTo>
                      <a:pt x="529" y="661"/>
                    </a:lnTo>
                    <a:lnTo>
                      <a:pt x="531" y="659"/>
                    </a:lnTo>
                    <a:lnTo>
                      <a:pt x="531" y="659"/>
                    </a:lnTo>
                    <a:lnTo>
                      <a:pt x="529" y="659"/>
                    </a:lnTo>
                    <a:lnTo>
                      <a:pt x="526" y="659"/>
                    </a:lnTo>
                    <a:lnTo>
                      <a:pt x="529" y="657"/>
                    </a:lnTo>
                    <a:lnTo>
                      <a:pt x="529" y="654"/>
                    </a:lnTo>
                    <a:lnTo>
                      <a:pt x="526" y="654"/>
                    </a:lnTo>
                    <a:lnTo>
                      <a:pt x="526" y="657"/>
                    </a:lnTo>
                    <a:lnTo>
                      <a:pt x="526" y="657"/>
                    </a:lnTo>
                    <a:lnTo>
                      <a:pt x="524" y="659"/>
                    </a:lnTo>
                    <a:lnTo>
                      <a:pt x="522" y="659"/>
                    </a:lnTo>
                    <a:lnTo>
                      <a:pt x="522" y="659"/>
                    </a:lnTo>
                    <a:lnTo>
                      <a:pt x="522" y="659"/>
                    </a:lnTo>
                    <a:lnTo>
                      <a:pt x="519" y="659"/>
                    </a:lnTo>
                    <a:lnTo>
                      <a:pt x="517" y="659"/>
                    </a:lnTo>
                    <a:lnTo>
                      <a:pt x="517" y="661"/>
                    </a:lnTo>
                    <a:lnTo>
                      <a:pt x="517" y="661"/>
                    </a:lnTo>
                    <a:lnTo>
                      <a:pt x="517" y="661"/>
                    </a:lnTo>
                    <a:lnTo>
                      <a:pt x="515" y="661"/>
                    </a:lnTo>
                    <a:lnTo>
                      <a:pt x="515" y="659"/>
                    </a:lnTo>
                    <a:lnTo>
                      <a:pt x="515" y="659"/>
                    </a:lnTo>
                    <a:lnTo>
                      <a:pt x="515" y="661"/>
                    </a:lnTo>
                    <a:lnTo>
                      <a:pt x="510" y="661"/>
                    </a:lnTo>
                    <a:lnTo>
                      <a:pt x="510" y="659"/>
                    </a:lnTo>
                    <a:lnTo>
                      <a:pt x="507" y="654"/>
                    </a:lnTo>
                    <a:lnTo>
                      <a:pt x="507" y="654"/>
                    </a:lnTo>
                    <a:lnTo>
                      <a:pt x="507" y="652"/>
                    </a:lnTo>
                    <a:lnTo>
                      <a:pt x="507" y="652"/>
                    </a:lnTo>
                    <a:lnTo>
                      <a:pt x="505" y="649"/>
                    </a:lnTo>
                    <a:lnTo>
                      <a:pt x="505" y="652"/>
                    </a:lnTo>
                    <a:lnTo>
                      <a:pt x="503" y="652"/>
                    </a:lnTo>
                    <a:lnTo>
                      <a:pt x="503" y="652"/>
                    </a:lnTo>
                    <a:lnTo>
                      <a:pt x="500" y="652"/>
                    </a:lnTo>
                    <a:lnTo>
                      <a:pt x="503" y="649"/>
                    </a:lnTo>
                    <a:lnTo>
                      <a:pt x="500" y="647"/>
                    </a:lnTo>
                    <a:lnTo>
                      <a:pt x="500" y="647"/>
                    </a:lnTo>
                    <a:lnTo>
                      <a:pt x="498" y="645"/>
                    </a:lnTo>
                    <a:lnTo>
                      <a:pt x="496" y="642"/>
                    </a:lnTo>
                    <a:lnTo>
                      <a:pt x="496" y="640"/>
                    </a:lnTo>
                    <a:lnTo>
                      <a:pt x="496" y="640"/>
                    </a:lnTo>
                    <a:lnTo>
                      <a:pt x="493" y="638"/>
                    </a:lnTo>
                    <a:lnTo>
                      <a:pt x="491" y="638"/>
                    </a:lnTo>
                    <a:lnTo>
                      <a:pt x="491" y="640"/>
                    </a:lnTo>
                    <a:lnTo>
                      <a:pt x="491" y="640"/>
                    </a:lnTo>
                    <a:lnTo>
                      <a:pt x="489" y="640"/>
                    </a:lnTo>
                    <a:lnTo>
                      <a:pt x="489" y="640"/>
                    </a:lnTo>
                    <a:lnTo>
                      <a:pt x="489" y="640"/>
                    </a:lnTo>
                    <a:lnTo>
                      <a:pt x="486" y="640"/>
                    </a:lnTo>
                    <a:lnTo>
                      <a:pt x="486" y="640"/>
                    </a:lnTo>
                    <a:lnTo>
                      <a:pt x="486" y="640"/>
                    </a:lnTo>
                    <a:lnTo>
                      <a:pt x="486" y="640"/>
                    </a:lnTo>
                    <a:lnTo>
                      <a:pt x="481" y="638"/>
                    </a:lnTo>
                    <a:lnTo>
                      <a:pt x="481" y="638"/>
                    </a:lnTo>
                    <a:lnTo>
                      <a:pt x="481" y="633"/>
                    </a:lnTo>
                    <a:lnTo>
                      <a:pt x="479" y="633"/>
                    </a:lnTo>
                    <a:lnTo>
                      <a:pt x="479" y="631"/>
                    </a:lnTo>
                    <a:lnTo>
                      <a:pt x="479" y="631"/>
                    </a:lnTo>
                    <a:lnTo>
                      <a:pt x="477" y="626"/>
                    </a:lnTo>
                    <a:lnTo>
                      <a:pt x="477" y="624"/>
                    </a:lnTo>
                    <a:lnTo>
                      <a:pt x="474" y="624"/>
                    </a:lnTo>
                    <a:lnTo>
                      <a:pt x="472" y="624"/>
                    </a:lnTo>
                    <a:lnTo>
                      <a:pt x="472" y="621"/>
                    </a:lnTo>
                    <a:lnTo>
                      <a:pt x="474" y="619"/>
                    </a:lnTo>
                    <a:lnTo>
                      <a:pt x="474" y="619"/>
                    </a:lnTo>
                    <a:lnTo>
                      <a:pt x="474" y="619"/>
                    </a:lnTo>
                    <a:lnTo>
                      <a:pt x="472" y="619"/>
                    </a:lnTo>
                    <a:lnTo>
                      <a:pt x="470" y="619"/>
                    </a:lnTo>
                    <a:lnTo>
                      <a:pt x="470" y="616"/>
                    </a:lnTo>
                    <a:lnTo>
                      <a:pt x="472" y="616"/>
                    </a:lnTo>
                    <a:lnTo>
                      <a:pt x="472" y="614"/>
                    </a:lnTo>
                    <a:lnTo>
                      <a:pt x="470" y="614"/>
                    </a:lnTo>
                    <a:lnTo>
                      <a:pt x="467" y="614"/>
                    </a:lnTo>
                    <a:lnTo>
                      <a:pt x="467" y="614"/>
                    </a:lnTo>
                    <a:lnTo>
                      <a:pt x="467" y="612"/>
                    </a:lnTo>
                    <a:lnTo>
                      <a:pt x="465" y="614"/>
                    </a:lnTo>
                    <a:lnTo>
                      <a:pt x="465" y="612"/>
                    </a:lnTo>
                    <a:lnTo>
                      <a:pt x="465" y="612"/>
                    </a:lnTo>
                    <a:lnTo>
                      <a:pt x="463" y="612"/>
                    </a:lnTo>
                    <a:lnTo>
                      <a:pt x="463" y="609"/>
                    </a:lnTo>
                    <a:lnTo>
                      <a:pt x="463" y="609"/>
                    </a:lnTo>
                    <a:lnTo>
                      <a:pt x="463" y="609"/>
                    </a:lnTo>
                    <a:lnTo>
                      <a:pt x="463" y="612"/>
                    </a:lnTo>
                    <a:lnTo>
                      <a:pt x="460" y="612"/>
                    </a:lnTo>
                    <a:lnTo>
                      <a:pt x="460" y="612"/>
                    </a:lnTo>
                    <a:lnTo>
                      <a:pt x="458" y="609"/>
                    </a:lnTo>
                    <a:lnTo>
                      <a:pt x="458" y="612"/>
                    </a:lnTo>
                    <a:lnTo>
                      <a:pt x="458" y="612"/>
                    </a:lnTo>
                    <a:lnTo>
                      <a:pt x="458" y="614"/>
                    </a:lnTo>
                    <a:lnTo>
                      <a:pt x="458" y="614"/>
                    </a:lnTo>
                    <a:lnTo>
                      <a:pt x="455" y="614"/>
                    </a:lnTo>
                    <a:lnTo>
                      <a:pt x="453" y="614"/>
                    </a:lnTo>
                    <a:lnTo>
                      <a:pt x="451" y="614"/>
                    </a:lnTo>
                    <a:lnTo>
                      <a:pt x="451" y="616"/>
                    </a:lnTo>
                    <a:lnTo>
                      <a:pt x="453" y="616"/>
                    </a:lnTo>
                    <a:lnTo>
                      <a:pt x="453" y="616"/>
                    </a:lnTo>
                    <a:lnTo>
                      <a:pt x="453" y="619"/>
                    </a:lnTo>
                    <a:lnTo>
                      <a:pt x="453" y="619"/>
                    </a:lnTo>
                    <a:lnTo>
                      <a:pt x="451" y="619"/>
                    </a:lnTo>
                    <a:lnTo>
                      <a:pt x="451" y="619"/>
                    </a:lnTo>
                    <a:lnTo>
                      <a:pt x="451" y="619"/>
                    </a:lnTo>
                    <a:lnTo>
                      <a:pt x="446" y="619"/>
                    </a:lnTo>
                    <a:lnTo>
                      <a:pt x="441" y="616"/>
                    </a:lnTo>
                    <a:lnTo>
                      <a:pt x="439" y="614"/>
                    </a:lnTo>
                    <a:lnTo>
                      <a:pt x="437" y="614"/>
                    </a:lnTo>
                    <a:lnTo>
                      <a:pt x="434" y="614"/>
                    </a:lnTo>
                    <a:lnTo>
                      <a:pt x="432" y="612"/>
                    </a:lnTo>
                    <a:lnTo>
                      <a:pt x="432" y="609"/>
                    </a:lnTo>
                    <a:lnTo>
                      <a:pt x="430" y="607"/>
                    </a:lnTo>
                    <a:lnTo>
                      <a:pt x="427" y="609"/>
                    </a:lnTo>
                    <a:lnTo>
                      <a:pt x="427" y="607"/>
                    </a:lnTo>
                    <a:lnTo>
                      <a:pt x="427" y="607"/>
                    </a:lnTo>
                    <a:lnTo>
                      <a:pt x="430" y="607"/>
                    </a:lnTo>
                    <a:lnTo>
                      <a:pt x="427" y="605"/>
                    </a:lnTo>
                    <a:lnTo>
                      <a:pt x="427" y="602"/>
                    </a:lnTo>
                    <a:lnTo>
                      <a:pt x="422" y="602"/>
                    </a:lnTo>
                    <a:lnTo>
                      <a:pt x="418" y="602"/>
                    </a:lnTo>
                    <a:lnTo>
                      <a:pt x="415" y="600"/>
                    </a:lnTo>
                    <a:lnTo>
                      <a:pt x="413" y="595"/>
                    </a:lnTo>
                    <a:lnTo>
                      <a:pt x="411" y="593"/>
                    </a:lnTo>
                    <a:lnTo>
                      <a:pt x="408" y="593"/>
                    </a:lnTo>
                    <a:lnTo>
                      <a:pt x="406" y="593"/>
                    </a:lnTo>
                    <a:lnTo>
                      <a:pt x="404" y="590"/>
                    </a:lnTo>
                    <a:lnTo>
                      <a:pt x="399" y="588"/>
                    </a:lnTo>
                    <a:lnTo>
                      <a:pt x="396" y="588"/>
                    </a:lnTo>
                    <a:lnTo>
                      <a:pt x="396" y="588"/>
                    </a:lnTo>
                    <a:lnTo>
                      <a:pt x="389" y="586"/>
                    </a:lnTo>
                    <a:lnTo>
                      <a:pt x="387" y="586"/>
                    </a:lnTo>
                    <a:lnTo>
                      <a:pt x="385" y="583"/>
                    </a:lnTo>
                    <a:lnTo>
                      <a:pt x="382" y="586"/>
                    </a:lnTo>
                    <a:lnTo>
                      <a:pt x="380" y="586"/>
                    </a:lnTo>
                    <a:lnTo>
                      <a:pt x="380" y="588"/>
                    </a:lnTo>
                    <a:lnTo>
                      <a:pt x="380" y="586"/>
                    </a:lnTo>
                    <a:lnTo>
                      <a:pt x="378" y="588"/>
                    </a:lnTo>
                    <a:lnTo>
                      <a:pt x="375" y="588"/>
                    </a:lnTo>
                    <a:lnTo>
                      <a:pt x="373" y="586"/>
                    </a:lnTo>
                    <a:lnTo>
                      <a:pt x="370" y="586"/>
                    </a:lnTo>
                    <a:lnTo>
                      <a:pt x="370" y="588"/>
                    </a:lnTo>
                    <a:lnTo>
                      <a:pt x="370" y="588"/>
                    </a:lnTo>
                    <a:lnTo>
                      <a:pt x="368" y="593"/>
                    </a:lnTo>
                    <a:lnTo>
                      <a:pt x="368" y="593"/>
                    </a:lnTo>
                    <a:lnTo>
                      <a:pt x="368" y="595"/>
                    </a:lnTo>
                    <a:lnTo>
                      <a:pt x="368" y="595"/>
                    </a:lnTo>
                    <a:lnTo>
                      <a:pt x="366" y="595"/>
                    </a:lnTo>
                    <a:lnTo>
                      <a:pt x="363" y="598"/>
                    </a:lnTo>
                    <a:lnTo>
                      <a:pt x="361" y="598"/>
                    </a:lnTo>
                    <a:lnTo>
                      <a:pt x="361" y="598"/>
                    </a:lnTo>
                    <a:lnTo>
                      <a:pt x="356" y="595"/>
                    </a:lnTo>
                    <a:lnTo>
                      <a:pt x="356" y="595"/>
                    </a:lnTo>
                    <a:lnTo>
                      <a:pt x="356" y="595"/>
                    </a:lnTo>
                    <a:lnTo>
                      <a:pt x="356" y="595"/>
                    </a:lnTo>
                    <a:lnTo>
                      <a:pt x="354" y="595"/>
                    </a:lnTo>
                    <a:lnTo>
                      <a:pt x="352" y="595"/>
                    </a:lnTo>
                    <a:lnTo>
                      <a:pt x="352" y="595"/>
                    </a:lnTo>
                    <a:lnTo>
                      <a:pt x="349" y="593"/>
                    </a:lnTo>
                    <a:lnTo>
                      <a:pt x="349" y="593"/>
                    </a:lnTo>
                    <a:lnTo>
                      <a:pt x="347" y="593"/>
                    </a:lnTo>
                    <a:lnTo>
                      <a:pt x="347" y="593"/>
                    </a:lnTo>
                    <a:lnTo>
                      <a:pt x="344" y="593"/>
                    </a:lnTo>
                    <a:lnTo>
                      <a:pt x="344" y="593"/>
                    </a:lnTo>
                    <a:lnTo>
                      <a:pt x="344" y="593"/>
                    </a:lnTo>
                    <a:lnTo>
                      <a:pt x="344" y="593"/>
                    </a:lnTo>
                    <a:lnTo>
                      <a:pt x="342" y="593"/>
                    </a:lnTo>
                    <a:lnTo>
                      <a:pt x="342" y="595"/>
                    </a:lnTo>
                    <a:lnTo>
                      <a:pt x="340" y="595"/>
                    </a:lnTo>
                    <a:lnTo>
                      <a:pt x="340" y="593"/>
                    </a:lnTo>
                    <a:lnTo>
                      <a:pt x="340" y="590"/>
                    </a:lnTo>
                    <a:lnTo>
                      <a:pt x="340" y="590"/>
                    </a:lnTo>
                    <a:lnTo>
                      <a:pt x="337" y="590"/>
                    </a:lnTo>
                    <a:lnTo>
                      <a:pt x="337" y="595"/>
                    </a:lnTo>
                    <a:lnTo>
                      <a:pt x="337" y="595"/>
                    </a:lnTo>
                    <a:lnTo>
                      <a:pt x="335" y="595"/>
                    </a:lnTo>
                    <a:lnTo>
                      <a:pt x="335" y="595"/>
                    </a:lnTo>
                    <a:lnTo>
                      <a:pt x="335" y="595"/>
                    </a:lnTo>
                    <a:lnTo>
                      <a:pt x="333" y="595"/>
                    </a:lnTo>
                    <a:lnTo>
                      <a:pt x="335" y="593"/>
                    </a:lnTo>
                    <a:lnTo>
                      <a:pt x="335" y="588"/>
                    </a:lnTo>
                    <a:lnTo>
                      <a:pt x="333" y="588"/>
                    </a:lnTo>
                    <a:lnTo>
                      <a:pt x="333" y="590"/>
                    </a:lnTo>
                    <a:lnTo>
                      <a:pt x="330" y="590"/>
                    </a:lnTo>
                    <a:lnTo>
                      <a:pt x="330" y="588"/>
                    </a:lnTo>
                    <a:lnTo>
                      <a:pt x="328" y="588"/>
                    </a:lnTo>
                    <a:lnTo>
                      <a:pt x="326" y="588"/>
                    </a:lnTo>
                    <a:lnTo>
                      <a:pt x="323" y="590"/>
                    </a:lnTo>
                    <a:lnTo>
                      <a:pt x="321" y="593"/>
                    </a:lnTo>
                    <a:lnTo>
                      <a:pt x="321" y="593"/>
                    </a:lnTo>
                    <a:lnTo>
                      <a:pt x="321" y="595"/>
                    </a:lnTo>
                    <a:lnTo>
                      <a:pt x="318" y="593"/>
                    </a:lnTo>
                    <a:lnTo>
                      <a:pt x="318" y="593"/>
                    </a:lnTo>
                    <a:lnTo>
                      <a:pt x="318" y="590"/>
                    </a:lnTo>
                    <a:lnTo>
                      <a:pt x="318" y="588"/>
                    </a:lnTo>
                    <a:lnTo>
                      <a:pt x="314" y="588"/>
                    </a:lnTo>
                    <a:lnTo>
                      <a:pt x="311" y="588"/>
                    </a:lnTo>
                    <a:lnTo>
                      <a:pt x="304" y="588"/>
                    </a:lnTo>
                    <a:lnTo>
                      <a:pt x="304" y="586"/>
                    </a:lnTo>
                    <a:lnTo>
                      <a:pt x="302" y="586"/>
                    </a:lnTo>
                    <a:lnTo>
                      <a:pt x="300" y="581"/>
                    </a:lnTo>
                    <a:lnTo>
                      <a:pt x="297" y="579"/>
                    </a:lnTo>
                    <a:lnTo>
                      <a:pt x="295" y="579"/>
                    </a:lnTo>
                    <a:lnTo>
                      <a:pt x="293" y="576"/>
                    </a:lnTo>
                    <a:lnTo>
                      <a:pt x="293" y="574"/>
                    </a:lnTo>
                    <a:lnTo>
                      <a:pt x="293" y="574"/>
                    </a:lnTo>
                    <a:lnTo>
                      <a:pt x="293" y="572"/>
                    </a:lnTo>
                    <a:lnTo>
                      <a:pt x="293" y="567"/>
                    </a:lnTo>
                    <a:lnTo>
                      <a:pt x="293" y="562"/>
                    </a:lnTo>
                    <a:lnTo>
                      <a:pt x="293" y="557"/>
                    </a:lnTo>
                    <a:lnTo>
                      <a:pt x="293" y="557"/>
                    </a:lnTo>
                    <a:lnTo>
                      <a:pt x="290" y="557"/>
                    </a:lnTo>
                    <a:lnTo>
                      <a:pt x="285" y="560"/>
                    </a:lnTo>
                    <a:lnTo>
                      <a:pt x="285" y="560"/>
                    </a:lnTo>
                    <a:lnTo>
                      <a:pt x="283" y="557"/>
                    </a:lnTo>
                    <a:lnTo>
                      <a:pt x="283" y="557"/>
                    </a:lnTo>
                    <a:lnTo>
                      <a:pt x="281" y="557"/>
                    </a:lnTo>
                    <a:lnTo>
                      <a:pt x="278" y="557"/>
                    </a:lnTo>
                    <a:lnTo>
                      <a:pt x="271" y="555"/>
                    </a:lnTo>
                    <a:lnTo>
                      <a:pt x="267" y="553"/>
                    </a:lnTo>
                    <a:lnTo>
                      <a:pt x="267" y="550"/>
                    </a:lnTo>
                    <a:lnTo>
                      <a:pt x="264" y="548"/>
                    </a:lnTo>
                    <a:lnTo>
                      <a:pt x="267" y="546"/>
                    </a:lnTo>
                    <a:lnTo>
                      <a:pt x="267" y="541"/>
                    </a:lnTo>
                    <a:lnTo>
                      <a:pt x="267" y="541"/>
                    </a:lnTo>
                    <a:lnTo>
                      <a:pt x="267" y="538"/>
                    </a:lnTo>
                    <a:lnTo>
                      <a:pt x="264" y="541"/>
                    </a:lnTo>
                    <a:lnTo>
                      <a:pt x="262" y="541"/>
                    </a:lnTo>
                    <a:lnTo>
                      <a:pt x="262" y="543"/>
                    </a:lnTo>
                    <a:lnTo>
                      <a:pt x="262" y="546"/>
                    </a:lnTo>
                    <a:lnTo>
                      <a:pt x="262" y="548"/>
                    </a:lnTo>
                    <a:lnTo>
                      <a:pt x="259" y="548"/>
                    </a:lnTo>
                    <a:lnTo>
                      <a:pt x="259" y="548"/>
                    </a:lnTo>
                    <a:lnTo>
                      <a:pt x="259" y="548"/>
                    </a:lnTo>
                    <a:lnTo>
                      <a:pt x="259" y="543"/>
                    </a:lnTo>
                    <a:lnTo>
                      <a:pt x="259" y="541"/>
                    </a:lnTo>
                    <a:lnTo>
                      <a:pt x="259" y="541"/>
                    </a:lnTo>
                    <a:lnTo>
                      <a:pt x="257" y="538"/>
                    </a:lnTo>
                    <a:lnTo>
                      <a:pt x="255" y="538"/>
                    </a:lnTo>
                    <a:lnTo>
                      <a:pt x="252" y="541"/>
                    </a:lnTo>
                    <a:lnTo>
                      <a:pt x="250" y="546"/>
                    </a:lnTo>
                    <a:lnTo>
                      <a:pt x="250" y="546"/>
                    </a:lnTo>
                    <a:lnTo>
                      <a:pt x="250" y="543"/>
                    </a:lnTo>
                    <a:lnTo>
                      <a:pt x="250" y="541"/>
                    </a:lnTo>
                    <a:lnTo>
                      <a:pt x="250" y="538"/>
                    </a:lnTo>
                    <a:lnTo>
                      <a:pt x="252" y="538"/>
                    </a:lnTo>
                    <a:lnTo>
                      <a:pt x="252" y="536"/>
                    </a:lnTo>
                    <a:lnTo>
                      <a:pt x="252" y="534"/>
                    </a:lnTo>
                    <a:lnTo>
                      <a:pt x="250" y="531"/>
                    </a:lnTo>
                    <a:lnTo>
                      <a:pt x="250" y="529"/>
                    </a:lnTo>
                    <a:lnTo>
                      <a:pt x="248" y="529"/>
                    </a:lnTo>
                    <a:lnTo>
                      <a:pt x="248" y="529"/>
                    </a:lnTo>
                    <a:lnTo>
                      <a:pt x="243" y="529"/>
                    </a:lnTo>
                    <a:lnTo>
                      <a:pt x="241" y="531"/>
                    </a:lnTo>
                    <a:lnTo>
                      <a:pt x="238" y="531"/>
                    </a:lnTo>
                    <a:lnTo>
                      <a:pt x="236" y="529"/>
                    </a:lnTo>
                    <a:lnTo>
                      <a:pt x="236" y="527"/>
                    </a:lnTo>
                    <a:lnTo>
                      <a:pt x="233" y="529"/>
                    </a:lnTo>
                    <a:lnTo>
                      <a:pt x="233" y="531"/>
                    </a:lnTo>
                    <a:lnTo>
                      <a:pt x="231" y="531"/>
                    </a:lnTo>
                    <a:lnTo>
                      <a:pt x="231" y="531"/>
                    </a:lnTo>
                    <a:lnTo>
                      <a:pt x="229" y="527"/>
                    </a:lnTo>
                    <a:lnTo>
                      <a:pt x="229" y="527"/>
                    </a:lnTo>
                    <a:lnTo>
                      <a:pt x="226" y="529"/>
                    </a:lnTo>
                    <a:lnTo>
                      <a:pt x="224" y="529"/>
                    </a:lnTo>
                    <a:lnTo>
                      <a:pt x="224" y="527"/>
                    </a:lnTo>
                    <a:lnTo>
                      <a:pt x="226" y="524"/>
                    </a:lnTo>
                    <a:lnTo>
                      <a:pt x="224" y="524"/>
                    </a:lnTo>
                    <a:lnTo>
                      <a:pt x="224" y="524"/>
                    </a:lnTo>
                    <a:lnTo>
                      <a:pt x="224" y="524"/>
                    </a:lnTo>
                    <a:lnTo>
                      <a:pt x="226" y="522"/>
                    </a:lnTo>
                    <a:lnTo>
                      <a:pt x="229" y="515"/>
                    </a:lnTo>
                    <a:lnTo>
                      <a:pt x="226" y="515"/>
                    </a:lnTo>
                    <a:lnTo>
                      <a:pt x="224" y="512"/>
                    </a:lnTo>
                    <a:lnTo>
                      <a:pt x="222" y="512"/>
                    </a:lnTo>
                    <a:lnTo>
                      <a:pt x="219" y="510"/>
                    </a:lnTo>
                    <a:lnTo>
                      <a:pt x="219" y="510"/>
                    </a:lnTo>
                    <a:lnTo>
                      <a:pt x="222" y="505"/>
                    </a:lnTo>
                    <a:lnTo>
                      <a:pt x="222" y="501"/>
                    </a:lnTo>
                    <a:lnTo>
                      <a:pt x="219" y="494"/>
                    </a:lnTo>
                    <a:lnTo>
                      <a:pt x="219" y="491"/>
                    </a:lnTo>
                    <a:lnTo>
                      <a:pt x="219" y="491"/>
                    </a:lnTo>
                    <a:lnTo>
                      <a:pt x="217" y="491"/>
                    </a:lnTo>
                    <a:lnTo>
                      <a:pt x="212" y="491"/>
                    </a:lnTo>
                    <a:lnTo>
                      <a:pt x="205" y="491"/>
                    </a:lnTo>
                    <a:lnTo>
                      <a:pt x="205" y="494"/>
                    </a:lnTo>
                    <a:lnTo>
                      <a:pt x="207" y="494"/>
                    </a:lnTo>
                    <a:lnTo>
                      <a:pt x="207" y="496"/>
                    </a:lnTo>
                    <a:lnTo>
                      <a:pt x="207" y="496"/>
                    </a:lnTo>
                    <a:lnTo>
                      <a:pt x="205" y="496"/>
                    </a:lnTo>
                    <a:lnTo>
                      <a:pt x="200" y="494"/>
                    </a:lnTo>
                    <a:lnTo>
                      <a:pt x="196" y="491"/>
                    </a:lnTo>
                    <a:lnTo>
                      <a:pt x="196" y="491"/>
                    </a:lnTo>
                    <a:lnTo>
                      <a:pt x="196" y="489"/>
                    </a:lnTo>
                    <a:lnTo>
                      <a:pt x="200" y="487"/>
                    </a:lnTo>
                    <a:lnTo>
                      <a:pt x="203" y="482"/>
                    </a:lnTo>
                    <a:lnTo>
                      <a:pt x="203" y="482"/>
                    </a:lnTo>
                    <a:lnTo>
                      <a:pt x="200" y="477"/>
                    </a:lnTo>
                    <a:lnTo>
                      <a:pt x="200" y="477"/>
                    </a:lnTo>
                    <a:lnTo>
                      <a:pt x="200" y="475"/>
                    </a:lnTo>
                    <a:lnTo>
                      <a:pt x="200" y="475"/>
                    </a:lnTo>
                    <a:lnTo>
                      <a:pt x="200" y="472"/>
                    </a:lnTo>
                    <a:lnTo>
                      <a:pt x="203" y="470"/>
                    </a:lnTo>
                    <a:lnTo>
                      <a:pt x="203" y="468"/>
                    </a:lnTo>
                    <a:lnTo>
                      <a:pt x="203" y="465"/>
                    </a:lnTo>
                    <a:lnTo>
                      <a:pt x="200" y="465"/>
                    </a:lnTo>
                    <a:lnTo>
                      <a:pt x="196" y="465"/>
                    </a:lnTo>
                    <a:lnTo>
                      <a:pt x="191" y="463"/>
                    </a:lnTo>
                    <a:lnTo>
                      <a:pt x="191" y="463"/>
                    </a:lnTo>
                    <a:lnTo>
                      <a:pt x="191" y="463"/>
                    </a:lnTo>
                    <a:lnTo>
                      <a:pt x="189" y="453"/>
                    </a:lnTo>
                    <a:lnTo>
                      <a:pt x="189" y="449"/>
                    </a:lnTo>
                    <a:lnTo>
                      <a:pt x="186" y="444"/>
                    </a:lnTo>
                    <a:lnTo>
                      <a:pt x="186" y="442"/>
                    </a:lnTo>
                    <a:lnTo>
                      <a:pt x="191" y="442"/>
                    </a:lnTo>
                    <a:lnTo>
                      <a:pt x="193" y="439"/>
                    </a:lnTo>
                    <a:lnTo>
                      <a:pt x="191" y="439"/>
                    </a:lnTo>
                    <a:lnTo>
                      <a:pt x="186" y="439"/>
                    </a:lnTo>
                    <a:lnTo>
                      <a:pt x="186" y="437"/>
                    </a:lnTo>
                    <a:lnTo>
                      <a:pt x="184" y="430"/>
                    </a:lnTo>
                    <a:lnTo>
                      <a:pt x="184" y="427"/>
                    </a:lnTo>
                    <a:lnTo>
                      <a:pt x="184" y="425"/>
                    </a:lnTo>
                    <a:lnTo>
                      <a:pt x="189" y="425"/>
                    </a:lnTo>
                    <a:lnTo>
                      <a:pt x="189" y="423"/>
                    </a:lnTo>
                    <a:lnTo>
                      <a:pt x="189" y="423"/>
                    </a:lnTo>
                    <a:lnTo>
                      <a:pt x="186" y="423"/>
                    </a:lnTo>
                    <a:lnTo>
                      <a:pt x="186" y="423"/>
                    </a:lnTo>
                    <a:lnTo>
                      <a:pt x="184" y="423"/>
                    </a:lnTo>
                    <a:lnTo>
                      <a:pt x="184" y="418"/>
                    </a:lnTo>
                    <a:lnTo>
                      <a:pt x="184" y="416"/>
                    </a:lnTo>
                    <a:lnTo>
                      <a:pt x="184" y="413"/>
                    </a:lnTo>
                    <a:lnTo>
                      <a:pt x="186" y="411"/>
                    </a:lnTo>
                    <a:lnTo>
                      <a:pt x="193" y="409"/>
                    </a:lnTo>
                    <a:lnTo>
                      <a:pt x="193" y="409"/>
                    </a:lnTo>
                    <a:lnTo>
                      <a:pt x="193" y="406"/>
                    </a:lnTo>
                    <a:lnTo>
                      <a:pt x="191" y="401"/>
                    </a:lnTo>
                    <a:lnTo>
                      <a:pt x="191" y="401"/>
                    </a:lnTo>
                    <a:lnTo>
                      <a:pt x="196" y="399"/>
                    </a:lnTo>
                    <a:lnTo>
                      <a:pt x="198" y="397"/>
                    </a:lnTo>
                    <a:lnTo>
                      <a:pt x="198" y="394"/>
                    </a:lnTo>
                    <a:lnTo>
                      <a:pt x="196" y="392"/>
                    </a:lnTo>
                    <a:lnTo>
                      <a:pt x="193" y="390"/>
                    </a:lnTo>
                    <a:lnTo>
                      <a:pt x="193" y="387"/>
                    </a:lnTo>
                    <a:lnTo>
                      <a:pt x="193" y="387"/>
                    </a:lnTo>
                    <a:lnTo>
                      <a:pt x="196" y="387"/>
                    </a:lnTo>
                    <a:lnTo>
                      <a:pt x="193" y="380"/>
                    </a:lnTo>
                    <a:lnTo>
                      <a:pt x="189" y="373"/>
                    </a:lnTo>
                    <a:lnTo>
                      <a:pt x="186" y="373"/>
                    </a:lnTo>
                    <a:lnTo>
                      <a:pt x="184" y="373"/>
                    </a:lnTo>
                    <a:lnTo>
                      <a:pt x="184" y="371"/>
                    </a:lnTo>
                    <a:lnTo>
                      <a:pt x="184" y="368"/>
                    </a:lnTo>
                    <a:lnTo>
                      <a:pt x="184" y="368"/>
                    </a:lnTo>
                    <a:lnTo>
                      <a:pt x="186" y="366"/>
                    </a:lnTo>
                    <a:lnTo>
                      <a:pt x="184" y="364"/>
                    </a:lnTo>
                    <a:lnTo>
                      <a:pt x="186" y="361"/>
                    </a:lnTo>
                    <a:lnTo>
                      <a:pt x="186" y="357"/>
                    </a:lnTo>
                    <a:lnTo>
                      <a:pt x="184" y="354"/>
                    </a:lnTo>
                    <a:lnTo>
                      <a:pt x="184" y="352"/>
                    </a:lnTo>
                    <a:lnTo>
                      <a:pt x="181" y="352"/>
                    </a:lnTo>
                    <a:lnTo>
                      <a:pt x="179" y="352"/>
                    </a:lnTo>
                    <a:lnTo>
                      <a:pt x="177" y="349"/>
                    </a:lnTo>
                    <a:lnTo>
                      <a:pt x="177" y="349"/>
                    </a:lnTo>
                    <a:lnTo>
                      <a:pt x="177" y="349"/>
                    </a:lnTo>
                    <a:lnTo>
                      <a:pt x="177" y="347"/>
                    </a:lnTo>
                    <a:lnTo>
                      <a:pt x="177" y="347"/>
                    </a:lnTo>
                    <a:lnTo>
                      <a:pt x="177" y="345"/>
                    </a:lnTo>
                    <a:lnTo>
                      <a:pt x="179" y="345"/>
                    </a:lnTo>
                    <a:lnTo>
                      <a:pt x="179" y="345"/>
                    </a:lnTo>
                    <a:lnTo>
                      <a:pt x="179" y="342"/>
                    </a:lnTo>
                    <a:lnTo>
                      <a:pt x="177" y="340"/>
                    </a:lnTo>
                    <a:lnTo>
                      <a:pt x="177" y="338"/>
                    </a:lnTo>
                    <a:lnTo>
                      <a:pt x="177" y="333"/>
                    </a:lnTo>
                    <a:lnTo>
                      <a:pt x="174" y="331"/>
                    </a:lnTo>
                    <a:lnTo>
                      <a:pt x="174" y="331"/>
                    </a:lnTo>
                    <a:lnTo>
                      <a:pt x="174" y="328"/>
                    </a:lnTo>
                    <a:lnTo>
                      <a:pt x="177" y="328"/>
                    </a:lnTo>
                    <a:lnTo>
                      <a:pt x="179" y="326"/>
                    </a:lnTo>
                    <a:lnTo>
                      <a:pt x="181" y="324"/>
                    </a:lnTo>
                    <a:lnTo>
                      <a:pt x="181" y="319"/>
                    </a:lnTo>
                    <a:lnTo>
                      <a:pt x="179" y="316"/>
                    </a:lnTo>
                    <a:lnTo>
                      <a:pt x="181" y="312"/>
                    </a:lnTo>
                    <a:lnTo>
                      <a:pt x="184" y="312"/>
                    </a:lnTo>
                    <a:lnTo>
                      <a:pt x="186" y="309"/>
                    </a:lnTo>
                    <a:lnTo>
                      <a:pt x="189" y="307"/>
                    </a:lnTo>
                    <a:lnTo>
                      <a:pt x="191" y="300"/>
                    </a:lnTo>
                    <a:lnTo>
                      <a:pt x="191" y="300"/>
                    </a:lnTo>
                    <a:lnTo>
                      <a:pt x="191" y="298"/>
                    </a:lnTo>
                    <a:lnTo>
                      <a:pt x="193" y="298"/>
                    </a:lnTo>
                    <a:lnTo>
                      <a:pt x="193" y="295"/>
                    </a:lnTo>
                    <a:lnTo>
                      <a:pt x="193" y="295"/>
                    </a:lnTo>
                    <a:lnTo>
                      <a:pt x="191" y="290"/>
                    </a:lnTo>
                    <a:lnTo>
                      <a:pt x="191" y="288"/>
                    </a:lnTo>
                    <a:lnTo>
                      <a:pt x="191" y="286"/>
                    </a:lnTo>
                    <a:lnTo>
                      <a:pt x="191" y="281"/>
                    </a:lnTo>
                    <a:lnTo>
                      <a:pt x="189" y="279"/>
                    </a:lnTo>
                    <a:lnTo>
                      <a:pt x="189" y="274"/>
                    </a:lnTo>
                    <a:lnTo>
                      <a:pt x="186" y="274"/>
                    </a:lnTo>
                    <a:lnTo>
                      <a:pt x="189" y="267"/>
                    </a:lnTo>
                    <a:lnTo>
                      <a:pt x="189" y="264"/>
                    </a:lnTo>
                    <a:lnTo>
                      <a:pt x="186" y="262"/>
                    </a:lnTo>
                    <a:lnTo>
                      <a:pt x="186" y="260"/>
                    </a:lnTo>
                    <a:lnTo>
                      <a:pt x="186" y="257"/>
                    </a:lnTo>
                    <a:lnTo>
                      <a:pt x="189" y="255"/>
                    </a:lnTo>
                    <a:lnTo>
                      <a:pt x="193" y="250"/>
                    </a:lnTo>
                    <a:lnTo>
                      <a:pt x="193" y="246"/>
                    </a:lnTo>
                    <a:lnTo>
                      <a:pt x="193" y="246"/>
                    </a:lnTo>
                    <a:lnTo>
                      <a:pt x="189" y="243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79" y="227"/>
                    </a:lnTo>
                    <a:lnTo>
                      <a:pt x="172" y="224"/>
                    </a:lnTo>
                    <a:lnTo>
                      <a:pt x="172" y="224"/>
                    </a:lnTo>
                    <a:lnTo>
                      <a:pt x="174" y="224"/>
                    </a:lnTo>
                    <a:lnTo>
                      <a:pt x="174" y="227"/>
                    </a:lnTo>
                    <a:lnTo>
                      <a:pt x="172" y="227"/>
                    </a:lnTo>
                    <a:lnTo>
                      <a:pt x="170" y="229"/>
                    </a:lnTo>
                    <a:lnTo>
                      <a:pt x="167" y="229"/>
                    </a:lnTo>
                    <a:lnTo>
                      <a:pt x="167" y="229"/>
                    </a:lnTo>
                    <a:lnTo>
                      <a:pt x="167" y="229"/>
                    </a:lnTo>
                    <a:lnTo>
                      <a:pt x="167" y="231"/>
                    </a:lnTo>
                    <a:lnTo>
                      <a:pt x="165" y="231"/>
                    </a:lnTo>
                    <a:lnTo>
                      <a:pt x="165" y="236"/>
                    </a:lnTo>
                    <a:lnTo>
                      <a:pt x="165" y="238"/>
                    </a:lnTo>
                    <a:lnTo>
                      <a:pt x="165" y="238"/>
                    </a:lnTo>
                    <a:lnTo>
                      <a:pt x="165" y="238"/>
                    </a:lnTo>
                    <a:lnTo>
                      <a:pt x="160" y="238"/>
                    </a:lnTo>
                    <a:lnTo>
                      <a:pt x="160" y="241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58" y="243"/>
                    </a:lnTo>
                    <a:lnTo>
                      <a:pt x="158" y="246"/>
                    </a:lnTo>
                    <a:lnTo>
                      <a:pt x="158" y="246"/>
                    </a:lnTo>
                    <a:lnTo>
                      <a:pt x="158" y="246"/>
                    </a:lnTo>
                    <a:lnTo>
                      <a:pt x="158" y="246"/>
                    </a:lnTo>
                    <a:lnTo>
                      <a:pt x="153" y="246"/>
                    </a:lnTo>
                    <a:lnTo>
                      <a:pt x="153" y="243"/>
                    </a:lnTo>
                    <a:lnTo>
                      <a:pt x="153" y="243"/>
                    </a:lnTo>
                    <a:lnTo>
                      <a:pt x="151" y="246"/>
                    </a:lnTo>
                    <a:lnTo>
                      <a:pt x="151" y="246"/>
                    </a:lnTo>
                    <a:lnTo>
                      <a:pt x="148" y="246"/>
                    </a:lnTo>
                    <a:lnTo>
                      <a:pt x="148" y="241"/>
                    </a:lnTo>
                    <a:lnTo>
                      <a:pt x="148" y="241"/>
                    </a:lnTo>
                    <a:lnTo>
                      <a:pt x="146" y="243"/>
                    </a:lnTo>
                    <a:lnTo>
                      <a:pt x="146" y="243"/>
                    </a:lnTo>
                    <a:lnTo>
                      <a:pt x="146" y="241"/>
                    </a:lnTo>
                    <a:lnTo>
                      <a:pt x="148" y="238"/>
                    </a:lnTo>
                    <a:lnTo>
                      <a:pt x="146" y="238"/>
                    </a:lnTo>
                    <a:lnTo>
                      <a:pt x="146" y="238"/>
                    </a:lnTo>
                    <a:lnTo>
                      <a:pt x="144" y="238"/>
                    </a:lnTo>
                    <a:lnTo>
                      <a:pt x="141" y="241"/>
                    </a:lnTo>
                    <a:lnTo>
                      <a:pt x="141" y="243"/>
                    </a:lnTo>
                    <a:lnTo>
                      <a:pt x="139" y="241"/>
                    </a:lnTo>
                    <a:lnTo>
                      <a:pt x="141" y="238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41" y="236"/>
                    </a:lnTo>
                    <a:lnTo>
                      <a:pt x="141" y="236"/>
                    </a:lnTo>
                    <a:lnTo>
                      <a:pt x="144" y="236"/>
                    </a:lnTo>
                    <a:lnTo>
                      <a:pt x="141" y="236"/>
                    </a:lnTo>
                    <a:lnTo>
                      <a:pt x="141" y="234"/>
                    </a:lnTo>
                    <a:lnTo>
                      <a:pt x="141" y="234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37" y="236"/>
                    </a:lnTo>
                    <a:lnTo>
                      <a:pt x="137" y="236"/>
                    </a:lnTo>
                    <a:lnTo>
                      <a:pt x="137" y="238"/>
                    </a:lnTo>
                    <a:lnTo>
                      <a:pt x="134" y="238"/>
                    </a:lnTo>
                    <a:lnTo>
                      <a:pt x="132" y="236"/>
                    </a:lnTo>
                    <a:lnTo>
                      <a:pt x="132" y="236"/>
                    </a:lnTo>
                    <a:lnTo>
                      <a:pt x="132" y="234"/>
                    </a:lnTo>
                    <a:lnTo>
                      <a:pt x="132" y="231"/>
                    </a:lnTo>
                    <a:lnTo>
                      <a:pt x="130" y="234"/>
                    </a:lnTo>
                    <a:lnTo>
                      <a:pt x="130" y="234"/>
                    </a:lnTo>
                    <a:lnTo>
                      <a:pt x="132" y="236"/>
                    </a:lnTo>
                    <a:lnTo>
                      <a:pt x="130" y="236"/>
                    </a:lnTo>
                    <a:lnTo>
                      <a:pt x="130" y="238"/>
                    </a:lnTo>
                    <a:lnTo>
                      <a:pt x="130" y="238"/>
                    </a:lnTo>
                    <a:lnTo>
                      <a:pt x="127" y="238"/>
                    </a:lnTo>
                    <a:lnTo>
                      <a:pt x="127" y="238"/>
                    </a:lnTo>
                    <a:lnTo>
                      <a:pt x="127" y="238"/>
                    </a:lnTo>
                    <a:lnTo>
                      <a:pt x="127" y="236"/>
                    </a:lnTo>
                    <a:lnTo>
                      <a:pt x="127" y="236"/>
                    </a:lnTo>
                    <a:lnTo>
                      <a:pt x="127" y="236"/>
                    </a:lnTo>
                    <a:lnTo>
                      <a:pt x="127" y="236"/>
                    </a:lnTo>
                    <a:lnTo>
                      <a:pt x="127" y="234"/>
                    </a:lnTo>
                    <a:lnTo>
                      <a:pt x="125" y="234"/>
                    </a:lnTo>
                    <a:lnTo>
                      <a:pt x="125" y="236"/>
                    </a:lnTo>
                    <a:lnTo>
                      <a:pt x="122" y="236"/>
                    </a:lnTo>
                    <a:lnTo>
                      <a:pt x="122" y="238"/>
                    </a:lnTo>
                    <a:lnTo>
                      <a:pt x="122" y="238"/>
                    </a:lnTo>
                    <a:lnTo>
                      <a:pt x="122" y="238"/>
                    </a:lnTo>
                    <a:lnTo>
                      <a:pt x="120" y="238"/>
                    </a:lnTo>
                    <a:lnTo>
                      <a:pt x="118" y="238"/>
                    </a:lnTo>
                    <a:lnTo>
                      <a:pt x="120" y="238"/>
                    </a:lnTo>
                    <a:lnTo>
                      <a:pt x="120" y="236"/>
                    </a:lnTo>
                    <a:lnTo>
                      <a:pt x="120" y="236"/>
                    </a:lnTo>
                    <a:lnTo>
                      <a:pt x="120" y="236"/>
                    </a:lnTo>
                    <a:lnTo>
                      <a:pt x="118" y="234"/>
                    </a:lnTo>
                    <a:lnTo>
                      <a:pt x="118" y="234"/>
                    </a:lnTo>
                    <a:lnTo>
                      <a:pt x="115" y="236"/>
                    </a:lnTo>
                    <a:lnTo>
                      <a:pt x="115" y="236"/>
                    </a:lnTo>
                    <a:lnTo>
                      <a:pt x="113" y="236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1" y="236"/>
                    </a:lnTo>
                    <a:lnTo>
                      <a:pt x="113" y="236"/>
                    </a:lnTo>
                    <a:lnTo>
                      <a:pt x="111" y="236"/>
                    </a:lnTo>
                    <a:lnTo>
                      <a:pt x="111" y="236"/>
                    </a:lnTo>
                    <a:lnTo>
                      <a:pt x="111" y="236"/>
                    </a:lnTo>
                    <a:lnTo>
                      <a:pt x="111" y="236"/>
                    </a:lnTo>
                    <a:lnTo>
                      <a:pt x="108" y="236"/>
                    </a:lnTo>
                    <a:lnTo>
                      <a:pt x="106" y="236"/>
                    </a:lnTo>
                    <a:lnTo>
                      <a:pt x="106" y="241"/>
                    </a:lnTo>
                    <a:lnTo>
                      <a:pt x="108" y="241"/>
                    </a:lnTo>
                    <a:lnTo>
                      <a:pt x="106" y="241"/>
                    </a:lnTo>
                    <a:lnTo>
                      <a:pt x="104" y="241"/>
                    </a:lnTo>
                    <a:lnTo>
                      <a:pt x="104" y="243"/>
                    </a:lnTo>
                    <a:lnTo>
                      <a:pt x="104" y="241"/>
                    </a:lnTo>
                    <a:lnTo>
                      <a:pt x="104" y="241"/>
                    </a:lnTo>
                    <a:lnTo>
                      <a:pt x="104" y="238"/>
                    </a:lnTo>
                    <a:lnTo>
                      <a:pt x="101" y="243"/>
                    </a:lnTo>
                    <a:lnTo>
                      <a:pt x="99" y="243"/>
                    </a:lnTo>
                    <a:lnTo>
                      <a:pt x="99" y="238"/>
                    </a:lnTo>
                    <a:lnTo>
                      <a:pt x="94" y="238"/>
                    </a:lnTo>
                    <a:lnTo>
                      <a:pt x="92" y="238"/>
                    </a:lnTo>
                    <a:lnTo>
                      <a:pt x="92" y="241"/>
                    </a:lnTo>
                    <a:lnTo>
                      <a:pt x="92" y="241"/>
                    </a:lnTo>
                    <a:lnTo>
                      <a:pt x="92" y="243"/>
                    </a:lnTo>
                    <a:lnTo>
                      <a:pt x="89" y="241"/>
                    </a:lnTo>
                    <a:lnTo>
                      <a:pt x="89" y="238"/>
                    </a:lnTo>
                    <a:lnTo>
                      <a:pt x="89" y="238"/>
                    </a:lnTo>
                    <a:lnTo>
                      <a:pt x="89" y="238"/>
                    </a:lnTo>
                    <a:lnTo>
                      <a:pt x="87" y="238"/>
                    </a:lnTo>
                    <a:lnTo>
                      <a:pt x="87" y="238"/>
                    </a:lnTo>
                    <a:lnTo>
                      <a:pt x="87" y="238"/>
                    </a:lnTo>
                    <a:lnTo>
                      <a:pt x="87" y="238"/>
                    </a:lnTo>
                    <a:lnTo>
                      <a:pt x="85" y="238"/>
                    </a:lnTo>
                    <a:lnTo>
                      <a:pt x="85" y="238"/>
                    </a:lnTo>
                    <a:lnTo>
                      <a:pt x="85" y="238"/>
                    </a:lnTo>
                    <a:lnTo>
                      <a:pt x="82" y="238"/>
                    </a:lnTo>
                    <a:lnTo>
                      <a:pt x="80" y="238"/>
                    </a:lnTo>
                    <a:lnTo>
                      <a:pt x="80" y="241"/>
                    </a:lnTo>
                    <a:lnTo>
                      <a:pt x="78" y="241"/>
                    </a:lnTo>
                    <a:lnTo>
                      <a:pt x="78" y="243"/>
                    </a:lnTo>
                    <a:lnTo>
                      <a:pt x="78" y="243"/>
                    </a:lnTo>
                    <a:lnTo>
                      <a:pt x="78" y="243"/>
                    </a:lnTo>
                    <a:lnTo>
                      <a:pt x="78" y="243"/>
                    </a:lnTo>
                    <a:lnTo>
                      <a:pt x="78" y="243"/>
                    </a:lnTo>
                    <a:lnTo>
                      <a:pt x="75" y="246"/>
                    </a:lnTo>
                    <a:lnTo>
                      <a:pt x="75" y="246"/>
                    </a:lnTo>
                    <a:lnTo>
                      <a:pt x="75" y="243"/>
                    </a:lnTo>
                    <a:lnTo>
                      <a:pt x="73" y="243"/>
                    </a:lnTo>
                    <a:lnTo>
                      <a:pt x="73" y="243"/>
                    </a:lnTo>
                    <a:lnTo>
                      <a:pt x="70" y="243"/>
                    </a:lnTo>
                    <a:lnTo>
                      <a:pt x="70" y="243"/>
                    </a:lnTo>
                    <a:lnTo>
                      <a:pt x="70" y="246"/>
                    </a:lnTo>
                    <a:lnTo>
                      <a:pt x="68" y="246"/>
                    </a:lnTo>
                    <a:lnTo>
                      <a:pt x="68" y="246"/>
                    </a:lnTo>
                    <a:lnTo>
                      <a:pt x="68" y="243"/>
                    </a:lnTo>
                    <a:lnTo>
                      <a:pt x="66" y="246"/>
                    </a:lnTo>
                    <a:lnTo>
                      <a:pt x="66" y="246"/>
                    </a:lnTo>
                    <a:lnTo>
                      <a:pt x="66" y="246"/>
                    </a:lnTo>
                    <a:lnTo>
                      <a:pt x="63" y="246"/>
                    </a:lnTo>
                    <a:lnTo>
                      <a:pt x="63" y="246"/>
                    </a:lnTo>
                    <a:lnTo>
                      <a:pt x="63" y="246"/>
                    </a:lnTo>
                    <a:lnTo>
                      <a:pt x="61" y="246"/>
                    </a:lnTo>
                    <a:lnTo>
                      <a:pt x="59" y="246"/>
                    </a:lnTo>
                    <a:lnTo>
                      <a:pt x="56" y="246"/>
                    </a:lnTo>
                    <a:lnTo>
                      <a:pt x="56" y="248"/>
                    </a:lnTo>
                    <a:lnTo>
                      <a:pt x="56" y="248"/>
                    </a:lnTo>
                    <a:lnTo>
                      <a:pt x="54" y="250"/>
                    </a:lnTo>
                    <a:lnTo>
                      <a:pt x="52" y="248"/>
                    </a:lnTo>
                    <a:lnTo>
                      <a:pt x="52" y="250"/>
                    </a:lnTo>
                    <a:lnTo>
                      <a:pt x="49" y="250"/>
                    </a:lnTo>
                    <a:lnTo>
                      <a:pt x="49" y="253"/>
                    </a:lnTo>
                    <a:lnTo>
                      <a:pt x="49" y="253"/>
                    </a:lnTo>
                    <a:lnTo>
                      <a:pt x="49" y="253"/>
                    </a:lnTo>
                    <a:lnTo>
                      <a:pt x="49" y="253"/>
                    </a:lnTo>
                    <a:lnTo>
                      <a:pt x="49" y="253"/>
                    </a:lnTo>
                    <a:lnTo>
                      <a:pt x="49" y="253"/>
                    </a:lnTo>
                    <a:lnTo>
                      <a:pt x="47" y="253"/>
                    </a:lnTo>
                    <a:lnTo>
                      <a:pt x="49" y="250"/>
                    </a:lnTo>
                    <a:lnTo>
                      <a:pt x="47" y="248"/>
                    </a:lnTo>
                    <a:lnTo>
                      <a:pt x="47" y="250"/>
                    </a:lnTo>
                    <a:lnTo>
                      <a:pt x="44" y="250"/>
                    </a:lnTo>
                    <a:lnTo>
                      <a:pt x="44" y="250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2" y="250"/>
                    </a:lnTo>
                    <a:lnTo>
                      <a:pt x="40" y="250"/>
                    </a:lnTo>
                    <a:lnTo>
                      <a:pt x="40" y="253"/>
                    </a:lnTo>
                    <a:lnTo>
                      <a:pt x="40" y="253"/>
                    </a:lnTo>
                    <a:lnTo>
                      <a:pt x="40" y="250"/>
                    </a:lnTo>
                    <a:lnTo>
                      <a:pt x="37" y="250"/>
                    </a:lnTo>
                    <a:lnTo>
                      <a:pt x="37" y="253"/>
                    </a:lnTo>
                    <a:lnTo>
                      <a:pt x="35" y="253"/>
                    </a:lnTo>
                    <a:lnTo>
                      <a:pt x="33" y="250"/>
                    </a:lnTo>
                    <a:lnTo>
                      <a:pt x="33" y="253"/>
                    </a:lnTo>
                    <a:lnTo>
                      <a:pt x="30" y="253"/>
                    </a:lnTo>
                    <a:lnTo>
                      <a:pt x="30" y="253"/>
                    </a:lnTo>
                    <a:lnTo>
                      <a:pt x="30" y="253"/>
                    </a:lnTo>
                    <a:lnTo>
                      <a:pt x="30" y="253"/>
                    </a:lnTo>
                    <a:lnTo>
                      <a:pt x="30" y="253"/>
                    </a:lnTo>
                    <a:lnTo>
                      <a:pt x="28" y="253"/>
                    </a:lnTo>
                    <a:lnTo>
                      <a:pt x="28" y="255"/>
                    </a:lnTo>
                    <a:lnTo>
                      <a:pt x="28" y="253"/>
                    </a:lnTo>
                    <a:lnTo>
                      <a:pt x="23" y="253"/>
                    </a:lnTo>
                    <a:lnTo>
                      <a:pt x="0" y="243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19" name="Freeform 33"/>
              <p:cNvSpPr>
                <a:spLocks/>
              </p:cNvSpPr>
              <p:nvPr/>
            </p:nvSpPr>
            <p:spPr bwMode="auto">
              <a:xfrm>
                <a:off x="7730781" y="1100667"/>
                <a:ext cx="799063" cy="954200"/>
              </a:xfrm>
              <a:custGeom>
                <a:avLst/>
                <a:gdLst/>
                <a:ahLst/>
                <a:cxnLst>
                  <a:cxn ang="0">
                    <a:pos x="17" y="166"/>
                  </a:cxn>
                  <a:cxn ang="0">
                    <a:pos x="69" y="152"/>
                  </a:cxn>
                  <a:cxn ang="0">
                    <a:pos x="114" y="178"/>
                  </a:cxn>
                  <a:cxn ang="0">
                    <a:pos x="142" y="175"/>
                  </a:cxn>
                  <a:cxn ang="0">
                    <a:pos x="163" y="187"/>
                  </a:cxn>
                  <a:cxn ang="0">
                    <a:pos x="187" y="173"/>
                  </a:cxn>
                  <a:cxn ang="0">
                    <a:pos x="222" y="201"/>
                  </a:cxn>
                  <a:cxn ang="0">
                    <a:pos x="258" y="206"/>
                  </a:cxn>
                  <a:cxn ang="0">
                    <a:pos x="258" y="175"/>
                  </a:cxn>
                  <a:cxn ang="0">
                    <a:pos x="289" y="159"/>
                  </a:cxn>
                  <a:cxn ang="0">
                    <a:pos x="305" y="145"/>
                  </a:cxn>
                  <a:cxn ang="0">
                    <a:pos x="338" y="156"/>
                  </a:cxn>
                  <a:cxn ang="0">
                    <a:pos x="359" y="145"/>
                  </a:cxn>
                  <a:cxn ang="0">
                    <a:pos x="383" y="142"/>
                  </a:cxn>
                  <a:cxn ang="0">
                    <a:pos x="404" y="135"/>
                  </a:cxn>
                  <a:cxn ang="0">
                    <a:pos x="430" y="111"/>
                  </a:cxn>
                  <a:cxn ang="0">
                    <a:pos x="449" y="97"/>
                  </a:cxn>
                  <a:cxn ang="0">
                    <a:pos x="485" y="100"/>
                  </a:cxn>
                  <a:cxn ang="0">
                    <a:pos x="508" y="71"/>
                  </a:cxn>
                  <a:cxn ang="0">
                    <a:pos x="537" y="41"/>
                  </a:cxn>
                  <a:cxn ang="0">
                    <a:pos x="529" y="8"/>
                  </a:cxn>
                  <a:cxn ang="0">
                    <a:pos x="572" y="10"/>
                  </a:cxn>
                  <a:cxn ang="0">
                    <a:pos x="610" y="26"/>
                  </a:cxn>
                  <a:cxn ang="0">
                    <a:pos x="607" y="71"/>
                  </a:cxn>
                  <a:cxn ang="0">
                    <a:pos x="600" y="100"/>
                  </a:cxn>
                  <a:cxn ang="0">
                    <a:pos x="624" y="109"/>
                  </a:cxn>
                  <a:cxn ang="0">
                    <a:pos x="650" y="123"/>
                  </a:cxn>
                  <a:cxn ang="0">
                    <a:pos x="662" y="166"/>
                  </a:cxn>
                  <a:cxn ang="0">
                    <a:pos x="669" y="178"/>
                  </a:cxn>
                  <a:cxn ang="0">
                    <a:pos x="655" y="196"/>
                  </a:cxn>
                  <a:cxn ang="0">
                    <a:pos x="633" y="218"/>
                  </a:cxn>
                  <a:cxn ang="0">
                    <a:pos x="636" y="248"/>
                  </a:cxn>
                  <a:cxn ang="0">
                    <a:pos x="624" y="282"/>
                  </a:cxn>
                  <a:cxn ang="0">
                    <a:pos x="612" y="333"/>
                  </a:cxn>
                  <a:cxn ang="0">
                    <a:pos x="624" y="378"/>
                  </a:cxn>
                  <a:cxn ang="0">
                    <a:pos x="645" y="407"/>
                  </a:cxn>
                  <a:cxn ang="0">
                    <a:pos x="643" y="442"/>
                  </a:cxn>
                  <a:cxn ang="0">
                    <a:pos x="655" y="463"/>
                  </a:cxn>
                  <a:cxn ang="0">
                    <a:pos x="685" y="485"/>
                  </a:cxn>
                  <a:cxn ang="0">
                    <a:pos x="702" y="506"/>
                  </a:cxn>
                  <a:cxn ang="0">
                    <a:pos x="740" y="518"/>
                  </a:cxn>
                  <a:cxn ang="0">
                    <a:pos x="596" y="681"/>
                  </a:cxn>
                  <a:cxn ang="0">
                    <a:pos x="574" y="726"/>
                  </a:cxn>
                  <a:cxn ang="0">
                    <a:pos x="565" y="770"/>
                  </a:cxn>
                  <a:cxn ang="0">
                    <a:pos x="548" y="796"/>
                  </a:cxn>
                  <a:cxn ang="0">
                    <a:pos x="515" y="799"/>
                  </a:cxn>
                  <a:cxn ang="0">
                    <a:pos x="494" y="763"/>
                  </a:cxn>
                  <a:cxn ang="0">
                    <a:pos x="449" y="766"/>
                  </a:cxn>
                  <a:cxn ang="0">
                    <a:pos x="411" y="815"/>
                  </a:cxn>
                  <a:cxn ang="0">
                    <a:pos x="411" y="865"/>
                  </a:cxn>
                  <a:cxn ang="0">
                    <a:pos x="388" y="872"/>
                  </a:cxn>
                  <a:cxn ang="0">
                    <a:pos x="338" y="825"/>
                  </a:cxn>
                  <a:cxn ang="0">
                    <a:pos x="300" y="796"/>
                  </a:cxn>
                  <a:cxn ang="0">
                    <a:pos x="310" y="780"/>
                  </a:cxn>
                  <a:cxn ang="0">
                    <a:pos x="322" y="754"/>
                  </a:cxn>
                  <a:cxn ang="0">
                    <a:pos x="326" y="719"/>
                  </a:cxn>
                  <a:cxn ang="0">
                    <a:pos x="298" y="655"/>
                  </a:cxn>
                  <a:cxn ang="0">
                    <a:pos x="300" y="563"/>
                  </a:cxn>
                  <a:cxn ang="0">
                    <a:pos x="263" y="489"/>
                  </a:cxn>
                  <a:cxn ang="0">
                    <a:pos x="215" y="414"/>
                  </a:cxn>
                  <a:cxn ang="0">
                    <a:pos x="118" y="374"/>
                  </a:cxn>
                  <a:cxn ang="0">
                    <a:pos x="107" y="341"/>
                  </a:cxn>
                  <a:cxn ang="0">
                    <a:pos x="74" y="282"/>
                  </a:cxn>
                </a:cxnLst>
                <a:rect l="0" t="0" r="r" b="b"/>
                <a:pathLst>
                  <a:path w="752" h="898">
                    <a:moveTo>
                      <a:pt x="81" y="234"/>
                    </a:moveTo>
                    <a:lnTo>
                      <a:pt x="81" y="232"/>
                    </a:lnTo>
                    <a:lnTo>
                      <a:pt x="81" y="230"/>
                    </a:lnTo>
                    <a:lnTo>
                      <a:pt x="81" y="225"/>
                    </a:lnTo>
                    <a:lnTo>
                      <a:pt x="78" y="222"/>
                    </a:lnTo>
                    <a:lnTo>
                      <a:pt x="74" y="218"/>
                    </a:lnTo>
                    <a:lnTo>
                      <a:pt x="71" y="213"/>
                    </a:lnTo>
                    <a:lnTo>
                      <a:pt x="69" y="213"/>
                    </a:lnTo>
                    <a:lnTo>
                      <a:pt x="69" y="211"/>
                    </a:lnTo>
                    <a:lnTo>
                      <a:pt x="66" y="206"/>
                    </a:lnTo>
                    <a:lnTo>
                      <a:pt x="62" y="204"/>
                    </a:lnTo>
                    <a:lnTo>
                      <a:pt x="62" y="204"/>
                    </a:lnTo>
                    <a:lnTo>
                      <a:pt x="55" y="199"/>
                    </a:lnTo>
                    <a:lnTo>
                      <a:pt x="52" y="199"/>
                    </a:lnTo>
                    <a:lnTo>
                      <a:pt x="50" y="196"/>
                    </a:lnTo>
                    <a:lnTo>
                      <a:pt x="48" y="196"/>
                    </a:lnTo>
                    <a:lnTo>
                      <a:pt x="43" y="196"/>
                    </a:lnTo>
                    <a:lnTo>
                      <a:pt x="43" y="196"/>
                    </a:lnTo>
                    <a:lnTo>
                      <a:pt x="41" y="192"/>
                    </a:lnTo>
                    <a:lnTo>
                      <a:pt x="38" y="187"/>
                    </a:lnTo>
                    <a:lnTo>
                      <a:pt x="33" y="185"/>
                    </a:lnTo>
                    <a:lnTo>
                      <a:pt x="31" y="182"/>
                    </a:lnTo>
                    <a:lnTo>
                      <a:pt x="31" y="178"/>
                    </a:lnTo>
                    <a:lnTo>
                      <a:pt x="29" y="175"/>
                    </a:lnTo>
                    <a:lnTo>
                      <a:pt x="26" y="175"/>
                    </a:lnTo>
                    <a:lnTo>
                      <a:pt x="24" y="171"/>
                    </a:lnTo>
                    <a:lnTo>
                      <a:pt x="22" y="168"/>
                    </a:lnTo>
                    <a:lnTo>
                      <a:pt x="19" y="168"/>
                    </a:lnTo>
                    <a:lnTo>
                      <a:pt x="19" y="166"/>
                    </a:lnTo>
                    <a:lnTo>
                      <a:pt x="17" y="166"/>
                    </a:lnTo>
                    <a:lnTo>
                      <a:pt x="17" y="163"/>
                    </a:lnTo>
                    <a:lnTo>
                      <a:pt x="15" y="159"/>
                    </a:lnTo>
                    <a:lnTo>
                      <a:pt x="12" y="154"/>
                    </a:lnTo>
                    <a:lnTo>
                      <a:pt x="10" y="152"/>
                    </a:lnTo>
                    <a:lnTo>
                      <a:pt x="7" y="149"/>
                    </a:lnTo>
                    <a:lnTo>
                      <a:pt x="5" y="147"/>
                    </a:lnTo>
                    <a:lnTo>
                      <a:pt x="0" y="145"/>
                    </a:lnTo>
                    <a:lnTo>
                      <a:pt x="0" y="140"/>
                    </a:lnTo>
                    <a:lnTo>
                      <a:pt x="0" y="135"/>
                    </a:lnTo>
                    <a:lnTo>
                      <a:pt x="0" y="133"/>
                    </a:lnTo>
                    <a:lnTo>
                      <a:pt x="3" y="130"/>
                    </a:lnTo>
                    <a:lnTo>
                      <a:pt x="5" y="130"/>
                    </a:lnTo>
                    <a:lnTo>
                      <a:pt x="17" y="135"/>
                    </a:lnTo>
                    <a:lnTo>
                      <a:pt x="22" y="140"/>
                    </a:lnTo>
                    <a:lnTo>
                      <a:pt x="24" y="149"/>
                    </a:lnTo>
                    <a:lnTo>
                      <a:pt x="29" y="154"/>
                    </a:lnTo>
                    <a:lnTo>
                      <a:pt x="33" y="154"/>
                    </a:lnTo>
                    <a:lnTo>
                      <a:pt x="36" y="154"/>
                    </a:lnTo>
                    <a:lnTo>
                      <a:pt x="38" y="154"/>
                    </a:lnTo>
                    <a:lnTo>
                      <a:pt x="41" y="154"/>
                    </a:lnTo>
                    <a:lnTo>
                      <a:pt x="41" y="154"/>
                    </a:lnTo>
                    <a:lnTo>
                      <a:pt x="45" y="152"/>
                    </a:lnTo>
                    <a:lnTo>
                      <a:pt x="50" y="149"/>
                    </a:lnTo>
                    <a:lnTo>
                      <a:pt x="52" y="149"/>
                    </a:lnTo>
                    <a:lnTo>
                      <a:pt x="55" y="149"/>
                    </a:lnTo>
                    <a:lnTo>
                      <a:pt x="62" y="152"/>
                    </a:lnTo>
                    <a:lnTo>
                      <a:pt x="64" y="149"/>
                    </a:lnTo>
                    <a:lnTo>
                      <a:pt x="66" y="149"/>
                    </a:lnTo>
                    <a:lnTo>
                      <a:pt x="69" y="149"/>
                    </a:lnTo>
                    <a:lnTo>
                      <a:pt x="69" y="152"/>
                    </a:lnTo>
                    <a:lnTo>
                      <a:pt x="71" y="152"/>
                    </a:lnTo>
                    <a:lnTo>
                      <a:pt x="71" y="152"/>
                    </a:lnTo>
                    <a:lnTo>
                      <a:pt x="74" y="152"/>
                    </a:lnTo>
                    <a:lnTo>
                      <a:pt x="76" y="154"/>
                    </a:lnTo>
                    <a:lnTo>
                      <a:pt x="81" y="154"/>
                    </a:lnTo>
                    <a:lnTo>
                      <a:pt x="83" y="152"/>
                    </a:lnTo>
                    <a:lnTo>
                      <a:pt x="83" y="152"/>
                    </a:lnTo>
                    <a:lnTo>
                      <a:pt x="85" y="154"/>
                    </a:lnTo>
                    <a:lnTo>
                      <a:pt x="88" y="154"/>
                    </a:lnTo>
                    <a:lnTo>
                      <a:pt x="90" y="156"/>
                    </a:lnTo>
                    <a:lnTo>
                      <a:pt x="92" y="161"/>
                    </a:lnTo>
                    <a:lnTo>
                      <a:pt x="92" y="163"/>
                    </a:lnTo>
                    <a:lnTo>
                      <a:pt x="90" y="163"/>
                    </a:lnTo>
                    <a:lnTo>
                      <a:pt x="92" y="166"/>
                    </a:lnTo>
                    <a:lnTo>
                      <a:pt x="95" y="168"/>
                    </a:lnTo>
                    <a:lnTo>
                      <a:pt x="97" y="175"/>
                    </a:lnTo>
                    <a:lnTo>
                      <a:pt x="100" y="175"/>
                    </a:lnTo>
                    <a:lnTo>
                      <a:pt x="100" y="175"/>
                    </a:lnTo>
                    <a:lnTo>
                      <a:pt x="104" y="178"/>
                    </a:lnTo>
                    <a:lnTo>
                      <a:pt x="104" y="180"/>
                    </a:lnTo>
                    <a:lnTo>
                      <a:pt x="107" y="182"/>
                    </a:lnTo>
                    <a:lnTo>
                      <a:pt x="107" y="182"/>
                    </a:lnTo>
                    <a:lnTo>
                      <a:pt x="109" y="185"/>
                    </a:lnTo>
                    <a:lnTo>
                      <a:pt x="109" y="185"/>
                    </a:lnTo>
                    <a:lnTo>
                      <a:pt x="109" y="182"/>
                    </a:lnTo>
                    <a:lnTo>
                      <a:pt x="109" y="182"/>
                    </a:lnTo>
                    <a:lnTo>
                      <a:pt x="109" y="182"/>
                    </a:lnTo>
                    <a:lnTo>
                      <a:pt x="111" y="182"/>
                    </a:lnTo>
                    <a:lnTo>
                      <a:pt x="111" y="180"/>
                    </a:lnTo>
                    <a:lnTo>
                      <a:pt x="114" y="178"/>
                    </a:lnTo>
                    <a:lnTo>
                      <a:pt x="114" y="178"/>
                    </a:lnTo>
                    <a:lnTo>
                      <a:pt x="116" y="178"/>
                    </a:lnTo>
                    <a:lnTo>
                      <a:pt x="116" y="178"/>
                    </a:lnTo>
                    <a:lnTo>
                      <a:pt x="116" y="175"/>
                    </a:lnTo>
                    <a:lnTo>
                      <a:pt x="118" y="178"/>
                    </a:lnTo>
                    <a:lnTo>
                      <a:pt x="121" y="175"/>
                    </a:lnTo>
                    <a:lnTo>
                      <a:pt x="123" y="175"/>
                    </a:lnTo>
                    <a:lnTo>
                      <a:pt x="123" y="175"/>
                    </a:lnTo>
                    <a:lnTo>
                      <a:pt x="123" y="175"/>
                    </a:lnTo>
                    <a:lnTo>
                      <a:pt x="123" y="175"/>
                    </a:lnTo>
                    <a:lnTo>
                      <a:pt x="126" y="175"/>
                    </a:lnTo>
                    <a:lnTo>
                      <a:pt x="126" y="175"/>
                    </a:lnTo>
                    <a:lnTo>
                      <a:pt x="128" y="175"/>
                    </a:lnTo>
                    <a:lnTo>
                      <a:pt x="130" y="178"/>
                    </a:lnTo>
                    <a:lnTo>
                      <a:pt x="133" y="175"/>
                    </a:lnTo>
                    <a:lnTo>
                      <a:pt x="135" y="175"/>
                    </a:lnTo>
                    <a:lnTo>
                      <a:pt x="137" y="178"/>
                    </a:lnTo>
                    <a:lnTo>
                      <a:pt x="137" y="178"/>
                    </a:lnTo>
                    <a:lnTo>
                      <a:pt x="137" y="178"/>
                    </a:lnTo>
                    <a:lnTo>
                      <a:pt x="140" y="180"/>
                    </a:lnTo>
                    <a:lnTo>
                      <a:pt x="140" y="180"/>
                    </a:lnTo>
                    <a:lnTo>
                      <a:pt x="142" y="180"/>
                    </a:lnTo>
                    <a:lnTo>
                      <a:pt x="142" y="180"/>
                    </a:lnTo>
                    <a:lnTo>
                      <a:pt x="142" y="180"/>
                    </a:lnTo>
                    <a:lnTo>
                      <a:pt x="144" y="180"/>
                    </a:lnTo>
                    <a:lnTo>
                      <a:pt x="147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5"/>
                    </a:lnTo>
                    <a:lnTo>
                      <a:pt x="142" y="175"/>
                    </a:lnTo>
                    <a:lnTo>
                      <a:pt x="142" y="175"/>
                    </a:lnTo>
                    <a:lnTo>
                      <a:pt x="142" y="175"/>
                    </a:lnTo>
                    <a:lnTo>
                      <a:pt x="142" y="173"/>
                    </a:lnTo>
                    <a:lnTo>
                      <a:pt x="142" y="173"/>
                    </a:lnTo>
                    <a:lnTo>
                      <a:pt x="144" y="171"/>
                    </a:lnTo>
                    <a:lnTo>
                      <a:pt x="144" y="168"/>
                    </a:lnTo>
                    <a:lnTo>
                      <a:pt x="144" y="168"/>
                    </a:lnTo>
                    <a:lnTo>
                      <a:pt x="144" y="166"/>
                    </a:lnTo>
                    <a:lnTo>
                      <a:pt x="144" y="166"/>
                    </a:lnTo>
                    <a:lnTo>
                      <a:pt x="144" y="166"/>
                    </a:lnTo>
                    <a:lnTo>
                      <a:pt x="147" y="166"/>
                    </a:lnTo>
                    <a:lnTo>
                      <a:pt x="147" y="168"/>
                    </a:lnTo>
                    <a:lnTo>
                      <a:pt x="149" y="171"/>
                    </a:lnTo>
                    <a:lnTo>
                      <a:pt x="152" y="173"/>
                    </a:lnTo>
                    <a:lnTo>
                      <a:pt x="154" y="175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80"/>
                    </a:lnTo>
                    <a:lnTo>
                      <a:pt x="156" y="182"/>
                    </a:lnTo>
                    <a:lnTo>
                      <a:pt x="156" y="182"/>
                    </a:lnTo>
                    <a:lnTo>
                      <a:pt x="156" y="182"/>
                    </a:lnTo>
                    <a:lnTo>
                      <a:pt x="156" y="182"/>
                    </a:lnTo>
                    <a:lnTo>
                      <a:pt x="159" y="182"/>
                    </a:lnTo>
                    <a:lnTo>
                      <a:pt x="161" y="182"/>
                    </a:lnTo>
                    <a:lnTo>
                      <a:pt x="161" y="185"/>
                    </a:lnTo>
                    <a:lnTo>
                      <a:pt x="161" y="185"/>
                    </a:lnTo>
                    <a:lnTo>
                      <a:pt x="161" y="185"/>
                    </a:lnTo>
                    <a:lnTo>
                      <a:pt x="163" y="185"/>
                    </a:lnTo>
                    <a:lnTo>
                      <a:pt x="163" y="187"/>
                    </a:lnTo>
                    <a:lnTo>
                      <a:pt x="163" y="187"/>
                    </a:lnTo>
                    <a:lnTo>
                      <a:pt x="166" y="187"/>
                    </a:lnTo>
                    <a:lnTo>
                      <a:pt x="166" y="187"/>
                    </a:lnTo>
                    <a:lnTo>
                      <a:pt x="168" y="189"/>
                    </a:lnTo>
                    <a:lnTo>
                      <a:pt x="168" y="187"/>
                    </a:lnTo>
                    <a:lnTo>
                      <a:pt x="166" y="185"/>
                    </a:lnTo>
                    <a:lnTo>
                      <a:pt x="168" y="185"/>
                    </a:lnTo>
                    <a:lnTo>
                      <a:pt x="168" y="185"/>
                    </a:lnTo>
                    <a:lnTo>
                      <a:pt x="168" y="185"/>
                    </a:lnTo>
                    <a:lnTo>
                      <a:pt x="170" y="185"/>
                    </a:lnTo>
                    <a:lnTo>
                      <a:pt x="170" y="185"/>
                    </a:lnTo>
                    <a:lnTo>
                      <a:pt x="173" y="185"/>
                    </a:lnTo>
                    <a:lnTo>
                      <a:pt x="173" y="187"/>
                    </a:lnTo>
                    <a:lnTo>
                      <a:pt x="175" y="185"/>
                    </a:lnTo>
                    <a:lnTo>
                      <a:pt x="175" y="185"/>
                    </a:lnTo>
                    <a:lnTo>
                      <a:pt x="175" y="182"/>
                    </a:lnTo>
                    <a:lnTo>
                      <a:pt x="178" y="180"/>
                    </a:lnTo>
                    <a:lnTo>
                      <a:pt x="180" y="180"/>
                    </a:lnTo>
                    <a:lnTo>
                      <a:pt x="178" y="178"/>
                    </a:lnTo>
                    <a:lnTo>
                      <a:pt x="178" y="178"/>
                    </a:lnTo>
                    <a:lnTo>
                      <a:pt x="178" y="175"/>
                    </a:lnTo>
                    <a:lnTo>
                      <a:pt x="175" y="175"/>
                    </a:lnTo>
                    <a:lnTo>
                      <a:pt x="175" y="175"/>
                    </a:lnTo>
                    <a:lnTo>
                      <a:pt x="175" y="175"/>
                    </a:lnTo>
                    <a:lnTo>
                      <a:pt x="175" y="175"/>
                    </a:lnTo>
                    <a:lnTo>
                      <a:pt x="173" y="175"/>
                    </a:lnTo>
                    <a:lnTo>
                      <a:pt x="173" y="173"/>
                    </a:lnTo>
                    <a:lnTo>
                      <a:pt x="175" y="171"/>
                    </a:lnTo>
                    <a:lnTo>
                      <a:pt x="178" y="171"/>
                    </a:lnTo>
                    <a:lnTo>
                      <a:pt x="180" y="171"/>
                    </a:lnTo>
                    <a:lnTo>
                      <a:pt x="187" y="173"/>
                    </a:lnTo>
                    <a:lnTo>
                      <a:pt x="189" y="173"/>
                    </a:lnTo>
                    <a:lnTo>
                      <a:pt x="189" y="173"/>
                    </a:lnTo>
                    <a:lnTo>
                      <a:pt x="192" y="173"/>
                    </a:lnTo>
                    <a:lnTo>
                      <a:pt x="192" y="173"/>
                    </a:lnTo>
                    <a:lnTo>
                      <a:pt x="192" y="171"/>
                    </a:lnTo>
                    <a:lnTo>
                      <a:pt x="192" y="171"/>
                    </a:lnTo>
                    <a:lnTo>
                      <a:pt x="194" y="173"/>
                    </a:lnTo>
                    <a:lnTo>
                      <a:pt x="194" y="173"/>
                    </a:lnTo>
                    <a:lnTo>
                      <a:pt x="196" y="173"/>
                    </a:lnTo>
                    <a:lnTo>
                      <a:pt x="199" y="173"/>
                    </a:lnTo>
                    <a:lnTo>
                      <a:pt x="199" y="173"/>
                    </a:lnTo>
                    <a:lnTo>
                      <a:pt x="203" y="175"/>
                    </a:lnTo>
                    <a:lnTo>
                      <a:pt x="206" y="175"/>
                    </a:lnTo>
                    <a:lnTo>
                      <a:pt x="203" y="182"/>
                    </a:lnTo>
                    <a:lnTo>
                      <a:pt x="201" y="182"/>
                    </a:lnTo>
                    <a:lnTo>
                      <a:pt x="201" y="187"/>
                    </a:lnTo>
                    <a:lnTo>
                      <a:pt x="201" y="187"/>
                    </a:lnTo>
                    <a:lnTo>
                      <a:pt x="201" y="189"/>
                    </a:lnTo>
                    <a:lnTo>
                      <a:pt x="206" y="192"/>
                    </a:lnTo>
                    <a:lnTo>
                      <a:pt x="206" y="192"/>
                    </a:lnTo>
                    <a:lnTo>
                      <a:pt x="208" y="192"/>
                    </a:lnTo>
                    <a:lnTo>
                      <a:pt x="211" y="194"/>
                    </a:lnTo>
                    <a:lnTo>
                      <a:pt x="211" y="194"/>
                    </a:lnTo>
                    <a:lnTo>
                      <a:pt x="213" y="194"/>
                    </a:lnTo>
                    <a:lnTo>
                      <a:pt x="215" y="194"/>
                    </a:lnTo>
                    <a:lnTo>
                      <a:pt x="218" y="194"/>
                    </a:lnTo>
                    <a:lnTo>
                      <a:pt x="220" y="196"/>
                    </a:lnTo>
                    <a:lnTo>
                      <a:pt x="220" y="199"/>
                    </a:lnTo>
                    <a:lnTo>
                      <a:pt x="222" y="201"/>
                    </a:lnTo>
                    <a:lnTo>
                      <a:pt x="222" y="201"/>
                    </a:lnTo>
                    <a:lnTo>
                      <a:pt x="225" y="201"/>
                    </a:lnTo>
                    <a:lnTo>
                      <a:pt x="225" y="201"/>
                    </a:lnTo>
                    <a:lnTo>
                      <a:pt x="222" y="204"/>
                    </a:lnTo>
                    <a:lnTo>
                      <a:pt x="222" y="206"/>
                    </a:lnTo>
                    <a:lnTo>
                      <a:pt x="222" y="208"/>
                    </a:lnTo>
                    <a:lnTo>
                      <a:pt x="220" y="208"/>
                    </a:lnTo>
                    <a:lnTo>
                      <a:pt x="222" y="208"/>
                    </a:lnTo>
                    <a:lnTo>
                      <a:pt x="227" y="211"/>
                    </a:lnTo>
                    <a:lnTo>
                      <a:pt x="227" y="213"/>
                    </a:lnTo>
                    <a:lnTo>
                      <a:pt x="229" y="213"/>
                    </a:lnTo>
                    <a:lnTo>
                      <a:pt x="229" y="218"/>
                    </a:lnTo>
                    <a:lnTo>
                      <a:pt x="232" y="218"/>
                    </a:lnTo>
                    <a:lnTo>
                      <a:pt x="234" y="220"/>
                    </a:lnTo>
                    <a:lnTo>
                      <a:pt x="234" y="220"/>
                    </a:lnTo>
                    <a:lnTo>
                      <a:pt x="237" y="220"/>
                    </a:lnTo>
                    <a:lnTo>
                      <a:pt x="237" y="218"/>
                    </a:lnTo>
                    <a:lnTo>
                      <a:pt x="239" y="215"/>
                    </a:lnTo>
                    <a:lnTo>
                      <a:pt x="241" y="213"/>
                    </a:lnTo>
                    <a:lnTo>
                      <a:pt x="241" y="211"/>
                    </a:lnTo>
                    <a:lnTo>
                      <a:pt x="244" y="211"/>
                    </a:lnTo>
                    <a:lnTo>
                      <a:pt x="246" y="208"/>
                    </a:lnTo>
                    <a:lnTo>
                      <a:pt x="246" y="206"/>
                    </a:lnTo>
                    <a:lnTo>
                      <a:pt x="248" y="206"/>
                    </a:lnTo>
                    <a:lnTo>
                      <a:pt x="253" y="201"/>
                    </a:lnTo>
                    <a:lnTo>
                      <a:pt x="253" y="204"/>
                    </a:lnTo>
                    <a:lnTo>
                      <a:pt x="255" y="204"/>
                    </a:lnTo>
                    <a:lnTo>
                      <a:pt x="255" y="204"/>
                    </a:lnTo>
                    <a:lnTo>
                      <a:pt x="255" y="204"/>
                    </a:lnTo>
                    <a:lnTo>
                      <a:pt x="258" y="204"/>
                    </a:lnTo>
                    <a:lnTo>
                      <a:pt x="258" y="206"/>
                    </a:lnTo>
                    <a:lnTo>
                      <a:pt x="258" y="206"/>
                    </a:lnTo>
                    <a:lnTo>
                      <a:pt x="260" y="208"/>
                    </a:lnTo>
                    <a:lnTo>
                      <a:pt x="263" y="211"/>
                    </a:lnTo>
                    <a:lnTo>
                      <a:pt x="263" y="211"/>
                    </a:lnTo>
                    <a:lnTo>
                      <a:pt x="263" y="208"/>
                    </a:lnTo>
                    <a:lnTo>
                      <a:pt x="265" y="208"/>
                    </a:lnTo>
                    <a:lnTo>
                      <a:pt x="265" y="206"/>
                    </a:lnTo>
                    <a:lnTo>
                      <a:pt x="265" y="206"/>
                    </a:lnTo>
                    <a:lnTo>
                      <a:pt x="265" y="204"/>
                    </a:lnTo>
                    <a:lnTo>
                      <a:pt x="265" y="201"/>
                    </a:lnTo>
                    <a:lnTo>
                      <a:pt x="265" y="199"/>
                    </a:lnTo>
                    <a:lnTo>
                      <a:pt x="265" y="196"/>
                    </a:lnTo>
                    <a:lnTo>
                      <a:pt x="263" y="196"/>
                    </a:lnTo>
                    <a:lnTo>
                      <a:pt x="265" y="194"/>
                    </a:lnTo>
                    <a:lnTo>
                      <a:pt x="265" y="194"/>
                    </a:lnTo>
                    <a:lnTo>
                      <a:pt x="263" y="194"/>
                    </a:lnTo>
                    <a:lnTo>
                      <a:pt x="263" y="192"/>
                    </a:lnTo>
                    <a:lnTo>
                      <a:pt x="260" y="189"/>
                    </a:lnTo>
                    <a:lnTo>
                      <a:pt x="260" y="189"/>
                    </a:lnTo>
                    <a:lnTo>
                      <a:pt x="263" y="187"/>
                    </a:lnTo>
                    <a:lnTo>
                      <a:pt x="263" y="187"/>
                    </a:lnTo>
                    <a:lnTo>
                      <a:pt x="263" y="187"/>
                    </a:lnTo>
                    <a:lnTo>
                      <a:pt x="260" y="185"/>
                    </a:lnTo>
                    <a:lnTo>
                      <a:pt x="258" y="185"/>
                    </a:lnTo>
                    <a:lnTo>
                      <a:pt x="258" y="182"/>
                    </a:lnTo>
                    <a:lnTo>
                      <a:pt x="258" y="182"/>
                    </a:lnTo>
                    <a:lnTo>
                      <a:pt x="258" y="178"/>
                    </a:lnTo>
                    <a:lnTo>
                      <a:pt x="258" y="178"/>
                    </a:lnTo>
                    <a:lnTo>
                      <a:pt x="258" y="178"/>
                    </a:lnTo>
                    <a:lnTo>
                      <a:pt x="258" y="175"/>
                    </a:lnTo>
                    <a:lnTo>
                      <a:pt x="260" y="175"/>
                    </a:lnTo>
                    <a:lnTo>
                      <a:pt x="263" y="173"/>
                    </a:lnTo>
                    <a:lnTo>
                      <a:pt x="263" y="171"/>
                    </a:lnTo>
                    <a:lnTo>
                      <a:pt x="260" y="171"/>
                    </a:lnTo>
                    <a:lnTo>
                      <a:pt x="260" y="166"/>
                    </a:lnTo>
                    <a:lnTo>
                      <a:pt x="260" y="166"/>
                    </a:lnTo>
                    <a:lnTo>
                      <a:pt x="263" y="166"/>
                    </a:lnTo>
                    <a:lnTo>
                      <a:pt x="263" y="163"/>
                    </a:lnTo>
                    <a:lnTo>
                      <a:pt x="263" y="163"/>
                    </a:lnTo>
                    <a:lnTo>
                      <a:pt x="265" y="163"/>
                    </a:lnTo>
                    <a:lnTo>
                      <a:pt x="270" y="163"/>
                    </a:lnTo>
                    <a:lnTo>
                      <a:pt x="270" y="163"/>
                    </a:lnTo>
                    <a:lnTo>
                      <a:pt x="272" y="163"/>
                    </a:lnTo>
                    <a:lnTo>
                      <a:pt x="274" y="163"/>
                    </a:lnTo>
                    <a:lnTo>
                      <a:pt x="274" y="163"/>
                    </a:lnTo>
                    <a:lnTo>
                      <a:pt x="274" y="161"/>
                    </a:lnTo>
                    <a:lnTo>
                      <a:pt x="279" y="163"/>
                    </a:lnTo>
                    <a:lnTo>
                      <a:pt x="281" y="163"/>
                    </a:lnTo>
                    <a:lnTo>
                      <a:pt x="281" y="163"/>
                    </a:lnTo>
                    <a:lnTo>
                      <a:pt x="284" y="163"/>
                    </a:lnTo>
                    <a:lnTo>
                      <a:pt x="284" y="166"/>
                    </a:lnTo>
                    <a:lnTo>
                      <a:pt x="284" y="166"/>
                    </a:lnTo>
                    <a:lnTo>
                      <a:pt x="284" y="166"/>
                    </a:lnTo>
                    <a:lnTo>
                      <a:pt x="289" y="166"/>
                    </a:lnTo>
                    <a:lnTo>
                      <a:pt x="286" y="166"/>
                    </a:lnTo>
                    <a:lnTo>
                      <a:pt x="286" y="163"/>
                    </a:lnTo>
                    <a:lnTo>
                      <a:pt x="289" y="163"/>
                    </a:lnTo>
                    <a:lnTo>
                      <a:pt x="289" y="163"/>
                    </a:lnTo>
                    <a:lnTo>
                      <a:pt x="291" y="161"/>
                    </a:lnTo>
                    <a:lnTo>
                      <a:pt x="289" y="159"/>
                    </a:lnTo>
                    <a:lnTo>
                      <a:pt x="289" y="156"/>
                    </a:lnTo>
                    <a:lnTo>
                      <a:pt x="289" y="159"/>
                    </a:lnTo>
                    <a:lnTo>
                      <a:pt x="286" y="156"/>
                    </a:lnTo>
                    <a:lnTo>
                      <a:pt x="289" y="156"/>
                    </a:lnTo>
                    <a:lnTo>
                      <a:pt x="289" y="156"/>
                    </a:lnTo>
                    <a:lnTo>
                      <a:pt x="289" y="154"/>
                    </a:lnTo>
                    <a:lnTo>
                      <a:pt x="289" y="154"/>
                    </a:lnTo>
                    <a:lnTo>
                      <a:pt x="291" y="154"/>
                    </a:lnTo>
                    <a:lnTo>
                      <a:pt x="291" y="152"/>
                    </a:lnTo>
                    <a:lnTo>
                      <a:pt x="291" y="149"/>
                    </a:lnTo>
                    <a:lnTo>
                      <a:pt x="293" y="152"/>
                    </a:lnTo>
                    <a:lnTo>
                      <a:pt x="293" y="149"/>
                    </a:lnTo>
                    <a:lnTo>
                      <a:pt x="293" y="149"/>
                    </a:lnTo>
                    <a:lnTo>
                      <a:pt x="296" y="149"/>
                    </a:lnTo>
                    <a:lnTo>
                      <a:pt x="296" y="149"/>
                    </a:lnTo>
                    <a:lnTo>
                      <a:pt x="298" y="152"/>
                    </a:lnTo>
                    <a:lnTo>
                      <a:pt x="298" y="149"/>
                    </a:lnTo>
                    <a:lnTo>
                      <a:pt x="298" y="149"/>
                    </a:lnTo>
                    <a:lnTo>
                      <a:pt x="300" y="149"/>
                    </a:lnTo>
                    <a:lnTo>
                      <a:pt x="300" y="147"/>
                    </a:lnTo>
                    <a:lnTo>
                      <a:pt x="300" y="147"/>
                    </a:lnTo>
                    <a:lnTo>
                      <a:pt x="300" y="147"/>
                    </a:lnTo>
                    <a:lnTo>
                      <a:pt x="298" y="147"/>
                    </a:lnTo>
                    <a:lnTo>
                      <a:pt x="298" y="145"/>
                    </a:lnTo>
                    <a:lnTo>
                      <a:pt x="300" y="145"/>
                    </a:lnTo>
                    <a:lnTo>
                      <a:pt x="300" y="145"/>
                    </a:lnTo>
                    <a:lnTo>
                      <a:pt x="300" y="145"/>
                    </a:lnTo>
                    <a:lnTo>
                      <a:pt x="300" y="145"/>
                    </a:lnTo>
                    <a:lnTo>
                      <a:pt x="303" y="145"/>
                    </a:lnTo>
                    <a:lnTo>
                      <a:pt x="305" y="145"/>
                    </a:lnTo>
                    <a:lnTo>
                      <a:pt x="305" y="145"/>
                    </a:lnTo>
                    <a:lnTo>
                      <a:pt x="305" y="145"/>
                    </a:lnTo>
                    <a:lnTo>
                      <a:pt x="307" y="145"/>
                    </a:lnTo>
                    <a:lnTo>
                      <a:pt x="307" y="145"/>
                    </a:lnTo>
                    <a:lnTo>
                      <a:pt x="307" y="145"/>
                    </a:lnTo>
                    <a:lnTo>
                      <a:pt x="307" y="145"/>
                    </a:lnTo>
                    <a:lnTo>
                      <a:pt x="310" y="147"/>
                    </a:lnTo>
                    <a:lnTo>
                      <a:pt x="312" y="147"/>
                    </a:lnTo>
                    <a:lnTo>
                      <a:pt x="312" y="147"/>
                    </a:lnTo>
                    <a:lnTo>
                      <a:pt x="312" y="147"/>
                    </a:lnTo>
                    <a:lnTo>
                      <a:pt x="312" y="149"/>
                    </a:lnTo>
                    <a:lnTo>
                      <a:pt x="315" y="149"/>
                    </a:lnTo>
                    <a:lnTo>
                      <a:pt x="317" y="149"/>
                    </a:lnTo>
                    <a:lnTo>
                      <a:pt x="317" y="149"/>
                    </a:lnTo>
                    <a:lnTo>
                      <a:pt x="317" y="149"/>
                    </a:lnTo>
                    <a:lnTo>
                      <a:pt x="317" y="149"/>
                    </a:lnTo>
                    <a:lnTo>
                      <a:pt x="319" y="149"/>
                    </a:lnTo>
                    <a:lnTo>
                      <a:pt x="322" y="149"/>
                    </a:lnTo>
                    <a:lnTo>
                      <a:pt x="322" y="152"/>
                    </a:lnTo>
                    <a:lnTo>
                      <a:pt x="326" y="152"/>
                    </a:lnTo>
                    <a:lnTo>
                      <a:pt x="326" y="154"/>
                    </a:lnTo>
                    <a:lnTo>
                      <a:pt x="329" y="152"/>
                    </a:lnTo>
                    <a:lnTo>
                      <a:pt x="329" y="154"/>
                    </a:lnTo>
                    <a:lnTo>
                      <a:pt x="331" y="154"/>
                    </a:lnTo>
                    <a:lnTo>
                      <a:pt x="333" y="154"/>
                    </a:lnTo>
                    <a:lnTo>
                      <a:pt x="333" y="154"/>
                    </a:lnTo>
                    <a:lnTo>
                      <a:pt x="333" y="156"/>
                    </a:lnTo>
                    <a:lnTo>
                      <a:pt x="336" y="156"/>
                    </a:lnTo>
                    <a:lnTo>
                      <a:pt x="336" y="156"/>
                    </a:lnTo>
                    <a:lnTo>
                      <a:pt x="338" y="156"/>
                    </a:lnTo>
                    <a:lnTo>
                      <a:pt x="338" y="156"/>
                    </a:lnTo>
                    <a:lnTo>
                      <a:pt x="338" y="159"/>
                    </a:lnTo>
                    <a:lnTo>
                      <a:pt x="341" y="156"/>
                    </a:lnTo>
                    <a:lnTo>
                      <a:pt x="341" y="156"/>
                    </a:lnTo>
                    <a:lnTo>
                      <a:pt x="343" y="156"/>
                    </a:lnTo>
                    <a:lnTo>
                      <a:pt x="343" y="156"/>
                    </a:lnTo>
                    <a:lnTo>
                      <a:pt x="343" y="154"/>
                    </a:lnTo>
                    <a:lnTo>
                      <a:pt x="343" y="154"/>
                    </a:lnTo>
                    <a:lnTo>
                      <a:pt x="343" y="154"/>
                    </a:lnTo>
                    <a:lnTo>
                      <a:pt x="345" y="154"/>
                    </a:lnTo>
                    <a:lnTo>
                      <a:pt x="345" y="152"/>
                    </a:lnTo>
                    <a:lnTo>
                      <a:pt x="345" y="152"/>
                    </a:lnTo>
                    <a:lnTo>
                      <a:pt x="345" y="152"/>
                    </a:lnTo>
                    <a:lnTo>
                      <a:pt x="348" y="152"/>
                    </a:lnTo>
                    <a:lnTo>
                      <a:pt x="348" y="152"/>
                    </a:lnTo>
                    <a:lnTo>
                      <a:pt x="348" y="152"/>
                    </a:lnTo>
                    <a:lnTo>
                      <a:pt x="348" y="149"/>
                    </a:lnTo>
                    <a:lnTo>
                      <a:pt x="348" y="149"/>
                    </a:lnTo>
                    <a:lnTo>
                      <a:pt x="348" y="147"/>
                    </a:lnTo>
                    <a:lnTo>
                      <a:pt x="350" y="147"/>
                    </a:lnTo>
                    <a:lnTo>
                      <a:pt x="352" y="149"/>
                    </a:lnTo>
                    <a:lnTo>
                      <a:pt x="352" y="147"/>
                    </a:lnTo>
                    <a:lnTo>
                      <a:pt x="355" y="147"/>
                    </a:lnTo>
                    <a:lnTo>
                      <a:pt x="355" y="147"/>
                    </a:lnTo>
                    <a:lnTo>
                      <a:pt x="355" y="149"/>
                    </a:lnTo>
                    <a:lnTo>
                      <a:pt x="355" y="147"/>
                    </a:lnTo>
                    <a:lnTo>
                      <a:pt x="357" y="147"/>
                    </a:lnTo>
                    <a:lnTo>
                      <a:pt x="357" y="147"/>
                    </a:lnTo>
                    <a:lnTo>
                      <a:pt x="357" y="147"/>
                    </a:lnTo>
                    <a:lnTo>
                      <a:pt x="359" y="145"/>
                    </a:lnTo>
                    <a:lnTo>
                      <a:pt x="359" y="145"/>
                    </a:lnTo>
                    <a:lnTo>
                      <a:pt x="362" y="145"/>
                    </a:lnTo>
                    <a:lnTo>
                      <a:pt x="359" y="145"/>
                    </a:lnTo>
                    <a:lnTo>
                      <a:pt x="359" y="147"/>
                    </a:lnTo>
                    <a:lnTo>
                      <a:pt x="362" y="147"/>
                    </a:lnTo>
                    <a:lnTo>
                      <a:pt x="364" y="152"/>
                    </a:lnTo>
                    <a:lnTo>
                      <a:pt x="364" y="154"/>
                    </a:lnTo>
                    <a:lnTo>
                      <a:pt x="366" y="154"/>
                    </a:lnTo>
                    <a:lnTo>
                      <a:pt x="366" y="154"/>
                    </a:lnTo>
                    <a:lnTo>
                      <a:pt x="366" y="154"/>
                    </a:lnTo>
                    <a:lnTo>
                      <a:pt x="366" y="152"/>
                    </a:lnTo>
                    <a:lnTo>
                      <a:pt x="366" y="149"/>
                    </a:lnTo>
                    <a:lnTo>
                      <a:pt x="366" y="147"/>
                    </a:lnTo>
                    <a:lnTo>
                      <a:pt x="369" y="147"/>
                    </a:lnTo>
                    <a:lnTo>
                      <a:pt x="371" y="147"/>
                    </a:lnTo>
                    <a:lnTo>
                      <a:pt x="371" y="147"/>
                    </a:lnTo>
                    <a:lnTo>
                      <a:pt x="374" y="147"/>
                    </a:lnTo>
                    <a:lnTo>
                      <a:pt x="374" y="147"/>
                    </a:lnTo>
                    <a:lnTo>
                      <a:pt x="374" y="147"/>
                    </a:lnTo>
                    <a:lnTo>
                      <a:pt x="374" y="147"/>
                    </a:lnTo>
                    <a:lnTo>
                      <a:pt x="374" y="145"/>
                    </a:lnTo>
                    <a:lnTo>
                      <a:pt x="376" y="145"/>
                    </a:lnTo>
                    <a:lnTo>
                      <a:pt x="376" y="145"/>
                    </a:lnTo>
                    <a:lnTo>
                      <a:pt x="376" y="147"/>
                    </a:lnTo>
                    <a:lnTo>
                      <a:pt x="378" y="147"/>
                    </a:lnTo>
                    <a:lnTo>
                      <a:pt x="381" y="147"/>
                    </a:lnTo>
                    <a:lnTo>
                      <a:pt x="381" y="147"/>
                    </a:lnTo>
                    <a:lnTo>
                      <a:pt x="381" y="145"/>
                    </a:lnTo>
                    <a:lnTo>
                      <a:pt x="381" y="142"/>
                    </a:lnTo>
                    <a:lnTo>
                      <a:pt x="383" y="142"/>
                    </a:lnTo>
                    <a:lnTo>
                      <a:pt x="383" y="140"/>
                    </a:lnTo>
                    <a:lnTo>
                      <a:pt x="383" y="140"/>
                    </a:lnTo>
                    <a:lnTo>
                      <a:pt x="383" y="137"/>
                    </a:lnTo>
                    <a:lnTo>
                      <a:pt x="385" y="137"/>
                    </a:lnTo>
                    <a:lnTo>
                      <a:pt x="385" y="137"/>
                    </a:lnTo>
                    <a:lnTo>
                      <a:pt x="385" y="137"/>
                    </a:lnTo>
                    <a:lnTo>
                      <a:pt x="388" y="137"/>
                    </a:lnTo>
                    <a:lnTo>
                      <a:pt x="388" y="137"/>
                    </a:lnTo>
                    <a:lnTo>
                      <a:pt x="385" y="137"/>
                    </a:lnTo>
                    <a:lnTo>
                      <a:pt x="385" y="135"/>
                    </a:lnTo>
                    <a:lnTo>
                      <a:pt x="388" y="135"/>
                    </a:lnTo>
                    <a:lnTo>
                      <a:pt x="390" y="135"/>
                    </a:lnTo>
                    <a:lnTo>
                      <a:pt x="392" y="133"/>
                    </a:lnTo>
                    <a:lnTo>
                      <a:pt x="392" y="133"/>
                    </a:lnTo>
                    <a:lnTo>
                      <a:pt x="392" y="135"/>
                    </a:lnTo>
                    <a:lnTo>
                      <a:pt x="392" y="135"/>
                    </a:lnTo>
                    <a:lnTo>
                      <a:pt x="392" y="135"/>
                    </a:lnTo>
                    <a:lnTo>
                      <a:pt x="395" y="135"/>
                    </a:lnTo>
                    <a:lnTo>
                      <a:pt x="397" y="135"/>
                    </a:lnTo>
                    <a:lnTo>
                      <a:pt x="397" y="135"/>
                    </a:lnTo>
                    <a:lnTo>
                      <a:pt x="400" y="135"/>
                    </a:lnTo>
                    <a:lnTo>
                      <a:pt x="400" y="135"/>
                    </a:lnTo>
                    <a:lnTo>
                      <a:pt x="400" y="135"/>
                    </a:lnTo>
                    <a:lnTo>
                      <a:pt x="402" y="135"/>
                    </a:lnTo>
                    <a:lnTo>
                      <a:pt x="402" y="135"/>
                    </a:lnTo>
                    <a:lnTo>
                      <a:pt x="402" y="135"/>
                    </a:lnTo>
                    <a:lnTo>
                      <a:pt x="402" y="137"/>
                    </a:lnTo>
                    <a:lnTo>
                      <a:pt x="404" y="137"/>
                    </a:lnTo>
                    <a:lnTo>
                      <a:pt x="404" y="137"/>
                    </a:lnTo>
                    <a:lnTo>
                      <a:pt x="404" y="135"/>
                    </a:lnTo>
                    <a:lnTo>
                      <a:pt x="407" y="135"/>
                    </a:lnTo>
                    <a:lnTo>
                      <a:pt x="409" y="135"/>
                    </a:lnTo>
                    <a:lnTo>
                      <a:pt x="409" y="135"/>
                    </a:lnTo>
                    <a:lnTo>
                      <a:pt x="411" y="135"/>
                    </a:lnTo>
                    <a:lnTo>
                      <a:pt x="414" y="135"/>
                    </a:lnTo>
                    <a:lnTo>
                      <a:pt x="414" y="135"/>
                    </a:lnTo>
                    <a:lnTo>
                      <a:pt x="414" y="133"/>
                    </a:lnTo>
                    <a:lnTo>
                      <a:pt x="416" y="133"/>
                    </a:lnTo>
                    <a:lnTo>
                      <a:pt x="418" y="130"/>
                    </a:lnTo>
                    <a:lnTo>
                      <a:pt x="418" y="130"/>
                    </a:lnTo>
                    <a:lnTo>
                      <a:pt x="418" y="130"/>
                    </a:lnTo>
                    <a:lnTo>
                      <a:pt x="418" y="128"/>
                    </a:lnTo>
                    <a:lnTo>
                      <a:pt x="421" y="126"/>
                    </a:lnTo>
                    <a:lnTo>
                      <a:pt x="418" y="126"/>
                    </a:lnTo>
                    <a:lnTo>
                      <a:pt x="418" y="123"/>
                    </a:lnTo>
                    <a:lnTo>
                      <a:pt x="418" y="123"/>
                    </a:lnTo>
                    <a:lnTo>
                      <a:pt x="418" y="123"/>
                    </a:lnTo>
                    <a:lnTo>
                      <a:pt x="418" y="121"/>
                    </a:lnTo>
                    <a:lnTo>
                      <a:pt x="418" y="119"/>
                    </a:lnTo>
                    <a:lnTo>
                      <a:pt x="418" y="119"/>
                    </a:lnTo>
                    <a:lnTo>
                      <a:pt x="418" y="116"/>
                    </a:lnTo>
                    <a:lnTo>
                      <a:pt x="418" y="116"/>
                    </a:lnTo>
                    <a:lnTo>
                      <a:pt x="418" y="114"/>
                    </a:lnTo>
                    <a:lnTo>
                      <a:pt x="423" y="114"/>
                    </a:lnTo>
                    <a:lnTo>
                      <a:pt x="423" y="111"/>
                    </a:lnTo>
                    <a:lnTo>
                      <a:pt x="426" y="111"/>
                    </a:lnTo>
                    <a:lnTo>
                      <a:pt x="426" y="111"/>
                    </a:lnTo>
                    <a:lnTo>
                      <a:pt x="428" y="111"/>
                    </a:lnTo>
                    <a:lnTo>
                      <a:pt x="428" y="111"/>
                    </a:lnTo>
                    <a:lnTo>
                      <a:pt x="430" y="111"/>
                    </a:lnTo>
                    <a:lnTo>
                      <a:pt x="428" y="111"/>
                    </a:lnTo>
                    <a:lnTo>
                      <a:pt x="430" y="111"/>
                    </a:lnTo>
                    <a:lnTo>
                      <a:pt x="430" y="111"/>
                    </a:lnTo>
                    <a:lnTo>
                      <a:pt x="430" y="111"/>
                    </a:lnTo>
                    <a:lnTo>
                      <a:pt x="433" y="111"/>
                    </a:lnTo>
                    <a:lnTo>
                      <a:pt x="433" y="111"/>
                    </a:lnTo>
                    <a:lnTo>
                      <a:pt x="437" y="111"/>
                    </a:lnTo>
                    <a:lnTo>
                      <a:pt x="440" y="114"/>
                    </a:lnTo>
                    <a:lnTo>
                      <a:pt x="442" y="114"/>
                    </a:lnTo>
                    <a:lnTo>
                      <a:pt x="442" y="111"/>
                    </a:lnTo>
                    <a:lnTo>
                      <a:pt x="444" y="111"/>
                    </a:lnTo>
                    <a:lnTo>
                      <a:pt x="444" y="109"/>
                    </a:lnTo>
                    <a:lnTo>
                      <a:pt x="444" y="109"/>
                    </a:lnTo>
                    <a:lnTo>
                      <a:pt x="444" y="109"/>
                    </a:lnTo>
                    <a:lnTo>
                      <a:pt x="449" y="109"/>
                    </a:lnTo>
                    <a:lnTo>
                      <a:pt x="447" y="107"/>
                    </a:lnTo>
                    <a:lnTo>
                      <a:pt x="449" y="107"/>
                    </a:lnTo>
                    <a:lnTo>
                      <a:pt x="449" y="104"/>
                    </a:lnTo>
                    <a:lnTo>
                      <a:pt x="447" y="104"/>
                    </a:lnTo>
                    <a:lnTo>
                      <a:pt x="447" y="102"/>
                    </a:lnTo>
                    <a:lnTo>
                      <a:pt x="447" y="102"/>
                    </a:lnTo>
                    <a:lnTo>
                      <a:pt x="444" y="102"/>
                    </a:lnTo>
                    <a:lnTo>
                      <a:pt x="444" y="102"/>
                    </a:lnTo>
                    <a:lnTo>
                      <a:pt x="444" y="102"/>
                    </a:lnTo>
                    <a:lnTo>
                      <a:pt x="442" y="100"/>
                    </a:lnTo>
                    <a:lnTo>
                      <a:pt x="444" y="97"/>
                    </a:lnTo>
                    <a:lnTo>
                      <a:pt x="447" y="97"/>
                    </a:lnTo>
                    <a:lnTo>
                      <a:pt x="447" y="97"/>
                    </a:lnTo>
                    <a:lnTo>
                      <a:pt x="447" y="97"/>
                    </a:lnTo>
                    <a:lnTo>
                      <a:pt x="449" y="97"/>
                    </a:lnTo>
                    <a:lnTo>
                      <a:pt x="449" y="100"/>
                    </a:lnTo>
                    <a:lnTo>
                      <a:pt x="449" y="100"/>
                    </a:lnTo>
                    <a:lnTo>
                      <a:pt x="449" y="97"/>
                    </a:lnTo>
                    <a:lnTo>
                      <a:pt x="452" y="97"/>
                    </a:lnTo>
                    <a:lnTo>
                      <a:pt x="454" y="100"/>
                    </a:lnTo>
                    <a:lnTo>
                      <a:pt x="454" y="97"/>
                    </a:lnTo>
                    <a:lnTo>
                      <a:pt x="456" y="100"/>
                    </a:lnTo>
                    <a:lnTo>
                      <a:pt x="456" y="97"/>
                    </a:lnTo>
                    <a:lnTo>
                      <a:pt x="459" y="100"/>
                    </a:lnTo>
                    <a:lnTo>
                      <a:pt x="459" y="100"/>
                    </a:lnTo>
                    <a:lnTo>
                      <a:pt x="461" y="100"/>
                    </a:lnTo>
                    <a:lnTo>
                      <a:pt x="463" y="102"/>
                    </a:lnTo>
                    <a:lnTo>
                      <a:pt x="463" y="102"/>
                    </a:lnTo>
                    <a:lnTo>
                      <a:pt x="463" y="102"/>
                    </a:lnTo>
                    <a:lnTo>
                      <a:pt x="463" y="102"/>
                    </a:lnTo>
                    <a:lnTo>
                      <a:pt x="466" y="102"/>
                    </a:lnTo>
                    <a:lnTo>
                      <a:pt x="466" y="104"/>
                    </a:lnTo>
                    <a:lnTo>
                      <a:pt x="468" y="102"/>
                    </a:lnTo>
                    <a:lnTo>
                      <a:pt x="468" y="102"/>
                    </a:lnTo>
                    <a:lnTo>
                      <a:pt x="468" y="102"/>
                    </a:lnTo>
                    <a:lnTo>
                      <a:pt x="470" y="102"/>
                    </a:lnTo>
                    <a:lnTo>
                      <a:pt x="473" y="100"/>
                    </a:lnTo>
                    <a:lnTo>
                      <a:pt x="475" y="100"/>
                    </a:lnTo>
                    <a:lnTo>
                      <a:pt x="475" y="100"/>
                    </a:lnTo>
                    <a:lnTo>
                      <a:pt x="475" y="100"/>
                    </a:lnTo>
                    <a:lnTo>
                      <a:pt x="478" y="100"/>
                    </a:lnTo>
                    <a:lnTo>
                      <a:pt x="482" y="100"/>
                    </a:lnTo>
                    <a:lnTo>
                      <a:pt x="482" y="100"/>
                    </a:lnTo>
                    <a:lnTo>
                      <a:pt x="485" y="100"/>
                    </a:lnTo>
                    <a:lnTo>
                      <a:pt x="485" y="100"/>
                    </a:lnTo>
                    <a:lnTo>
                      <a:pt x="485" y="100"/>
                    </a:lnTo>
                    <a:lnTo>
                      <a:pt x="487" y="97"/>
                    </a:lnTo>
                    <a:lnTo>
                      <a:pt x="489" y="97"/>
                    </a:lnTo>
                    <a:lnTo>
                      <a:pt x="489" y="95"/>
                    </a:lnTo>
                    <a:lnTo>
                      <a:pt x="492" y="95"/>
                    </a:lnTo>
                    <a:lnTo>
                      <a:pt x="489" y="93"/>
                    </a:lnTo>
                    <a:lnTo>
                      <a:pt x="492" y="93"/>
                    </a:lnTo>
                    <a:lnTo>
                      <a:pt x="494" y="90"/>
                    </a:lnTo>
                    <a:lnTo>
                      <a:pt x="492" y="90"/>
                    </a:lnTo>
                    <a:lnTo>
                      <a:pt x="492" y="90"/>
                    </a:lnTo>
                    <a:lnTo>
                      <a:pt x="494" y="88"/>
                    </a:lnTo>
                    <a:lnTo>
                      <a:pt x="492" y="85"/>
                    </a:lnTo>
                    <a:lnTo>
                      <a:pt x="492" y="85"/>
                    </a:lnTo>
                    <a:lnTo>
                      <a:pt x="492" y="83"/>
                    </a:lnTo>
                    <a:lnTo>
                      <a:pt x="492" y="83"/>
                    </a:lnTo>
                    <a:lnTo>
                      <a:pt x="492" y="83"/>
                    </a:lnTo>
                    <a:lnTo>
                      <a:pt x="494" y="83"/>
                    </a:lnTo>
                    <a:lnTo>
                      <a:pt x="494" y="81"/>
                    </a:lnTo>
                    <a:lnTo>
                      <a:pt x="494" y="81"/>
                    </a:lnTo>
                    <a:lnTo>
                      <a:pt x="496" y="78"/>
                    </a:lnTo>
                    <a:lnTo>
                      <a:pt x="496" y="76"/>
                    </a:lnTo>
                    <a:lnTo>
                      <a:pt x="496" y="74"/>
                    </a:lnTo>
                    <a:lnTo>
                      <a:pt x="501" y="74"/>
                    </a:lnTo>
                    <a:lnTo>
                      <a:pt x="501" y="76"/>
                    </a:lnTo>
                    <a:lnTo>
                      <a:pt x="504" y="76"/>
                    </a:lnTo>
                    <a:lnTo>
                      <a:pt x="506" y="74"/>
                    </a:lnTo>
                    <a:lnTo>
                      <a:pt x="506" y="74"/>
                    </a:lnTo>
                    <a:lnTo>
                      <a:pt x="508" y="71"/>
                    </a:lnTo>
                    <a:lnTo>
                      <a:pt x="508" y="71"/>
                    </a:lnTo>
                    <a:lnTo>
                      <a:pt x="508" y="71"/>
                    </a:lnTo>
                    <a:lnTo>
                      <a:pt x="511" y="71"/>
                    </a:lnTo>
                    <a:lnTo>
                      <a:pt x="511" y="69"/>
                    </a:lnTo>
                    <a:lnTo>
                      <a:pt x="515" y="69"/>
                    </a:lnTo>
                    <a:lnTo>
                      <a:pt x="515" y="69"/>
                    </a:lnTo>
                    <a:lnTo>
                      <a:pt x="518" y="69"/>
                    </a:lnTo>
                    <a:lnTo>
                      <a:pt x="518" y="67"/>
                    </a:lnTo>
                    <a:lnTo>
                      <a:pt x="520" y="67"/>
                    </a:lnTo>
                    <a:lnTo>
                      <a:pt x="520" y="67"/>
                    </a:lnTo>
                    <a:lnTo>
                      <a:pt x="520" y="67"/>
                    </a:lnTo>
                    <a:lnTo>
                      <a:pt x="520" y="64"/>
                    </a:lnTo>
                    <a:lnTo>
                      <a:pt x="520" y="64"/>
                    </a:lnTo>
                    <a:lnTo>
                      <a:pt x="520" y="64"/>
                    </a:lnTo>
                    <a:lnTo>
                      <a:pt x="522" y="62"/>
                    </a:lnTo>
                    <a:lnTo>
                      <a:pt x="522" y="62"/>
                    </a:lnTo>
                    <a:lnTo>
                      <a:pt x="525" y="62"/>
                    </a:lnTo>
                    <a:lnTo>
                      <a:pt x="525" y="59"/>
                    </a:lnTo>
                    <a:lnTo>
                      <a:pt x="527" y="59"/>
                    </a:lnTo>
                    <a:lnTo>
                      <a:pt x="527" y="57"/>
                    </a:lnTo>
                    <a:lnTo>
                      <a:pt x="527" y="57"/>
                    </a:lnTo>
                    <a:lnTo>
                      <a:pt x="529" y="55"/>
                    </a:lnTo>
                    <a:lnTo>
                      <a:pt x="529" y="55"/>
                    </a:lnTo>
                    <a:lnTo>
                      <a:pt x="529" y="52"/>
                    </a:lnTo>
                    <a:lnTo>
                      <a:pt x="529" y="52"/>
                    </a:lnTo>
                    <a:lnTo>
                      <a:pt x="532" y="52"/>
                    </a:lnTo>
                    <a:lnTo>
                      <a:pt x="532" y="50"/>
                    </a:lnTo>
                    <a:lnTo>
                      <a:pt x="534" y="48"/>
                    </a:lnTo>
                    <a:lnTo>
                      <a:pt x="534" y="48"/>
                    </a:lnTo>
                    <a:lnTo>
                      <a:pt x="537" y="48"/>
                    </a:lnTo>
                    <a:lnTo>
                      <a:pt x="537" y="43"/>
                    </a:lnTo>
                    <a:lnTo>
                      <a:pt x="537" y="41"/>
                    </a:lnTo>
                    <a:lnTo>
                      <a:pt x="537" y="38"/>
                    </a:lnTo>
                    <a:lnTo>
                      <a:pt x="534" y="36"/>
                    </a:lnTo>
                    <a:lnTo>
                      <a:pt x="534" y="36"/>
                    </a:lnTo>
                    <a:lnTo>
                      <a:pt x="532" y="34"/>
                    </a:lnTo>
                    <a:lnTo>
                      <a:pt x="532" y="31"/>
                    </a:lnTo>
                    <a:lnTo>
                      <a:pt x="529" y="29"/>
                    </a:lnTo>
                    <a:lnTo>
                      <a:pt x="529" y="26"/>
                    </a:lnTo>
                    <a:lnTo>
                      <a:pt x="529" y="24"/>
                    </a:lnTo>
                    <a:lnTo>
                      <a:pt x="529" y="22"/>
                    </a:lnTo>
                    <a:lnTo>
                      <a:pt x="529" y="22"/>
                    </a:lnTo>
                    <a:lnTo>
                      <a:pt x="529" y="22"/>
                    </a:lnTo>
                    <a:lnTo>
                      <a:pt x="529" y="22"/>
                    </a:lnTo>
                    <a:lnTo>
                      <a:pt x="529" y="22"/>
                    </a:lnTo>
                    <a:lnTo>
                      <a:pt x="527" y="19"/>
                    </a:lnTo>
                    <a:lnTo>
                      <a:pt x="529" y="17"/>
                    </a:lnTo>
                    <a:lnTo>
                      <a:pt x="527" y="17"/>
                    </a:lnTo>
                    <a:lnTo>
                      <a:pt x="525" y="15"/>
                    </a:lnTo>
                    <a:lnTo>
                      <a:pt x="525" y="12"/>
                    </a:lnTo>
                    <a:lnTo>
                      <a:pt x="525" y="12"/>
                    </a:lnTo>
                    <a:lnTo>
                      <a:pt x="522" y="12"/>
                    </a:lnTo>
                    <a:lnTo>
                      <a:pt x="522" y="12"/>
                    </a:lnTo>
                    <a:lnTo>
                      <a:pt x="520" y="12"/>
                    </a:lnTo>
                    <a:lnTo>
                      <a:pt x="518" y="10"/>
                    </a:lnTo>
                    <a:lnTo>
                      <a:pt x="520" y="8"/>
                    </a:lnTo>
                    <a:lnTo>
                      <a:pt x="522" y="8"/>
                    </a:lnTo>
                    <a:lnTo>
                      <a:pt x="522" y="8"/>
                    </a:lnTo>
                    <a:lnTo>
                      <a:pt x="525" y="8"/>
                    </a:lnTo>
                    <a:lnTo>
                      <a:pt x="527" y="8"/>
                    </a:lnTo>
                    <a:lnTo>
                      <a:pt x="529" y="8"/>
                    </a:lnTo>
                    <a:lnTo>
                      <a:pt x="529" y="8"/>
                    </a:lnTo>
                    <a:lnTo>
                      <a:pt x="532" y="10"/>
                    </a:lnTo>
                    <a:lnTo>
                      <a:pt x="534" y="8"/>
                    </a:lnTo>
                    <a:lnTo>
                      <a:pt x="534" y="10"/>
                    </a:lnTo>
                    <a:lnTo>
                      <a:pt x="537" y="8"/>
                    </a:lnTo>
                    <a:lnTo>
                      <a:pt x="537" y="8"/>
                    </a:lnTo>
                    <a:lnTo>
                      <a:pt x="537" y="10"/>
                    </a:lnTo>
                    <a:lnTo>
                      <a:pt x="539" y="12"/>
                    </a:lnTo>
                    <a:lnTo>
                      <a:pt x="541" y="12"/>
                    </a:lnTo>
                    <a:lnTo>
                      <a:pt x="544" y="10"/>
                    </a:lnTo>
                    <a:lnTo>
                      <a:pt x="546" y="10"/>
                    </a:lnTo>
                    <a:lnTo>
                      <a:pt x="548" y="10"/>
                    </a:lnTo>
                    <a:lnTo>
                      <a:pt x="551" y="10"/>
                    </a:lnTo>
                    <a:lnTo>
                      <a:pt x="551" y="10"/>
                    </a:lnTo>
                    <a:lnTo>
                      <a:pt x="553" y="10"/>
                    </a:lnTo>
                    <a:lnTo>
                      <a:pt x="555" y="10"/>
                    </a:lnTo>
                    <a:lnTo>
                      <a:pt x="555" y="12"/>
                    </a:lnTo>
                    <a:lnTo>
                      <a:pt x="555" y="12"/>
                    </a:lnTo>
                    <a:lnTo>
                      <a:pt x="558" y="12"/>
                    </a:lnTo>
                    <a:lnTo>
                      <a:pt x="558" y="10"/>
                    </a:lnTo>
                    <a:lnTo>
                      <a:pt x="558" y="10"/>
                    </a:lnTo>
                    <a:lnTo>
                      <a:pt x="560" y="10"/>
                    </a:lnTo>
                    <a:lnTo>
                      <a:pt x="563" y="8"/>
                    </a:lnTo>
                    <a:lnTo>
                      <a:pt x="565" y="10"/>
                    </a:lnTo>
                    <a:lnTo>
                      <a:pt x="565" y="10"/>
                    </a:lnTo>
                    <a:lnTo>
                      <a:pt x="565" y="10"/>
                    </a:lnTo>
                    <a:lnTo>
                      <a:pt x="567" y="10"/>
                    </a:lnTo>
                    <a:lnTo>
                      <a:pt x="567" y="10"/>
                    </a:lnTo>
                    <a:lnTo>
                      <a:pt x="570" y="10"/>
                    </a:lnTo>
                    <a:lnTo>
                      <a:pt x="570" y="10"/>
                    </a:lnTo>
                    <a:lnTo>
                      <a:pt x="572" y="10"/>
                    </a:lnTo>
                    <a:lnTo>
                      <a:pt x="572" y="8"/>
                    </a:lnTo>
                    <a:lnTo>
                      <a:pt x="577" y="8"/>
                    </a:lnTo>
                    <a:lnTo>
                      <a:pt x="577" y="8"/>
                    </a:lnTo>
                    <a:lnTo>
                      <a:pt x="577" y="8"/>
                    </a:lnTo>
                    <a:lnTo>
                      <a:pt x="577" y="5"/>
                    </a:lnTo>
                    <a:lnTo>
                      <a:pt x="577" y="3"/>
                    </a:lnTo>
                    <a:lnTo>
                      <a:pt x="579" y="3"/>
                    </a:lnTo>
                    <a:lnTo>
                      <a:pt x="581" y="3"/>
                    </a:lnTo>
                    <a:lnTo>
                      <a:pt x="584" y="3"/>
                    </a:lnTo>
                    <a:lnTo>
                      <a:pt x="584" y="0"/>
                    </a:lnTo>
                    <a:lnTo>
                      <a:pt x="586" y="3"/>
                    </a:lnTo>
                    <a:lnTo>
                      <a:pt x="586" y="3"/>
                    </a:lnTo>
                    <a:lnTo>
                      <a:pt x="586" y="5"/>
                    </a:lnTo>
                    <a:lnTo>
                      <a:pt x="589" y="8"/>
                    </a:lnTo>
                    <a:lnTo>
                      <a:pt x="591" y="8"/>
                    </a:lnTo>
                    <a:lnTo>
                      <a:pt x="593" y="5"/>
                    </a:lnTo>
                    <a:lnTo>
                      <a:pt x="596" y="8"/>
                    </a:lnTo>
                    <a:lnTo>
                      <a:pt x="598" y="12"/>
                    </a:lnTo>
                    <a:lnTo>
                      <a:pt x="598" y="17"/>
                    </a:lnTo>
                    <a:lnTo>
                      <a:pt x="598" y="19"/>
                    </a:lnTo>
                    <a:lnTo>
                      <a:pt x="603" y="19"/>
                    </a:lnTo>
                    <a:lnTo>
                      <a:pt x="603" y="19"/>
                    </a:lnTo>
                    <a:lnTo>
                      <a:pt x="603" y="19"/>
                    </a:lnTo>
                    <a:lnTo>
                      <a:pt x="603" y="22"/>
                    </a:lnTo>
                    <a:lnTo>
                      <a:pt x="605" y="22"/>
                    </a:lnTo>
                    <a:lnTo>
                      <a:pt x="605" y="22"/>
                    </a:lnTo>
                    <a:lnTo>
                      <a:pt x="607" y="24"/>
                    </a:lnTo>
                    <a:lnTo>
                      <a:pt x="607" y="26"/>
                    </a:lnTo>
                    <a:lnTo>
                      <a:pt x="607" y="24"/>
                    </a:lnTo>
                    <a:lnTo>
                      <a:pt x="610" y="26"/>
                    </a:lnTo>
                    <a:lnTo>
                      <a:pt x="612" y="26"/>
                    </a:lnTo>
                    <a:lnTo>
                      <a:pt x="612" y="26"/>
                    </a:lnTo>
                    <a:lnTo>
                      <a:pt x="612" y="26"/>
                    </a:lnTo>
                    <a:lnTo>
                      <a:pt x="612" y="29"/>
                    </a:lnTo>
                    <a:lnTo>
                      <a:pt x="610" y="29"/>
                    </a:lnTo>
                    <a:lnTo>
                      <a:pt x="612" y="31"/>
                    </a:lnTo>
                    <a:lnTo>
                      <a:pt x="612" y="31"/>
                    </a:lnTo>
                    <a:lnTo>
                      <a:pt x="612" y="31"/>
                    </a:lnTo>
                    <a:lnTo>
                      <a:pt x="612" y="34"/>
                    </a:lnTo>
                    <a:lnTo>
                      <a:pt x="612" y="34"/>
                    </a:lnTo>
                    <a:lnTo>
                      <a:pt x="612" y="36"/>
                    </a:lnTo>
                    <a:lnTo>
                      <a:pt x="612" y="38"/>
                    </a:lnTo>
                    <a:lnTo>
                      <a:pt x="612" y="41"/>
                    </a:lnTo>
                    <a:lnTo>
                      <a:pt x="612" y="41"/>
                    </a:lnTo>
                    <a:lnTo>
                      <a:pt x="612" y="43"/>
                    </a:lnTo>
                    <a:lnTo>
                      <a:pt x="612" y="45"/>
                    </a:lnTo>
                    <a:lnTo>
                      <a:pt x="612" y="45"/>
                    </a:lnTo>
                    <a:lnTo>
                      <a:pt x="612" y="45"/>
                    </a:lnTo>
                    <a:lnTo>
                      <a:pt x="612" y="48"/>
                    </a:lnTo>
                    <a:lnTo>
                      <a:pt x="610" y="50"/>
                    </a:lnTo>
                    <a:lnTo>
                      <a:pt x="610" y="57"/>
                    </a:lnTo>
                    <a:lnTo>
                      <a:pt x="607" y="59"/>
                    </a:lnTo>
                    <a:lnTo>
                      <a:pt x="607" y="59"/>
                    </a:lnTo>
                    <a:lnTo>
                      <a:pt x="607" y="62"/>
                    </a:lnTo>
                    <a:lnTo>
                      <a:pt x="607" y="62"/>
                    </a:lnTo>
                    <a:lnTo>
                      <a:pt x="607" y="64"/>
                    </a:lnTo>
                    <a:lnTo>
                      <a:pt x="605" y="64"/>
                    </a:lnTo>
                    <a:lnTo>
                      <a:pt x="607" y="67"/>
                    </a:lnTo>
                    <a:lnTo>
                      <a:pt x="607" y="69"/>
                    </a:lnTo>
                    <a:lnTo>
                      <a:pt x="607" y="71"/>
                    </a:lnTo>
                    <a:lnTo>
                      <a:pt x="605" y="74"/>
                    </a:lnTo>
                    <a:lnTo>
                      <a:pt x="607" y="76"/>
                    </a:lnTo>
                    <a:lnTo>
                      <a:pt x="607" y="76"/>
                    </a:lnTo>
                    <a:lnTo>
                      <a:pt x="603" y="81"/>
                    </a:lnTo>
                    <a:lnTo>
                      <a:pt x="603" y="83"/>
                    </a:lnTo>
                    <a:lnTo>
                      <a:pt x="600" y="83"/>
                    </a:lnTo>
                    <a:lnTo>
                      <a:pt x="603" y="85"/>
                    </a:lnTo>
                    <a:lnTo>
                      <a:pt x="603" y="85"/>
                    </a:lnTo>
                    <a:lnTo>
                      <a:pt x="603" y="88"/>
                    </a:lnTo>
                    <a:lnTo>
                      <a:pt x="598" y="90"/>
                    </a:lnTo>
                    <a:lnTo>
                      <a:pt x="598" y="90"/>
                    </a:lnTo>
                    <a:lnTo>
                      <a:pt x="596" y="90"/>
                    </a:lnTo>
                    <a:lnTo>
                      <a:pt x="596" y="90"/>
                    </a:lnTo>
                    <a:lnTo>
                      <a:pt x="593" y="90"/>
                    </a:lnTo>
                    <a:lnTo>
                      <a:pt x="596" y="93"/>
                    </a:lnTo>
                    <a:lnTo>
                      <a:pt x="593" y="93"/>
                    </a:lnTo>
                    <a:lnTo>
                      <a:pt x="593" y="95"/>
                    </a:lnTo>
                    <a:lnTo>
                      <a:pt x="593" y="95"/>
                    </a:lnTo>
                    <a:lnTo>
                      <a:pt x="593" y="95"/>
                    </a:lnTo>
                    <a:lnTo>
                      <a:pt x="591" y="95"/>
                    </a:lnTo>
                    <a:lnTo>
                      <a:pt x="591" y="95"/>
                    </a:lnTo>
                    <a:lnTo>
                      <a:pt x="591" y="97"/>
                    </a:lnTo>
                    <a:lnTo>
                      <a:pt x="591" y="97"/>
                    </a:lnTo>
                    <a:lnTo>
                      <a:pt x="591" y="102"/>
                    </a:lnTo>
                    <a:lnTo>
                      <a:pt x="591" y="102"/>
                    </a:lnTo>
                    <a:lnTo>
                      <a:pt x="593" y="102"/>
                    </a:lnTo>
                    <a:lnTo>
                      <a:pt x="596" y="102"/>
                    </a:lnTo>
                    <a:lnTo>
                      <a:pt x="598" y="102"/>
                    </a:lnTo>
                    <a:lnTo>
                      <a:pt x="598" y="100"/>
                    </a:lnTo>
                    <a:lnTo>
                      <a:pt x="600" y="100"/>
                    </a:lnTo>
                    <a:lnTo>
                      <a:pt x="600" y="100"/>
                    </a:lnTo>
                    <a:lnTo>
                      <a:pt x="600" y="102"/>
                    </a:lnTo>
                    <a:lnTo>
                      <a:pt x="603" y="100"/>
                    </a:lnTo>
                    <a:lnTo>
                      <a:pt x="603" y="102"/>
                    </a:lnTo>
                    <a:lnTo>
                      <a:pt x="603" y="102"/>
                    </a:lnTo>
                    <a:lnTo>
                      <a:pt x="603" y="102"/>
                    </a:lnTo>
                    <a:lnTo>
                      <a:pt x="603" y="102"/>
                    </a:lnTo>
                    <a:lnTo>
                      <a:pt x="605" y="102"/>
                    </a:lnTo>
                    <a:lnTo>
                      <a:pt x="607" y="104"/>
                    </a:lnTo>
                    <a:lnTo>
                      <a:pt x="607" y="102"/>
                    </a:lnTo>
                    <a:lnTo>
                      <a:pt x="610" y="104"/>
                    </a:lnTo>
                    <a:lnTo>
                      <a:pt x="610" y="102"/>
                    </a:lnTo>
                    <a:lnTo>
                      <a:pt x="612" y="102"/>
                    </a:lnTo>
                    <a:lnTo>
                      <a:pt x="612" y="104"/>
                    </a:lnTo>
                    <a:lnTo>
                      <a:pt x="615" y="104"/>
                    </a:lnTo>
                    <a:lnTo>
                      <a:pt x="615" y="104"/>
                    </a:lnTo>
                    <a:lnTo>
                      <a:pt x="615" y="104"/>
                    </a:lnTo>
                    <a:lnTo>
                      <a:pt x="615" y="104"/>
                    </a:lnTo>
                    <a:lnTo>
                      <a:pt x="615" y="104"/>
                    </a:lnTo>
                    <a:lnTo>
                      <a:pt x="615" y="102"/>
                    </a:lnTo>
                    <a:lnTo>
                      <a:pt x="617" y="102"/>
                    </a:lnTo>
                    <a:lnTo>
                      <a:pt x="617" y="102"/>
                    </a:lnTo>
                    <a:lnTo>
                      <a:pt x="619" y="104"/>
                    </a:lnTo>
                    <a:lnTo>
                      <a:pt x="619" y="102"/>
                    </a:lnTo>
                    <a:lnTo>
                      <a:pt x="619" y="104"/>
                    </a:lnTo>
                    <a:lnTo>
                      <a:pt x="622" y="104"/>
                    </a:lnTo>
                    <a:lnTo>
                      <a:pt x="622" y="104"/>
                    </a:lnTo>
                    <a:lnTo>
                      <a:pt x="624" y="107"/>
                    </a:lnTo>
                    <a:lnTo>
                      <a:pt x="622" y="107"/>
                    </a:lnTo>
                    <a:lnTo>
                      <a:pt x="624" y="109"/>
                    </a:lnTo>
                    <a:lnTo>
                      <a:pt x="624" y="107"/>
                    </a:lnTo>
                    <a:lnTo>
                      <a:pt x="626" y="107"/>
                    </a:lnTo>
                    <a:lnTo>
                      <a:pt x="629" y="104"/>
                    </a:lnTo>
                    <a:lnTo>
                      <a:pt x="629" y="104"/>
                    </a:lnTo>
                    <a:lnTo>
                      <a:pt x="629" y="107"/>
                    </a:lnTo>
                    <a:lnTo>
                      <a:pt x="629" y="109"/>
                    </a:lnTo>
                    <a:lnTo>
                      <a:pt x="629" y="109"/>
                    </a:lnTo>
                    <a:lnTo>
                      <a:pt x="631" y="109"/>
                    </a:lnTo>
                    <a:lnTo>
                      <a:pt x="631" y="109"/>
                    </a:lnTo>
                    <a:lnTo>
                      <a:pt x="633" y="109"/>
                    </a:lnTo>
                    <a:lnTo>
                      <a:pt x="633" y="109"/>
                    </a:lnTo>
                    <a:lnTo>
                      <a:pt x="636" y="109"/>
                    </a:lnTo>
                    <a:lnTo>
                      <a:pt x="636" y="109"/>
                    </a:lnTo>
                    <a:lnTo>
                      <a:pt x="636" y="107"/>
                    </a:lnTo>
                    <a:lnTo>
                      <a:pt x="638" y="107"/>
                    </a:lnTo>
                    <a:lnTo>
                      <a:pt x="638" y="109"/>
                    </a:lnTo>
                    <a:lnTo>
                      <a:pt x="641" y="109"/>
                    </a:lnTo>
                    <a:lnTo>
                      <a:pt x="641" y="111"/>
                    </a:lnTo>
                    <a:lnTo>
                      <a:pt x="641" y="111"/>
                    </a:lnTo>
                    <a:lnTo>
                      <a:pt x="643" y="114"/>
                    </a:lnTo>
                    <a:lnTo>
                      <a:pt x="645" y="114"/>
                    </a:lnTo>
                    <a:lnTo>
                      <a:pt x="648" y="114"/>
                    </a:lnTo>
                    <a:lnTo>
                      <a:pt x="648" y="116"/>
                    </a:lnTo>
                    <a:lnTo>
                      <a:pt x="650" y="119"/>
                    </a:lnTo>
                    <a:lnTo>
                      <a:pt x="652" y="119"/>
                    </a:lnTo>
                    <a:lnTo>
                      <a:pt x="652" y="119"/>
                    </a:lnTo>
                    <a:lnTo>
                      <a:pt x="652" y="121"/>
                    </a:lnTo>
                    <a:lnTo>
                      <a:pt x="652" y="123"/>
                    </a:lnTo>
                    <a:lnTo>
                      <a:pt x="652" y="123"/>
                    </a:lnTo>
                    <a:lnTo>
                      <a:pt x="650" y="123"/>
                    </a:lnTo>
                    <a:lnTo>
                      <a:pt x="650" y="126"/>
                    </a:lnTo>
                    <a:lnTo>
                      <a:pt x="650" y="128"/>
                    </a:lnTo>
                    <a:lnTo>
                      <a:pt x="648" y="128"/>
                    </a:lnTo>
                    <a:lnTo>
                      <a:pt x="648" y="128"/>
                    </a:lnTo>
                    <a:lnTo>
                      <a:pt x="648" y="130"/>
                    </a:lnTo>
                    <a:lnTo>
                      <a:pt x="645" y="130"/>
                    </a:lnTo>
                    <a:lnTo>
                      <a:pt x="645" y="130"/>
                    </a:lnTo>
                    <a:lnTo>
                      <a:pt x="645" y="133"/>
                    </a:lnTo>
                    <a:lnTo>
                      <a:pt x="648" y="133"/>
                    </a:lnTo>
                    <a:lnTo>
                      <a:pt x="648" y="133"/>
                    </a:lnTo>
                    <a:lnTo>
                      <a:pt x="645" y="137"/>
                    </a:lnTo>
                    <a:lnTo>
                      <a:pt x="645" y="137"/>
                    </a:lnTo>
                    <a:lnTo>
                      <a:pt x="645" y="140"/>
                    </a:lnTo>
                    <a:lnTo>
                      <a:pt x="648" y="145"/>
                    </a:lnTo>
                    <a:lnTo>
                      <a:pt x="648" y="145"/>
                    </a:lnTo>
                    <a:lnTo>
                      <a:pt x="648" y="147"/>
                    </a:lnTo>
                    <a:lnTo>
                      <a:pt x="650" y="147"/>
                    </a:lnTo>
                    <a:lnTo>
                      <a:pt x="652" y="149"/>
                    </a:lnTo>
                    <a:lnTo>
                      <a:pt x="657" y="149"/>
                    </a:lnTo>
                    <a:lnTo>
                      <a:pt x="659" y="149"/>
                    </a:lnTo>
                    <a:lnTo>
                      <a:pt x="659" y="154"/>
                    </a:lnTo>
                    <a:lnTo>
                      <a:pt x="659" y="154"/>
                    </a:lnTo>
                    <a:lnTo>
                      <a:pt x="657" y="159"/>
                    </a:lnTo>
                    <a:lnTo>
                      <a:pt x="657" y="159"/>
                    </a:lnTo>
                    <a:lnTo>
                      <a:pt x="659" y="161"/>
                    </a:lnTo>
                    <a:lnTo>
                      <a:pt x="659" y="161"/>
                    </a:lnTo>
                    <a:lnTo>
                      <a:pt x="659" y="161"/>
                    </a:lnTo>
                    <a:lnTo>
                      <a:pt x="659" y="163"/>
                    </a:lnTo>
                    <a:lnTo>
                      <a:pt x="662" y="163"/>
                    </a:lnTo>
                    <a:lnTo>
                      <a:pt x="662" y="166"/>
                    </a:lnTo>
                    <a:lnTo>
                      <a:pt x="662" y="166"/>
                    </a:lnTo>
                    <a:lnTo>
                      <a:pt x="662" y="166"/>
                    </a:lnTo>
                    <a:lnTo>
                      <a:pt x="662" y="166"/>
                    </a:lnTo>
                    <a:lnTo>
                      <a:pt x="662" y="166"/>
                    </a:lnTo>
                    <a:lnTo>
                      <a:pt x="664" y="166"/>
                    </a:lnTo>
                    <a:lnTo>
                      <a:pt x="664" y="166"/>
                    </a:lnTo>
                    <a:lnTo>
                      <a:pt x="662" y="168"/>
                    </a:lnTo>
                    <a:lnTo>
                      <a:pt x="664" y="168"/>
                    </a:lnTo>
                    <a:lnTo>
                      <a:pt x="664" y="168"/>
                    </a:lnTo>
                    <a:lnTo>
                      <a:pt x="667" y="168"/>
                    </a:lnTo>
                    <a:lnTo>
                      <a:pt x="664" y="168"/>
                    </a:lnTo>
                    <a:lnTo>
                      <a:pt x="667" y="168"/>
                    </a:lnTo>
                    <a:lnTo>
                      <a:pt x="664" y="171"/>
                    </a:lnTo>
                    <a:lnTo>
                      <a:pt x="664" y="173"/>
                    </a:lnTo>
                    <a:lnTo>
                      <a:pt x="667" y="173"/>
                    </a:lnTo>
                    <a:lnTo>
                      <a:pt x="667" y="173"/>
                    </a:lnTo>
                    <a:lnTo>
                      <a:pt x="667" y="171"/>
                    </a:lnTo>
                    <a:lnTo>
                      <a:pt x="669" y="171"/>
                    </a:lnTo>
                    <a:lnTo>
                      <a:pt x="669" y="173"/>
                    </a:lnTo>
                    <a:lnTo>
                      <a:pt x="671" y="173"/>
                    </a:lnTo>
                    <a:lnTo>
                      <a:pt x="671" y="173"/>
                    </a:lnTo>
                    <a:lnTo>
                      <a:pt x="671" y="175"/>
                    </a:lnTo>
                    <a:lnTo>
                      <a:pt x="674" y="175"/>
                    </a:lnTo>
                    <a:lnTo>
                      <a:pt x="671" y="175"/>
                    </a:lnTo>
                    <a:lnTo>
                      <a:pt x="671" y="178"/>
                    </a:lnTo>
                    <a:lnTo>
                      <a:pt x="671" y="178"/>
                    </a:lnTo>
                    <a:lnTo>
                      <a:pt x="671" y="178"/>
                    </a:lnTo>
                    <a:lnTo>
                      <a:pt x="669" y="178"/>
                    </a:lnTo>
                    <a:lnTo>
                      <a:pt x="669" y="178"/>
                    </a:lnTo>
                    <a:lnTo>
                      <a:pt x="669" y="178"/>
                    </a:lnTo>
                    <a:lnTo>
                      <a:pt x="669" y="178"/>
                    </a:lnTo>
                    <a:lnTo>
                      <a:pt x="667" y="178"/>
                    </a:lnTo>
                    <a:lnTo>
                      <a:pt x="667" y="182"/>
                    </a:lnTo>
                    <a:lnTo>
                      <a:pt x="664" y="180"/>
                    </a:lnTo>
                    <a:lnTo>
                      <a:pt x="667" y="182"/>
                    </a:lnTo>
                    <a:lnTo>
                      <a:pt x="664" y="182"/>
                    </a:lnTo>
                    <a:lnTo>
                      <a:pt x="662" y="182"/>
                    </a:lnTo>
                    <a:lnTo>
                      <a:pt x="662" y="185"/>
                    </a:lnTo>
                    <a:lnTo>
                      <a:pt x="662" y="187"/>
                    </a:lnTo>
                    <a:lnTo>
                      <a:pt x="664" y="187"/>
                    </a:lnTo>
                    <a:lnTo>
                      <a:pt x="664" y="187"/>
                    </a:lnTo>
                    <a:lnTo>
                      <a:pt x="664" y="189"/>
                    </a:lnTo>
                    <a:lnTo>
                      <a:pt x="664" y="189"/>
                    </a:lnTo>
                    <a:lnTo>
                      <a:pt x="664" y="192"/>
                    </a:lnTo>
                    <a:lnTo>
                      <a:pt x="664" y="192"/>
                    </a:lnTo>
                    <a:lnTo>
                      <a:pt x="662" y="192"/>
                    </a:lnTo>
                    <a:lnTo>
                      <a:pt x="662" y="192"/>
                    </a:lnTo>
                    <a:lnTo>
                      <a:pt x="662" y="194"/>
                    </a:lnTo>
                    <a:lnTo>
                      <a:pt x="662" y="194"/>
                    </a:lnTo>
                    <a:lnTo>
                      <a:pt x="662" y="194"/>
                    </a:lnTo>
                    <a:lnTo>
                      <a:pt x="662" y="194"/>
                    </a:lnTo>
                    <a:lnTo>
                      <a:pt x="659" y="194"/>
                    </a:lnTo>
                    <a:lnTo>
                      <a:pt x="659" y="196"/>
                    </a:lnTo>
                    <a:lnTo>
                      <a:pt x="657" y="196"/>
                    </a:lnTo>
                    <a:lnTo>
                      <a:pt x="659" y="194"/>
                    </a:lnTo>
                    <a:lnTo>
                      <a:pt x="659" y="194"/>
                    </a:lnTo>
                    <a:lnTo>
                      <a:pt x="657" y="194"/>
                    </a:lnTo>
                    <a:lnTo>
                      <a:pt x="657" y="196"/>
                    </a:lnTo>
                    <a:lnTo>
                      <a:pt x="657" y="196"/>
                    </a:lnTo>
                    <a:lnTo>
                      <a:pt x="655" y="196"/>
                    </a:lnTo>
                    <a:lnTo>
                      <a:pt x="652" y="199"/>
                    </a:lnTo>
                    <a:lnTo>
                      <a:pt x="652" y="199"/>
                    </a:lnTo>
                    <a:lnTo>
                      <a:pt x="652" y="201"/>
                    </a:lnTo>
                    <a:lnTo>
                      <a:pt x="652" y="201"/>
                    </a:lnTo>
                    <a:lnTo>
                      <a:pt x="652" y="201"/>
                    </a:lnTo>
                    <a:lnTo>
                      <a:pt x="652" y="201"/>
                    </a:lnTo>
                    <a:lnTo>
                      <a:pt x="655" y="204"/>
                    </a:lnTo>
                    <a:lnTo>
                      <a:pt x="652" y="204"/>
                    </a:lnTo>
                    <a:lnTo>
                      <a:pt x="655" y="206"/>
                    </a:lnTo>
                    <a:lnTo>
                      <a:pt x="652" y="206"/>
                    </a:lnTo>
                    <a:lnTo>
                      <a:pt x="652" y="208"/>
                    </a:lnTo>
                    <a:lnTo>
                      <a:pt x="650" y="206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48" y="211"/>
                    </a:lnTo>
                    <a:lnTo>
                      <a:pt x="648" y="211"/>
                    </a:lnTo>
                    <a:lnTo>
                      <a:pt x="648" y="211"/>
                    </a:lnTo>
                    <a:lnTo>
                      <a:pt x="648" y="213"/>
                    </a:lnTo>
                    <a:lnTo>
                      <a:pt x="643" y="213"/>
                    </a:lnTo>
                    <a:lnTo>
                      <a:pt x="643" y="213"/>
                    </a:lnTo>
                    <a:lnTo>
                      <a:pt x="643" y="215"/>
                    </a:lnTo>
                    <a:lnTo>
                      <a:pt x="641" y="215"/>
                    </a:lnTo>
                    <a:lnTo>
                      <a:pt x="641" y="218"/>
                    </a:lnTo>
                    <a:lnTo>
                      <a:pt x="641" y="218"/>
                    </a:lnTo>
                    <a:lnTo>
                      <a:pt x="638" y="218"/>
                    </a:lnTo>
                    <a:lnTo>
                      <a:pt x="638" y="218"/>
                    </a:lnTo>
                    <a:lnTo>
                      <a:pt x="636" y="218"/>
                    </a:lnTo>
                    <a:lnTo>
                      <a:pt x="633" y="218"/>
                    </a:lnTo>
                    <a:lnTo>
                      <a:pt x="633" y="220"/>
                    </a:lnTo>
                    <a:lnTo>
                      <a:pt x="633" y="218"/>
                    </a:lnTo>
                    <a:lnTo>
                      <a:pt x="631" y="220"/>
                    </a:lnTo>
                    <a:lnTo>
                      <a:pt x="631" y="220"/>
                    </a:lnTo>
                    <a:lnTo>
                      <a:pt x="631" y="220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9" y="225"/>
                    </a:lnTo>
                    <a:lnTo>
                      <a:pt x="629" y="225"/>
                    </a:lnTo>
                    <a:lnTo>
                      <a:pt x="629" y="227"/>
                    </a:lnTo>
                    <a:lnTo>
                      <a:pt x="631" y="227"/>
                    </a:lnTo>
                    <a:lnTo>
                      <a:pt x="631" y="227"/>
                    </a:lnTo>
                    <a:lnTo>
                      <a:pt x="631" y="230"/>
                    </a:lnTo>
                    <a:lnTo>
                      <a:pt x="633" y="230"/>
                    </a:lnTo>
                    <a:lnTo>
                      <a:pt x="636" y="232"/>
                    </a:lnTo>
                    <a:lnTo>
                      <a:pt x="636" y="234"/>
                    </a:lnTo>
                    <a:lnTo>
                      <a:pt x="633" y="237"/>
                    </a:lnTo>
                    <a:lnTo>
                      <a:pt x="633" y="237"/>
                    </a:lnTo>
                    <a:lnTo>
                      <a:pt x="636" y="237"/>
                    </a:lnTo>
                    <a:lnTo>
                      <a:pt x="636" y="237"/>
                    </a:lnTo>
                    <a:lnTo>
                      <a:pt x="633" y="237"/>
                    </a:lnTo>
                    <a:lnTo>
                      <a:pt x="633" y="237"/>
                    </a:lnTo>
                    <a:lnTo>
                      <a:pt x="633" y="239"/>
                    </a:lnTo>
                    <a:lnTo>
                      <a:pt x="631" y="241"/>
                    </a:lnTo>
                    <a:lnTo>
                      <a:pt x="631" y="241"/>
                    </a:lnTo>
                    <a:lnTo>
                      <a:pt x="631" y="244"/>
                    </a:lnTo>
                    <a:lnTo>
                      <a:pt x="633" y="244"/>
                    </a:lnTo>
                    <a:lnTo>
                      <a:pt x="633" y="241"/>
                    </a:lnTo>
                    <a:lnTo>
                      <a:pt x="636" y="241"/>
                    </a:lnTo>
                    <a:lnTo>
                      <a:pt x="633" y="246"/>
                    </a:lnTo>
                    <a:lnTo>
                      <a:pt x="636" y="248"/>
                    </a:lnTo>
                    <a:lnTo>
                      <a:pt x="636" y="251"/>
                    </a:lnTo>
                    <a:lnTo>
                      <a:pt x="636" y="251"/>
                    </a:lnTo>
                    <a:lnTo>
                      <a:pt x="636" y="253"/>
                    </a:lnTo>
                    <a:lnTo>
                      <a:pt x="633" y="251"/>
                    </a:lnTo>
                    <a:lnTo>
                      <a:pt x="633" y="253"/>
                    </a:lnTo>
                    <a:lnTo>
                      <a:pt x="633" y="256"/>
                    </a:lnTo>
                    <a:lnTo>
                      <a:pt x="633" y="256"/>
                    </a:lnTo>
                    <a:lnTo>
                      <a:pt x="631" y="258"/>
                    </a:lnTo>
                    <a:lnTo>
                      <a:pt x="631" y="258"/>
                    </a:lnTo>
                    <a:lnTo>
                      <a:pt x="631" y="258"/>
                    </a:lnTo>
                    <a:lnTo>
                      <a:pt x="629" y="263"/>
                    </a:lnTo>
                    <a:lnTo>
                      <a:pt x="629" y="263"/>
                    </a:lnTo>
                    <a:lnTo>
                      <a:pt x="626" y="265"/>
                    </a:lnTo>
                    <a:lnTo>
                      <a:pt x="626" y="267"/>
                    </a:lnTo>
                    <a:lnTo>
                      <a:pt x="626" y="267"/>
                    </a:lnTo>
                    <a:lnTo>
                      <a:pt x="629" y="270"/>
                    </a:lnTo>
                    <a:lnTo>
                      <a:pt x="626" y="270"/>
                    </a:lnTo>
                    <a:lnTo>
                      <a:pt x="624" y="270"/>
                    </a:lnTo>
                    <a:lnTo>
                      <a:pt x="624" y="270"/>
                    </a:lnTo>
                    <a:lnTo>
                      <a:pt x="622" y="274"/>
                    </a:lnTo>
                    <a:lnTo>
                      <a:pt x="624" y="279"/>
                    </a:lnTo>
                    <a:lnTo>
                      <a:pt x="624" y="279"/>
                    </a:lnTo>
                    <a:lnTo>
                      <a:pt x="622" y="279"/>
                    </a:lnTo>
                    <a:lnTo>
                      <a:pt x="622" y="279"/>
                    </a:lnTo>
                    <a:lnTo>
                      <a:pt x="624" y="279"/>
                    </a:lnTo>
                    <a:lnTo>
                      <a:pt x="624" y="279"/>
                    </a:lnTo>
                    <a:lnTo>
                      <a:pt x="622" y="279"/>
                    </a:lnTo>
                    <a:lnTo>
                      <a:pt x="622" y="282"/>
                    </a:lnTo>
                    <a:lnTo>
                      <a:pt x="622" y="282"/>
                    </a:lnTo>
                    <a:lnTo>
                      <a:pt x="624" y="282"/>
                    </a:lnTo>
                    <a:lnTo>
                      <a:pt x="624" y="284"/>
                    </a:lnTo>
                    <a:lnTo>
                      <a:pt x="622" y="284"/>
                    </a:lnTo>
                    <a:lnTo>
                      <a:pt x="622" y="284"/>
                    </a:lnTo>
                    <a:lnTo>
                      <a:pt x="622" y="284"/>
                    </a:lnTo>
                    <a:lnTo>
                      <a:pt x="619" y="286"/>
                    </a:lnTo>
                    <a:lnTo>
                      <a:pt x="619" y="286"/>
                    </a:lnTo>
                    <a:lnTo>
                      <a:pt x="617" y="289"/>
                    </a:lnTo>
                    <a:lnTo>
                      <a:pt x="617" y="289"/>
                    </a:lnTo>
                    <a:lnTo>
                      <a:pt x="619" y="291"/>
                    </a:lnTo>
                    <a:lnTo>
                      <a:pt x="617" y="293"/>
                    </a:lnTo>
                    <a:lnTo>
                      <a:pt x="617" y="296"/>
                    </a:lnTo>
                    <a:lnTo>
                      <a:pt x="617" y="296"/>
                    </a:lnTo>
                    <a:lnTo>
                      <a:pt x="619" y="298"/>
                    </a:lnTo>
                    <a:lnTo>
                      <a:pt x="617" y="300"/>
                    </a:lnTo>
                    <a:lnTo>
                      <a:pt x="617" y="303"/>
                    </a:lnTo>
                    <a:lnTo>
                      <a:pt x="617" y="305"/>
                    </a:lnTo>
                    <a:lnTo>
                      <a:pt x="615" y="308"/>
                    </a:lnTo>
                    <a:lnTo>
                      <a:pt x="612" y="310"/>
                    </a:lnTo>
                    <a:lnTo>
                      <a:pt x="615" y="312"/>
                    </a:lnTo>
                    <a:lnTo>
                      <a:pt x="615" y="312"/>
                    </a:lnTo>
                    <a:lnTo>
                      <a:pt x="612" y="315"/>
                    </a:lnTo>
                    <a:lnTo>
                      <a:pt x="615" y="315"/>
                    </a:lnTo>
                    <a:lnTo>
                      <a:pt x="612" y="317"/>
                    </a:lnTo>
                    <a:lnTo>
                      <a:pt x="615" y="319"/>
                    </a:lnTo>
                    <a:lnTo>
                      <a:pt x="612" y="319"/>
                    </a:lnTo>
                    <a:lnTo>
                      <a:pt x="612" y="319"/>
                    </a:lnTo>
                    <a:lnTo>
                      <a:pt x="612" y="324"/>
                    </a:lnTo>
                    <a:lnTo>
                      <a:pt x="612" y="326"/>
                    </a:lnTo>
                    <a:lnTo>
                      <a:pt x="612" y="331"/>
                    </a:lnTo>
                    <a:lnTo>
                      <a:pt x="612" y="333"/>
                    </a:lnTo>
                    <a:lnTo>
                      <a:pt x="612" y="338"/>
                    </a:lnTo>
                    <a:lnTo>
                      <a:pt x="612" y="341"/>
                    </a:lnTo>
                    <a:lnTo>
                      <a:pt x="615" y="343"/>
                    </a:lnTo>
                    <a:lnTo>
                      <a:pt x="615" y="343"/>
                    </a:lnTo>
                    <a:lnTo>
                      <a:pt x="615" y="345"/>
                    </a:lnTo>
                    <a:lnTo>
                      <a:pt x="615" y="345"/>
                    </a:lnTo>
                    <a:lnTo>
                      <a:pt x="617" y="348"/>
                    </a:lnTo>
                    <a:lnTo>
                      <a:pt x="617" y="350"/>
                    </a:lnTo>
                    <a:lnTo>
                      <a:pt x="617" y="350"/>
                    </a:lnTo>
                    <a:lnTo>
                      <a:pt x="615" y="350"/>
                    </a:lnTo>
                    <a:lnTo>
                      <a:pt x="615" y="352"/>
                    </a:lnTo>
                    <a:lnTo>
                      <a:pt x="617" y="352"/>
                    </a:lnTo>
                    <a:lnTo>
                      <a:pt x="619" y="352"/>
                    </a:lnTo>
                    <a:lnTo>
                      <a:pt x="622" y="355"/>
                    </a:lnTo>
                    <a:lnTo>
                      <a:pt x="619" y="357"/>
                    </a:lnTo>
                    <a:lnTo>
                      <a:pt x="622" y="359"/>
                    </a:lnTo>
                    <a:lnTo>
                      <a:pt x="622" y="362"/>
                    </a:lnTo>
                    <a:lnTo>
                      <a:pt x="622" y="362"/>
                    </a:lnTo>
                    <a:lnTo>
                      <a:pt x="622" y="364"/>
                    </a:lnTo>
                    <a:lnTo>
                      <a:pt x="622" y="364"/>
                    </a:lnTo>
                    <a:lnTo>
                      <a:pt x="624" y="367"/>
                    </a:lnTo>
                    <a:lnTo>
                      <a:pt x="624" y="369"/>
                    </a:lnTo>
                    <a:lnTo>
                      <a:pt x="624" y="369"/>
                    </a:lnTo>
                    <a:lnTo>
                      <a:pt x="624" y="369"/>
                    </a:lnTo>
                    <a:lnTo>
                      <a:pt x="624" y="371"/>
                    </a:lnTo>
                    <a:lnTo>
                      <a:pt x="626" y="374"/>
                    </a:lnTo>
                    <a:lnTo>
                      <a:pt x="624" y="374"/>
                    </a:lnTo>
                    <a:lnTo>
                      <a:pt x="624" y="376"/>
                    </a:lnTo>
                    <a:lnTo>
                      <a:pt x="624" y="378"/>
                    </a:lnTo>
                    <a:lnTo>
                      <a:pt x="624" y="378"/>
                    </a:lnTo>
                    <a:lnTo>
                      <a:pt x="624" y="383"/>
                    </a:lnTo>
                    <a:lnTo>
                      <a:pt x="626" y="383"/>
                    </a:lnTo>
                    <a:lnTo>
                      <a:pt x="629" y="383"/>
                    </a:lnTo>
                    <a:lnTo>
                      <a:pt x="629" y="383"/>
                    </a:lnTo>
                    <a:lnTo>
                      <a:pt x="631" y="385"/>
                    </a:lnTo>
                    <a:lnTo>
                      <a:pt x="631" y="385"/>
                    </a:lnTo>
                    <a:lnTo>
                      <a:pt x="631" y="385"/>
                    </a:lnTo>
                    <a:lnTo>
                      <a:pt x="631" y="388"/>
                    </a:lnTo>
                    <a:lnTo>
                      <a:pt x="633" y="388"/>
                    </a:lnTo>
                    <a:lnTo>
                      <a:pt x="633" y="385"/>
                    </a:lnTo>
                    <a:lnTo>
                      <a:pt x="633" y="388"/>
                    </a:lnTo>
                    <a:lnTo>
                      <a:pt x="636" y="388"/>
                    </a:lnTo>
                    <a:lnTo>
                      <a:pt x="638" y="390"/>
                    </a:lnTo>
                    <a:lnTo>
                      <a:pt x="638" y="393"/>
                    </a:lnTo>
                    <a:lnTo>
                      <a:pt x="641" y="393"/>
                    </a:lnTo>
                    <a:lnTo>
                      <a:pt x="641" y="393"/>
                    </a:lnTo>
                    <a:lnTo>
                      <a:pt x="643" y="393"/>
                    </a:lnTo>
                    <a:lnTo>
                      <a:pt x="645" y="393"/>
                    </a:lnTo>
                    <a:lnTo>
                      <a:pt x="645" y="393"/>
                    </a:lnTo>
                    <a:lnTo>
                      <a:pt x="648" y="393"/>
                    </a:lnTo>
                    <a:lnTo>
                      <a:pt x="645" y="395"/>
                    </a:lnTo>
                    <a:lnTo>
                      <a:pt x="648" y="397"/>
                    </a:lnTo>
                    <a:lnTo>
                      <a:pt x="648" y="397"/>
                    </a:lnTo>
                    <a:lnTo>
                      <a:pt x="645" y="400"/>
                    </a:lnTo>
                    <a:lnTo>
                      <a:pt x="648" y="402"/>
                    </a:lnTo>
                    <a:lnTo>
                      <a:pt x="645" y="402"/>
                    </a:lnTo>
                    <a:lnTo>
                      <a:pt x="648" y="404"/>
                    </a:lnTo>
                    <a:lnTo>
                      <a:pt x="645" y="404"/>
                    </a:lnTo>
                    <a:lnTo>
                      <a:pt x="645" y="407"/>
                    </a:lnTo>
                    <a:lnTo>
                      <a:pt x="645" y="407"/>
                    </a:lnTo>
                    <a:lnTo>
                      <a:pt x="645" y="407"/>
                    </a:lnTo>
                    <a:lnTo>
                      <a:pt x="645" y="409"/>
                    </a:lnTo>
                    <a:lnTo>
                      <a:pt x="645" y="411"/>
                    </a:lnTo>
                    <a:lnTo>
                      <a:pt x="648" y="411"/>
                    </a:lnTo>
                    <a:lnTo>
                      <a:pt x="645" y="414"/>
                    </a:lnTo>
                    <a:lnTo>
                      <a:pt x="648" y="414"/>
                    </a:lnTo>
                    <a:lnTo>
                      <a:pt x="648" y="414"/>
                    </a:lnTo>
                    <a:lnTo>
                      <a:pt x="648" y="416"/>
                    </a:lnTo>
                    <a:lnTo>
                      <a:pt x="645" y="416"/>
                    </a:lnTo>
                    <a:lnTo>
                      <a:pt x="643" y="421"/>
                    </a:lnTo>
                    <a:lnTo>
                      <a:pt x="645" y="423"/>
                    </a:lnTo>
                    <a:lnTo>
                      <a:pt x="645" y="423"/>
                    </a:lnTo>
                    <a:lnTo>
                      <a:pt x="645" y="423"/>
                    </a:lnTo>
                    <a:lnTo>
                      <a:pt x="648" y="426"/>
                    </a:lnTo>
                    <a:lnTo>
                      <a:pt x="645" y="426"/>
                    </a:lnTo>
                    <a:lnTo>
                      <a:pt x="648" y="426"/>
                    </a:lnTo>
                    <a:lnTo>
                      <a:pt x="648" y="426"/>
                    </a:lnTo>
                    <a:lnTo>
                      <a:pt x="645" y="426"/>
                    </a:lnTo>
                    <a:lnTo>
                      <a:pt x="645" y="428"/>
                    </a:lnTo>
                    <a:lnTo>
                      <a:pt x="645" y="428"/>
                    </a:lnTo>
                    <a:lnTo>
                      <a:pt x="645" y="428"/>
                    </a:lnTo>
                    <a:lnTo>
                      <a:pt x="645" y="430"/>
                    </a:lnTo>
                    <a:lnTo>
                      <a:pt x="645" y="433"/>
                    </a:lnTo>
                    <a:lnTo>
                      <a:pt x="645" y="433"/>
                    </a:lnTo>
                    <a:lnTo>
                      <a:pt x="643" y="433"/>
                    </a:lnTo>
                    <a:lnTo>
                      <a:pt x="645" y="433"/>
                    </a:lnTo>
                    <a:lnTo>
                      <a:pt x="643" y="435"/>
                    </a:lnTo>
                    <a:lnTo>
                      <a:pt x="643" y="440"/>
                    </a:lnTo>
                    <a:lnTo>
                      <a:pt x="643" y="440"/>
                    </a:lnTo>
                    <a:lnTo>
                      <a:pt x="643" y="442"/>
                    </a:lnTo>
                    <a:lnTo>
                      <a:pt x="643" y="442"/>
                    </a:lnTo>
                    <a:lnTo>
                      <a:pt x="643" y="445"/>
                    </a:lnTo>
                    <a:lnTo>
                      <a:pt x="643" y="447"/>
                    </a:lnTo>
                    <a:lnTo>
                      <a:pt x="643" y="449"/>
                    </a:lnTo>
                    <a:lnTo>
                      <a:pt x="645" y="449"/>
                    </a:lnTo>
                    <a:lnTo>
                      <a:pt x="645" y="449"/>
                    </a:lnTo>
                    <a:lnTo>
                      <a:pt x="648" y="449"/>
                    </a:lnTo>
                    <a:lnTo>
                      <a:pt x="648" y="449"/>
                    </a:lnTo>
                    <a:lnTo>
                      <a:pt x="650" y="449"/>
                    </a:lnTo>
                    <a:lnTo>
                      <a:pt x="652" y="449"/>
                    </a:lnTo>
                    <a:lnTo>
                      <a:pt x="652" y="452"/>
                    </a:lnTo>
                    <a:lnTo>
                      <a:pt x="655" y="449"/>
                    </a:lnTo>
                    <a:lnTo>
                      <a:pt x="652" y="447"/>
                    </a:lnTo>
                    <a:lnTo>
                      <a:pt x="655" y="447"/>
                    </a:lnTo>
                    <a:lnTo>
                      <a:pt x="655" y="447"/>
                    </a:lnTo>
                    <a:lnTo>
                      <a:pt x="657" y="449"/>
                    </a:lnTo>
                    <a:lnTo>
                      <a:pt x="655" y="452"/>
                    </a:lnTo>
                    <a:lnTo>
                      <a:pt x="655" y="454"/>
                    </a:lnTo>
                    <a:lnTo>
                      <a:pt x="655" y="454"/>
                    </a:lnTo>
                    <a:lnTo>
                      <a:pt x="655" y="454"/>
                    </a:lnTo>
                    <a:lnTo>
                      <a:pt x="652" y="454"/>
                    </a:lnTo>
                    <a:lnTo>
                      <a:pt x="652" y="456"/>
                    </a:lnTo>
                    <a:lnTo>
                      <a:pt x="652" y="456"/>
                    </a:lnTo>
                    <a:lnTo>
                      <a:pt x="652" y="456"/>
                    </a:lnTo>
                    <a:lnTo>
                      <a:pt x="650" y="459"/>
                    </a:lnTo>
                    <a:lnTo>
                      <a:pt x="652" y="459"/>
                    </a:lnTo>
                    <a:lnTo>
                      <a:pt x="650" y="461"/>
                    </a:lnTo>
                    <a:lnTo>
                      <a:pt x="650" y="461"/>
                    </a:lnTo>
                    <a:lnTo>
                      <a:pt x="652" y="461"/>
                    </a:lnTo>
                    <a:lnTo>
                      <a:pt x="655" y="463"/>
                    </a:lnTo>
                    <a:lnTo>
                      <a:pt x="655" y="463"/>
                    </a:lnTo>
                    <a:lnTo>
                      <a:pt x="655" y="463"/>
                    </a:lnTo>
                    <a:lnTo>
                      <a:pt x="657" y="463"/>
                    </a:lnTo>
                    <a:lnTo>
                      <a:pt x="659" y="466"/>
                    </a:lnTo>
                    <a:lnTo>
                      <a:pt x="659" y="466"/>
                    </a:lnTo>
                    <a:lnTo>
                      <a:pt x="662" y="466"/>
                    </a:lnTo>
                    <a:lnTo>
                      <a:pt x="664" y="466"/>
                    </a:lnTo>
                    <a:lnTo>
                      <a:pt x="664" y="466"/>
                    </a:lnTo>
                    <a:lnTo>
                      <a:pt x="667" y="463"/>
                    </a:lnTo>
                    <a:lnTo>
                      <a:pt x="669" y="466"/>
                    </a:lnTo>
                    <a:lnTo>
                      <a:pt x="669" y="466"/>
                    </a:lnTo>
                    <a:lnTo>
                      <a:pt x="669" y="466"/>
                    </a:lnTo>
                    <a:lnTo>
                      <a:pt x="669" y="466"/>
                    </a:lnTo>
                    <a:lnTo>
                      <a:pt x="671" y="466"/>
                    </a:lnTo>
                    <a:lnTo>
                      <a:pt x="671" y="468"/>
                    </a:lnTo>
                    <a:lnTo>
                      <a:pt x="671" y="468"/>
                    </a:lnTo>
                    <a:lnTo>
                      <a:pt x="671" y="471"/>
                    </a:lnTo>
                    <a:lnTo>
                      <a:pt x="674" y="471"/>
                    </a:lnTo>
                    <a:lnTo>
                      <a:pt x="674" y="473"/>
                    </a:lnTo>
                    <a:lnTo>
                      <a:pt x="674" y="473"/>
                    </a:lnTo>
                    <a:lnTo>
                      <a:pt x="674" y="473"/>
                    </a:lnTo>
                    <a:lnTo>
                      <a:pt x="676" y="471"/>
                    </a:lnTo>
                    <a:lnTo>
                      <a:pt x="676" y="473"/>
                    </a:lnTo>
                    <a:lnTo>
                      <a:pt x="676" y="475"/>
                    </a:lnTo>
                    <a:lnTo>
                      <a:pt x="676" y="478"/>
                    </a:lnTo>
                    <a:lnTo>
                      <a:pt x="676" y="478"/>
                    </a:lnTo>
                    <a:lnTo>
                      <a:pt x="678" y="480"/>
                    </a:lnTo>
                    <a:lnTo>
                      <a:pt x="681" y="480"/>
                    </a:lnTo>
                    <a:lnTo>
                      <a:pt x="683" y="482"/>
                    </a:lnTo>
                    <a:lnTo>
                      <a:pt x="685" y="485"/>
                    </a:lnTo>
                    <a:lnTo>
                      <a:pt x="683" y="487"/>
                    </a:lnTo>
                    <a:lnTo>
                      <a:pt x="685" y="487"/>
                    </a:lnTo>
                    <a:lnTo>
                      <a:pt x="685" y="487"/>
                    </a:lnTo>
                    <a:lnTo>
                      <a:pt x="688" y="487"/>
                    </a:lnTo>
                    <a:lnTo>
                      <a:pt x="688" y="487"/>
                    </a:lnTo>
                    <a:lnTo>
                      <a:pt x="688" y="489"/>
                    </a:lnTo>
                    <a:lnTo>
                      <a:pt x="690" y="492"/>
                    </a:lnTo>
                    <a:lnTo>
                      <a:pt x="690" y="492"/>
                    </a:lnTo>
                    <a:lnTo>
                      <a:pt x="690" y="492"/>
                    </a:lnTo>
                    <a:lnTo>
                      <a:pt x="690" y="494"/>
                    </a:lnTo>
                    <a:lnTo>
                      <a:pt x="690" y="494"/>
                    </a:lnTo>
                    <a:lnTo>
                      <a:pt x="692" y="494"/>
                    </a:lnTo>
                    <a:lnTo>
                      <a:pt x="692" y="494"/>
                    </a:lnTo>
                    <a:lnTo>
                      <a:pt x="692" y="494"/>
                    </a:lnTo>
                    <a:lnTo>
                      <a:pt x="692" y="492"/>
                    </a:lnTo>
                    <a:lnTo>
                      <a:pt x="695" y="492"/>
                    </a:lnTo>
                    <a:lnTo>
                      <a:pt x="697" y="494"/>
                    </a:lnTo>
                    <a:lnTo>
                      <a:pt x="697" y="494"/>
                    </a:lnTo>
                    <a:lnTo>
                      <a:pt x="697" y="496"/>
                    </a:lnTo>
                    <a:lnTo>
                      <a:pt x="697" y="499"/>
                    </a:lnTo>
                    <a:lnTo>
                      <a:pt x="697" y="499"/>
                    </a:lnTo>
                    <a:lnTo>
                      <a:pt x="697" y="499"/>
                    </a:lnTo>
                    <a:lnTo>
                      <a:pt x="700" y="499"/>
                    </a:lnTo>
                    <a:lnTo>
                      <a:pt x="700" y="499"/>
                    </a:lnTo>
                    <a:lnTo>
                      <a:pt x="702" y="501"/>
                    </a:lnTo>
                    <a:lnTo>
                      <a:pt x="702" y="501"/>
                    </a:lnTo>
                    <a:lnTo>
                      <a:pt x="702" y="504"/>
                    </a:lnTo>
                    <a:lnTo>
                      <a:pt x="702" y="504"/>
                    </a:lnTo>
                    <a:lnTo>
                      <a:pt x="704" y="506"/>
                    </a:lnTo>
                    <a:lnTo>
                      <a:pt x="702" y="506"/>
                    </a:lnTo>
                    <a:lnTo>
                      <a:pt x="704" y="506"/>
                    </a:lnTo>
                    <a:lnTo>
                      <a:pt x="704" y="508"/>
                    </a:lnTo>
                    <a:lnTo>
                      <a:pt x="704" y="508"/>
                    </a:lnTo>
                    <a:lnTo>
                      <a:pt x="707" y="508"/>
                    </a:lnTo>
                    <a:lnTo>
                      <a:pt x="709" y="508"/>
                    </a:lnTo>
                    <a:lnTo>
                      <a:pt x="709" y="511"/>
                    </a:lnTo>
                    <a:lnTo>
                      <a:pt x="711" y="513"/>
                    </a:lnTo>
                    <a:lnTo>
                      <a:pt x="711" y="511"/>
                    </a:lnTo>
                    <a:lnTo>
                      <a:pt x="714" y="511"/>
                    </a:lnTo>
                    <a:lnTo>
                      <a:pt x="714" y="511"/>
                    </a:lnTo>
                    <a:lnTo>
                      <a:pt x="716" y="513"/>
                    </a:lnTo>
                    <a:lnTo>
                      <a:pt x="716" y="513"/>
                    </a:lnTo>
                    <a:lnTo>
                      <a:pt x="718" y="513"/>
                    </a:lnTo>
                    <a:lnTo>
                      <a:pt x="718" y="515"/>
                    </a:lnTo>
                    <a:lnTo>
                      <a:pt x="721" y="515"/>
                    </a:lnTo>
                    <a:lnTo>
                      <a:pt x="721" y="515"/>
                    </a:lnTo>
                    <a:lnTo>
                      <a:pt x="723" y="515"/>
                    </a:lnTo>
                    <a:lnTo>
                      <a:pt x="726" y="515"/>
                    </a:lnTo>
                    <a:lnTo>
                      <a:pt x="726" y="515"/>
                    </a:lnTo>
                    <a:lnTo>
                      <a:pt x="726" y="515"/>
                    </a:lnTo>
                    <a:lnTo>
                      <a:pt x="728" y="515"/>
                    </a:lnTo>
                    <a:lnTo>
                      <a:pt x="728" y="518"/>
                    </a:lnTo>
                    <a:lnTo>
                      <a:pt x="730" y="518"/>
                    </a:lnTo>
                    <a:lnTo>
                      <a:pt x="730" y="515"/>
                    </a:lnTo>
                    <a:lnTo>
                      <a:pt x="730" y="515"/>
                    </a:lnTo>
                    <a:lnTo>
                      <a:pt x="733" y="518"/>
                    </a:lnTo>
                    <a:lnTo>
                      <a:pt x="735" y="518"/>
                    </a:lnTo>
                    <a:lnTo>
                      <a:pt x="737" y="518"/>
                    </a:lnTo>
                    <a:lnTo>
                      <a:pt x="740" y="518"/>
                    </a:lnTo>
                    <a:lnTo>
                      <a:pt x="740" y="518"/>
                    </a:lnTo>
                    <a:lnTo>
                      <a:pt x="740" y="518"/>
                    </a:lnTo>
                    <a:lnTo>
                      <a:pt x="740" y="520"/>
                    </a:lnTo>
                    <a:lnTo>
                      <a:pt x="742" y="520"/>
                    </a:lnTo>
                    <a:lnTo>
                      <a:pt x="742" y="520"/>
                    </a:lnTo>
                    <a:lnTo>
                      <a:pt x="742" y="520"/>
                    </a:lnTo>
                    <a:lnTo>
                      <a:pt x="749" y="518"/>
                    </a:lnTo>
                    <a:lnTo>
                      <a:pt x="749" y="520"/>
                    </a:lnTo>
                    <a:lnTo>
                      <a:pt x="749" y="522"/>
                    </a:lnTo>
                    <a:lnTo>
                      <a:pt x="749" y="522"/>
                    </a:lnTo>
                    <a:lnTo>
                      <a:pt x="749" y="522"/>
                    </a:lnTo>
                    <a:lnTo>
                      <a:pt x="752" y="525"/>
                    </a:lnTo>
                    <a:lnTo>
                      <a:pt x="752" y="527"/>
                    </a:lnTo>
                    <a:lnTo>
                      <a:pt x="752" y="527"/>
                    </a:lnTo>
                    <a:lnTo>
                      <a:pt x="752" y="527"/>
                    </a:lnTo>
                    <a:lnTo>
                      <a:pt x="749" y="530"/>
                    </a:lnTo>
                    <a:lnTo>
                      <a:pt x="752" y="530"/>
                    </a:lnTo>
                    <a:lnTo>
                      <a:pt x="752" y="657"/>
                    </a:lnTo>
                    <a:lnTo>
                      <a:pt x="714" y="657"/>
                    </a:lnTo>
                    <a:lnTo>
                      <a:pt x="683" y="657"/>
                    </a:lnTo>
                    <a:lnTo>
                      <a:pt x="607" y="657"/>
                    </a:lnTo>
                    <a:lnTo>
                      <a:pt x="605" y="662"/>
                    </a:lnTo>
                    <a:lnTo>
                      <a:pt x="605" y="669"/>
                    </a:lnTo>
                    <a:lnTo>
                      <a:pt x="603" y="671"/>
                    </a:lnTo>
                    <a:lnTo>
                      <a:pt x="600" y="671"/>
                    </a:lnTo>
                    <a:lnTo>
                      <a:pt x="596" y="674"/>
                    </a:lnTo>
                    <a:lnTo>
                      <a:pt x="596" y="674"/>
                    </a:lnTo>
                    <a:lnTo>
                      <a:pt x="593" y="678"/>
                    </a:lnTo>
                    <a:lnTo>
                      <a:pt x="593" y="678"/>
                    </a:lnTo>
                    <a:lnTo>
                      <a:pt x="596" y="681"/>
                    </a:lnTo>
                    <a:lnTo>
                      <a:pt x="596" y="681"/>
                    </a:lnTo>
                    <a:lnTo>
                      <a:pt x="593" y="683"/>
                    </a:lnTo>
                    <a:lnTo>
                      <a:pt x="593" y="683"/>
                    </a:lnTo>
                    <a:lnTo>
                      <a:pt x="593" y="685"/>
                    </a:lnTo>
                    <a:lnTo>
                      <a:pt x="593" y="685"/>
                    </a:lnTo>
                    <a:lnTo>
                      <a:pt x="593" y="688"/>
                    </a:lnTo>
                    <a:lnTo>
                      <a:pt x="591" y="688"/>
                    </a:lnTo>
                    <a:lnTo>
                      <a:pt x="589" y="690"/>
                    </a:lnTo>
                    <a:lnTo>
                      <a:pt x="589" y="690"/>
                    </a:lnTo>
                    <a:lnTo>
                      <a:pt x="589" y="693"/>
                    </a:lnTo>
                    <a:lnTo>
                      <a:pt x="586" y="695"/>
                    </a:lnTo>
                    <a:lnTo>
                      <a:pt x="586" y="700"/>
                    </a:lnTo>
                    <a:lnTo>
                      <a:pt x="584" y="702"/>
                    </a:lnTo>
                    <a:lnTo>
                      <a:pt x="584" y="704"/>
                    </a:lnTo>
                    <a:lnTo>
                      <a:pt x="581" y="707"/>
                    </a:lnTo>
                    <a:lnTo>
                      <a:pt x="584" y="707"/>
                    </a:lnTo>
                    <a:lnTo>
                      <a:pt x="584" y="707"/>
                    </a:lnTo>
                    <a:lnTo>
                      <a:pt x="584" y="709"/>
                    </a:lnTo>
                    <a:lnTo>
                      <a:pt x="584" y="709"/>
                    </a:lnTo>
                    <a:lnTo>
                      <a:pt x="581" y="709"/>
                    </a:lnTo>
                    <a:lnTo>
                      <a:pt x="579" y="711"/>
                    </a:lnTo>
                    <a:lnTo>
                      <a:pt x="579" y="714"/>
                    </a:lnTo>
                    <a:lnTo>
                      <a:pt x="579" y="714"/>
                    </a:lnTo>
                    <a:lnTo>
                      <a:pt x="577" y="714"/>
                    </a:lnTo>
                    <a:lnTo>
                      <a:pt x="577" y="716"/>
                    </a:lnTo>
                    <a:lnTo>
                      <a:pt x="577" y="719"/>
                    </a:lnTo>
                    <a:lnTo>
                      <a:pt x="574" y="719"/>
                    </a:lnTo>
                    <a:lnTo>
                      <a:pt x="574" y="719"/>
                    </a:lnTo>
                    <a:lnTo>
                      <a:pt x="574" y="719"/>
                    </a:lnTo>
                    <a:lnTo>
                      <a:pt x="574" y="721"/>
                    </a:lnTo>
                    <a:lnTo>
                      <a:pt x="574" y="726"/>
                    </a:lnTo>
                    <a:lnTo>
                      <a:pt x="572" y="726"/>
                    </a:lnTo>
                    <a:lnTo>
                      <a:pt x="574" y="728"/>
                    </a:lnTo>
                    <a:lnTo>
                      <a:pt x="574" y="730"/>
                    </a:lnTo>
                    <a:lnTo>
                      <a:pt x="574" y="730"/>
                    </a:lnTo>
                    <a:lnTo>
                      <a:pt x="574" y="735"/>
                    </a:lnTo>
                    <a:lnTo>
                      <a:pt x="570" y="735"/>
                    </a:lnTo>
                    <a:lnTo>
                      <a:pt x="570" y="735"/>
                    </a:lnTo>
                    <a:lnTo>
                      <a:pt x="572" y="737"/>
                    </a:lnTo>
                    <a:lnTo>
                      <a:pt x="570" y="740"/>
                    </a:lnTo>
                    <a:lnTo>
                      <a:pt x="570" y="740"/>
                    </a:lnTo>
                    <a:lnTo>
                      <a:pt x="570" y="742"/>
                    </a:lnTo>
                    <a:lnTo>
                      <a:pt x="567" y="745"/>
                    </a:lnTo>
                    <a:lnTo>
                      <a:pt x="567" y="745"/>
                    </a:lnTo>
                    <a:lnTo>
                      <a:pt x="567" y="745"/>
                    </a:lnTo>
                    <a:lnTo>
                      <a:pt x="567" y="747"/>
                    </a:lnTo>
                    <a:lnTo>
                      <a:pt x="567" y="747"/>
                    </a:lnTo>
                    <a:lnTo>
                      <a:pt x="567" y="749"/>
                    </a:lnTo>
                    <a:lnTo>
                      <a:pt x="563" y="752"/>
                    </a:lnTo>
                    <a:lnTo>
                      <a:pt x="563" y="754"/>
                    </a:lnTo>
                    <a:lnTo>
                      <a:pt x="563" y="756"/>
                    </a:lnTo>
                    <a:lnTo>
                      <a:pt x="563" y="756"/>
                    </a:lnTo>
                    <a:lnTo>
                      <a:pt x="560" y="756"/>
                    </a:lnTo>
                    <a:lnTo>
                      <a:pt x="560" y="763"/>
                    </a:lnTo>
                    <a:lnTo>
                      <a:pt x="560" y="763"/>
                    </a:lnTo>
                    <a:lnTo>
                      <a:pt x="563" y="763"/>
                    </a:lnTo>
                    <a:lnTo>
                      <a:pt x="563" y="766"/>
                    </a:lnTo>
                    <a:lnTo>
                      <a:pt x="563" y="766"/>
                    </a:lnTo>
                    <a:lnTo>
                      <a:pt x="563" y="768"/>
                    </a:lnTo>
                    <a:lnTo>
                      <a:pt x="565" y="768"/>
                    </a:lnTo>
                    <a:lnTo>
                      <a:pt x="565" y="770"/>
                    </a:lnTo>
                    <a:lnTo>
                      <a:pt x="567" y="770"/>
                    </a:lnTo>
                    <a:lnTo>
                      <a:pt x="567" y="773"/>
                    </a:lnTo>
                    <a:lnTo>
                      <a:pt x="567" y="773"/>
                    </a:lnTo>
                    <a:lnTo>
                      <a:pt x="570" y="775"/>
                    </a:lnTo>
                    <a:lnTo>
                      <a:pt x="570" y="775"/>
                    </a:lnTo>
                    <a:lnTo>
                      <a:pt x="572" y="775"/>
                    </a:lnTo>
                    <a:lnTo>
                      <a:pt x="572" y="778"/>
                    </a:lnTo>
                    <a:lnTo>
                      <a:pt x="574" y="780"/>
                    </a:lnTo>
                    <a:lnTo>
                      <a:pt x="572" y="782"/>
                    </a:lnTo>
                    <a:lnTo>
                      <a:pt x="574" y="782"/>
                    </a:lnTo>
                    <a:lnTo>
                      <a:pt x="574" y="785"/>
                    </a:lnTo>
                    <a:lnTo>
                      <a:pt x="572" y="785"/>
                    </a:lnTo>
                    <a:lnTo>
                      <a:pt x="572" y="785"/>
                    </a:lnTo>
                    <a:lnTo>
                      <a:pt x="567" y="787"/>
                    </a:lnTo>
                    <a:lnTo>
                      <a:pt x="567" y="789"/>
                    </a:lnTo>
                    <a:lnTo>
                      <a:pt x="567" y="789"/>
                    </a:lnTo>
                    <a:lnTo>
                      <a:pt x="565" y="789"/>
                    </a:lnTo>
                    <a:lnTo>
                      <a:pt x="563" y="789"/>
                    </a:lnTo>
                    <a:lnTo>
                      <a:pt x="560" y="789"/>
                    </a:lnTo>
                    <a:lnTo>
                      <a:pt x="558" y="792"/>
                    </a:lnTo>
                    <a:lnTo>
                      <a:pt x="558" y="792"/>
                    </a:lnTo>
                    <a:lnTo>
                      <a:pt x="558" y="792"/>
                    </a:lnTo>
                    <a:lnTo>
                      <a:pt x="555" y="792"/>
                    </a:lnTo>
                    <a:lnTo>
                      <a:pt x="553" y="792"/>
                    </a:lnTo>
                    <a:lnTo>
                      <a:pt x="551" y="792"/>
                    </a:lnTo>
                    <a:lnTo>
                      <a:pt x="551" y="792"/>
                    </a:lnTo>
                    <a:lnTo>
                      <a:pt x="548" y="794"/>
                    </a:lnTo>
                    <a:lnTo>
                      <a:pt x="548" y="794"/>
                    </a:lnTo>
                    <a:lnTo>
                      <a:pt x="548" y="794"/>
                    </a:lnTo>
                    <a:lnTo>
                      <a:pt x="548" y="796"/>
                    </a:lnTo>
                    <a:lnTo>
                      <a:pt x="548" y="796"/>
                    </a:lnTo>
                    <a:lnTo>
                      <a:pt x="548" y="799"/>
                    </a:lnTo>
                    <a:lnTo>
                      <a:pt x="548" y="799"/>
                    </a:lnTo>
                    <a:lnTo>
                      <a:pt x="546" y="801"/>
                    </a:lnTo>
                    <a:lnTo>
                      <a:pt x="548" y="801"/>
                    </a:lnTo>
                    <a:lnTo>
                      <a:pt x="548" y="801"/>
                    </a:lnTo>
                    <a:lnTo>
                      <a:pt x="544" y="806"/>
                    </a:lnTo>
                    <a:lnTo>
                      <a:pt x="544" y="806"/>
                    </a:lnTo>
                    <a:lnTo>
                      <a:pt x="541" y="804"/>
                    </a:lnTo>
                    <a:lnTo>
                      <a:pt x="541" y="804"/>
                    </a:lnTo>
                    <a:lnTo>
                      <a:pt x="541" y="804"/>
                    </a:lnTo>
                    <a:lnTo>
                      <a:pt x="537" y="801"/>
                    </a:lnTo>
                    <a:lnTo>
                      <a:pt x="537" y="804"/>
                    </a:lnTo>
                    <a:lnTo>
                      <a:pt x="534" y="804"/>
                    </a:lnTo>
                    <a:lnTo>
                      <a:pt x="532" y="804"/>
                    </a:lnTo>
                    <a:lnTo>
                      <a:pt x="532" y="804"/>
                    </a:lnTo>
                    <a:lnTo>
                      <a:pt x="532" y="804"/>
                    </a:lnTo>
                    <a:lnTo>
                      <a:pt x="532" y="806"/>
                    </a:lnTo>
                    <a:lnTo>
                      <a:pt x="529" y="806"/>
                    </a:lnTo>
                    <a:lnTo>
                      <a:pt x="527" y="808"/>
                    </a:lnTo>
                    <a:lnTo>
                      <a:pt x="527" y="808"/>
                    </a:lnTo>
                    <a:lnTo>
                      <a:pt x="527" y="806"/>
                    </a:lnTo>
                    <a:lnTo>
                      <a:pt x="527" y="806"/>
                    </a:lnTo>
                    <a:lnTo>
                      <a:pt x="522" y="804"/>
                    </a:lnTo>
                    <a:lnTo>
                      <a:pt x="520" y="804"/>
                    </a:lnTo>
                    <a:lnTo>
                      <a:pt x="518" y="804"/>
                    </a:lnTo>
                    <a:lnTo>
                      <a:pt x="515" y="804"/>
                    </a:lnTo>
                    <a:lnTo>
                      <a:pt x="515" y="801"/>
                    </a:lnTo>
                    <a:lnTo>
                      <a:pt x="515" y="801"/>
                    </a:lnTo>
                    <a:lnTo>
                      <a:pt x="515" y="799"/>
                    </a:lnTo>
                    <a:lnTo>
                      <a:pt x="515" y="799"/>
                    </a:lnTo>
                    <a:lnTo>
                      <a:pt x="515" y="796"/>
                    </a:lnTo>
                    <a:lnTo>
                      <a:pt x="515" y="794"/>
                    </a:lnTo>
                    <a:lnTo>
                      <a:pt x="513" y="794"/>
                    </a:lnTo>
                    <a:lnTo>
                      <a:pt x="513" y="794"/>
                    </a:lnTo>
                    <a:lnTo>
                      <a:pt x="513" y="792"/>
                    </a:lnTo>
                    <a:lnTo>
                      <a:pt x="515" y="792"/>
                    </a:lnTo>
                    <a:lnTo>
                      <a:pt x="513" y="789"/>
                    </a:lnTo>
                    <a:lnTo>
                      <a:pt x="513" y="789"/>
                    </a:lnTo>
                    <a:lnTo>
                      <a:pt x="513" y="789"/>
                    </a:lnTo>
                    <a:lnTo>
                      <a:pt x="511" y="789"/>
                    </a:lnTo>
                    <a:lnTo>
                      <a:pt x="511" y="789"/>
                    </a:lnTo>
                    <a:lnTo>
                      <a:pt x="511" y="787"/>
                    </a:lnTo>
                    <a:lnTo>
                      <a:pt x="511" y="787"/>
                    </a:lnTo>
                    <a:lnTo>
                      <a:pt x="511" y="782"/>
                    </a:lnTo>
                    <a:lnTo>
                      <a:pt x="508" y="782"/>
                    </a:lnTo>
                    <a:lnTo>
                      <a:pt x="504" y="782"/>
                    </a:lnTo>
                    <a:lnTo>
                      <a:pt x="504" y="780"/>
                    </a:lnTo>
                    <a:lnTo>
                      <a:pt x="504" y="778"/>
                    </a:lnTo>
                    <a:lnTo>
                      <a:pt x="504" y="775"/>
                    </a:lnTo>
                    <a:lnTo>
                      <a:pt x="504" y="775"/>
                    </a:lnTo>
                    <a:lnTo>
                      <a:pt x="501" y="775"/>
                    </a:lnTo>
                    <a:lnTo>
                      <a:pt x="499" y="775"/>
                    </a:lnTo>
                    <a:lnTo>
                      <a:pt x="496" y="773"/>
                    </a:lnTo>
                    <a:lnTo>
                      <a:pt x="496" y="770"/>
                    </a:lnTo>
                    <a:lnTo>
                      <a:pt x="494" y="770"/>
                    </a:lnTo>
                    <a:lnTo>
                      <a:pt x="494" y="768"/>
                    </a:lnTo>
                    <a:lnTo>
                      <a:pt x="496" y="766"/>
                    </a:lnTo>
                    <a:lnTo>
                      <a:pt x="494" y="763"/>
                    </a:lnTo>
                    <a:lnTo>
                      <a:pt x="494" y="763"/>
                    </a:lnTo>
                    <a:lnTo>
                      <a:pt x="492" y="763"/>
                    </a:lnTo>
                    <a:lnTo>
                      <a:pt x="492" y="763"/>
                    </a:lnTo>
                    <a:lnTo>
                      <a:pt x="492" y="763"/>
                    </a:lnTo>
                    <a:lnTo>
                      <a:pt x="489" y="763"/>
                    </a:lnTo>
                    <a:lnTo>
                      <a:pt x="487" y="763"/>
                    </a:lnTo>
                    <a:lnTo>
                      <a:pt x="485" y="763"/>
                    </a:lnTo>
                    <a:lnTo>
                      <a:pt x="482" y="763"/>
                    </a:lnTo>
                    <a:lnTo>
                      <a:pt x="480" y="763"/>
                    </a:lnTo>
                    <a:lnTo>
                      <a:pt x="478" y="763"/>
                    </a:lnTo>
                    <a:lnTo>
                      <a:pt x="478" y="761"/>
                    </a:lnTo>
                    <a:lnTo>
                      <a:pt x="478" y="759"/>
                    </a:lnTo>
                    <a:lnTo>
                      <a:pt x="473" y="756"/>
                    </a:lnTo>
                    <a:lnTo>
                      <a:pt x="473" y="756"/>
                    </a:lnTo>
                    <a:lnTo>
                      <a:pt x="470" y="756"/>
                    </a:lnTo>
                    <a:lnTo>
                      <a:pt x="468" y="756"/>
                    </a:lnTo>
                    <a:lnTo>
                      <a:pt x="468" y="756"/>
                    </a:lnTo>
                    <a:lnTo>
                      <a:pt x="466" y="756"/>
                    </a:lnTo>
                    <a:lnTo>
                      <a:pt x="466" y="756"/>
                    </a:lnTo>
                    <a:lnTo>
                      <a:pt x="466" y="759"/>
                    </a:lnTo>
                    <a:lnTo>
                      <a:pt x="463" y="756"/>
                    </a:lnTo>
                    <a:lnTo>
                      <a:pt x="459" y="756"/>
                    </a:lnTo>
                    <a:lnTo>
                      <a:pt x="459" y="756"/>
                    </a:lnTo>
                    <a:lnTo>
                      <a:pt x="456" y="756"/>
                    </a:lnTo>
                    <a:lnTo>
                      <a:pt x="456" y="756"/>
                    </a:lnTo>
                    <a:lnTo>
                      <a:pt x="456" y="759"/>
                    </a:lnTo>
                    <a:lnTo>
                      <a:pt x="456" y="761"/>
                    </a:lnTo>
                    <a:lnTo>
                      <a:pt x="456" y="761"/>
                    </a:lnTo>
                    <a:lnTo>
                      <a:pt x="456" y="763"/>
                    </a:lnTo>
                    <a:lnTo>
                      <a:pt x="456" y="766"/>
                    </a:lnTo>
                    <a:lnTo>
                      <a:pt x="449" y="766"/>
                    </a:lnTo>
                    <a:lnTo>
                      <a:pt x="449" y="766"/>
                    </a:lnTo>
                    <a:lnTo>
                      <a:pt x="447" y="766"/>
                    </a:lnTo>
                    <a:lnTo>
                      <a:pt x="444" y="770"/>
                    </a:lnTo>
                    <a:lnTo>
                      <a:pt x="440" y="768"/>
                    </a:lnTo>
                    <a:lnTo>
                      <a:pt x="440" y="770"/>
                    </a:lnTo>
                    <a:lnTo>
                      <a:pt x="437" y="770"/>
                    </a:lnTo>
                    <a:lnTo>
                      <a:pt x="435" y="773"/>
                    </a:lnTo>
                    <a:lnTo>
                      <a:pt x="433" y="773"/>
                    </a:lnTo>
                    <a:lnTo>
                      <a:pt x="430" y="773"/>
                    </a:lnTo>
                    <a:lnTo>
                      <a:pt x="430" y="775"/>
                    </a:lnTo>
                    <a:lnTo>
                      <a:pt x="430" y="775"/>
                    </a:lnTo>
                    <a:lnTo>
                      <a:pt x="430" y="778"/>
                    </a:lnTo>
                    <a:lnTo>
                      <a:pt x="428" y="778"/>
                    </a:lnTo>
                    <a:lnTo>
                      <a:pt x="426" y="778"/>
                    </a:lnTo>
                    <a:lnTo>
                      <a:pt x="423" y="780"/>
                    </a:lnTo>
                    <a:lnTo>
                      <a:pt x="423" y="782"/>
                    </a:lnTo>
                    <a:lnTo>
                      <a:pt x="423" y="785"/>
                    </a:lnTo>
                    <a:lnTo>
                      <a:pt x="418" y="789"/>
                    </a:lnTo>
                    <a:lnTo>
                      <a:pt x="416" y="789"/>
                    </a:lnTo>
                    <a:lnTo>
                      <a:pt x="414" y="794"/>
                    </a:lnTo>
                    <a:lnTo>
                      <a:pt x="414" y="796"/>
                    </a:lnTo>
                    <a:lnTo>
                      <a:pt x="414" y="801"/>
                    </a:lnTo>
                    <a:lnTo>
                      <a:pt x="416" y="801"/>
                    </a:lnTo>
                    <a:lnTo>
                      <a:pt x="416" y="801"/>
                    </a:lnTo>
                    <a:lnTo>
                      <a:pt x="414" y="804"/>
                    </a:lnTo>
                    <a:lnTo>
                      <a:pt x="414" y="808"/>
                    </a:lnTo>
                    <a:lnTo>
                      <a:pt x="411" y="811"/>
                    </a:lnTo>
                    <a:lnTo>
                      <a:pt x="411" y="813"/>
                    </a:lnTo>
                    <a:lnTo>
                      <a:pt x="411" y="813"/>
                    </a:lnTo>
                    <a:lnTo>
                      <a:pt x="411" y="815"/>
                    </a:lnTo>
                    <a:lnTo>
                      <a:pt x="411" y="820"/>
                    </a:lnTo>
                    <a:lnTo>
                      <a:pt x="411" y="820"/>
                    </a:lnTo>
                    <a:lnTo>
                      <a:pt x="414" y="820"/>
                    </a:lnTo>
                    <a:lnTo>
                      <a:pt x="414" y="822"/>
                    </a:lnTo>
                    <a:lnTo>
                      <a:pt x="414" y="822"/>
                    </a:lnTo>
                    <a:lnTo>
                      <a:pt x="414" y="825"/>
                    </a:lnTo>
                    <a:lnTo>
                      <a:pt x="416" y="827"/>
                    </a:lnTo>
                    <a:lnTo>
                      <a:pt x="416" y="830"/>
                    </a:lnTo>
                    <a:lnTo>
                      <a:pt x="414" y="832"/>
                    </a:lnTo>
                    <a:lnTo>
                      <a:pt x="411" y="832"/>
                    </a:lnTo>
                    <a:lnTo>
                      <a:pt x="411" y="832"/>
                    </a:lnTo>
                    <a:lnTo>
                      <a:pt x="411" y="834"/>
                    </a:lnTo>
                    <a:lnTo>
                      <a:pt x="414" y="834"/>
                    </a:lnTo>
                    <a:lnTo>
                      <a:pt x="411" y="837"/>
                    </a:lnTo>
                    <a:lnTo>
                      <a:pt x="411" y="837"/>
                    </a:lnTo>
                    <a:lnTo>
                      <a:pt x="411" y="837"/>
                    </a:lnTo>
                    <a:lnTo>
                      <a:pt x="414" y="839"/>
                    </a:lnTo>
                    <a:lnTo>
                      <a:pt x="411" y="839"/>
                    </a:lnTo>
                    <a:lnTo>
                      <a:pt x="411" y="841"/>
                    </a:lnTo>
                    <a:lnTo>
                      <a:pt x="411" y="844"/>
                    </a:lnTo>
                    <a:lnTo>
                      <a:pt x="411" y="846"/>
                    </a:lnTo>
                    <a:lnTo>
                      <a:pt x="411" y="846"/>
                    </a:lnTo>
                    <a:lnTo>
                      <a:pt x="409" y="848"/>
                    </a:lnTo>
                    <a:lnTo>
                      <a:pt x="409" y="851"/>
                    </a:lnTo>
                    <a:lnTo>
                      <a:pt x="409" y="853"/>
                    </a:lnTo>
                    <a:lnTo>
                      <a:pt x="407" y="858"/>
                    </a:lnTo>
                    <a:lnTo>
                      <a:pt x="404" y="860"/>
                    </a:lnTo>
                    <a:lnTo>
                      <a:pt x="404" y="863"/>
                    </a:lnTo>
                    <a:lnTo>
                      <a:pt x="407" y="863"/>
                    </a:lnTo>
                    <a:lnTo>
                      <a:pt x="411" y="865"/>
                    </a:lnTo>
                    <a:lnTo>
                      <a:pt x="411" y="867"/>
                    </a:lnTo>
                    <a:lnTo>
                      <a:pt x="409" y="870"/>
                    </a:lnTo>
                    <a:lnTo>
                      <a:pt x="409" y="870"/>
                    </a:lnTo>
                    <a:lnTo>
                      <a:pt x="407" y="874"/>
                    </a:lnTo>
                    <a:lnTo>
                      <a:pt x="407" y="874"/>
                    </a:lnTo>
                    <a:lnTo>
                      <a:pt x="407" y="874"/>
                    </a:lnTo>
                    <a:lnTo>
                      <a:pt x="411" y="874"/>
                    </a:lnTo>
                    <a:lnTo>
                      <a:pt x="411" y="877"/>
                    </a:lnTo>
                    <a:lnTo>
                      <a:pt x="414" y="877"/>
                    </a:lnTo>
                    <a:lnTo>
                      <a:pt x="416" y="879"/>
                    </a:lnTo>
                    <a:lnTo>
                      <a:pt x="416" y="879"/>
                    </a:lnTo>
                    <a:lnTo>
                      <a:pt x="416" y="882"/>
                    </a:lnTo>
                    <a:lnTo>
                      <a:pt x="418" y="886"/>
                    </a:lnTo>
                    <a:lnTo>
                      <a:pt x="423" y="889"/>
                    </a:lnTo>
                    <a:lnTo>
                      <a:pt x="423" y="891"/>
                    </a:lnTo>
                    <a:lnTo>
                      <a:pt x="426" y="891"/>
                    </a:lnTo>
                    <a:lnTo>
                      <a:pt x="426" y="893"/>
                    </a:lnTo>
                    <a:lnTo>
                      <a:pt x="423" y="893"/>
                    </a:lnTo>
                    <a:lnTo>
                      <a:pt x="423" y="898"/>
                    </a:lnTo>
                    <a:lnTo>
                      <a:pt x="423" y="898"/>
                    </a:lnTo>
                    <a:lnTo>
                      <a:pt x="423" y="898"/>
                    </a:lnTo>
                    <a:lnTo>
                      <a:pt x="416" y="891"/>
                    </a:lnTo>
                    <a:lnTo>
                      <a:pt x="414" y="886"/>
                    </a:lnTo>
                    <a:lnTo>
                      <a:pt x="411" y="884"/>
                    </a:lnTo>
                    <a:lnTo>
                      <a:pt x="409" y="882"/>
                    </a:lnTo>
                    <a:lnTo>
                      <a:pt x="404" y="879"/>
                    </a:lnTo>
                    <a:lnTo>
                      <a:pt x="402" y="877"/>
                    </a:lnTo>
                    <a:lnTo>
                      <a:pt x="392" y="874"/>
                    </a:lnTo>
                    <a:lnTo>
                      <a:pt x="390" y="872"/>
                    </a:lnTo>
                    <a:lnTo>
                      <a:pt x="388" y="872"/>
                    </a:lnTo>
                    <a:lnTo>
                      <a:pt x="385" y="872"/>
                    </a:lnTo>
                    <a:lnTo>
                      <a:pt x="383" y="872"/>
                    </a:lnTo>
                    <a:lnTo>
                      <a:pt x="381" y="874"/>
                    </a:lnTo>
                    <a:lnTo>
                      <a:pt x="381" y="874"/>
                    </a:lnTo>
                    <a:lnTo>
                      <a:pt x="378" y="874"/>
                    </a:lnTo>
                    <a:lnTo>
                      <a:pt x="374" y="874"/>
                    </a:lnTo>
                    <a:lnTo>
                      <a:pt x="371" y="874"/>
                    </a:lnTo>
                    <a:lnTo>
                      <a:pt x="371" y="872"/>
                    </a:lnTo>
                    <a:lnTo>
                      <a:pt x="369" y="867"/>
                    </a:lnTo>
                    <a:lnTo>
                      <a:pt x="366" y="865"/>
                    </a:lnTo>
                    <a:lnTo>
                      <a:pt x="364" y="860"/>
                    </a:lnTo>
                    <a:lnTo>
                      <a:pt x="364" y="856"/>
                    </a:lnTo>
                    <a:lnTo>
                      <a:pt x="362" y="853"/>
                    </a:lnTo>
                    <a:lnTo>
                      <a:pt x="359" y="851"/>
                    </a:lnTo>
                    <a:lnTo>
                      <a:pt x="359" y="848"/>
                    </a:lnTo>
                    <a:lnTo>
                      <a:pt x="357" y="841"/>
                    </a:lnTo>
                    <a:lnTo>
                      <a:pt x="355" y="839"/>
                    </a:lnTo>
                    <a:lnTo>
                      <a:pt x="352" y="837"/>
                    </a:lnTo>
                    <a:lnTo>
                      <a:pt x="350" y="834"/>
                    </a:lnTo>
                    <a:lnTo>
                      <a:pt x="348" y="834"/>
                    </a:lnTo>
                    <a:lnTo>
                      <a:pt x="348" y="834"/>
                    </a:lnTo>
                    <a:lnTo>
                      <a:pt x="345" y="834"/>
                    </a:lnTo>
                    <a:lnTo>
                      <a:pt x="345" y="834"/>
                    </a:lnTo>
                    <a:lnTo>
                      <a:pt x="343" y="832"/>
                    </a:lnTo>
                    <a:lnTo>
                      <a:pt x="343" y="832"/>
                    </a:lnTo>
                    <a:lnTo>
                      <a:pt x="343" y="830"/>
                    </a:lnTo>
                    <a:lnTo>
                      <a:pt x="341" y="827"/>
                    </a:lnTo>
                    <a:lnTo>
                      <a:pt x="341" y="827"/>
                    </a:lnTo>
                    <a:lnTo>
                      <a:pt x="338" y="825"/>
                    </a:lnTo>
                    <a:lnTo>
                      <a:pt x="338" y="825"/>
                    </a:lnTo>
                    <a:lnTo>
                      <a:pt x="336" y="825"/>
                    </a:lnTo>
                    <a:lnTo>
                      <a:pt x="336" y="822"/>
                    </a:lnTo>
                    <a:lnTo>
                      <a:pt x="331" y="822"/>
                    </a:lnTo>
                    <a:lnTo>
                      <a:pt x="331" y="820"/>
                    </a:lnTo>
                    <a:lnTo>
                      <a:pt x="331" y="820"/>
                    </a:lnTo>
                    <a:lnTo>
                      <a:pt x="329" y="818"/>
                    </a:lnTo>
                    <a:lnTo>
                      <a:pt x="326" y="818"/>
                    </a:lnTo>
                    <a:lnTo>
                      <a:pt x="324" y="815"/>
                    </a:lnTo>
                    <a:lnTo>
                      <a:pt x="322" y="815"/>
                    </a:lnTo>
                    <a:lnTo>
                      <a:pt x="319" y="815"/>
                    </a:lnTo>
                    <a:lnTo>
                      <a:pt x="319" y="815"/>
                    </a:lnTo>
                    <a:lnTo>
                      <a:pt x="319" y="813"/>
                    </a:lnTo>
                    <a:lnTo>
                      <a:pt x="317" y="811"/>
                    </a:lnTo>
                    <a:lnTo>
                      <a:pt x="317" y="811"/>
                    </a:lnTo>
                    <a:lnTo>
                      <a:pt x="315" y="808"/>
                    </a:lnTo>
                    <a:lnTo>
                      <a:pt x="312" y="806"/>
                    </a:lnTo>
                    <a:lnTo>
                      <a:pt x="312" y="806"/>
                    </a:lnTo>
                    <a:lnTo>
                      <a:pt x="312" y="804"/>
                    </a:lnTo>
                    <a:lnTo>
                      <a:pt x="310" y="804"/>
                    </a:lnTo>
                    <a:lnTo>
                      <a:pt x="310" y="804"/>
                    </a:lnTo>
                    <a:lnTo>
                      <a:pt x="310" y="801"/>
                    </a:lnTo>
                    <a:lnTo>
                      <a:pt x="310" y="801"/>
                    </a:lnTo>
                    <a:lnTo>
                      <a:pt x="310" y="801"/>
                    </a:lnTo>
                    <a:lnTo>
                      <a:pt x="307" y="799"/>
                    </a:lnTo>
                    <a:lnTo>
                      <a:pt x="307" y="799"/>
                    </a:lnTo>
                    <a:lnTo>
                      <a:pt x="303" y="796"/>
                    </a:lnTo>
                    <a:lnTo>
                      <a:pt x="303" y="796"/>
                    </a:lnTo>
                    <a:lnTo>
                      <a:pt x="300" y="796"/>
                    </a:lnTo>
                    <a:lnTo>
                      <a:pt x="300" y="796"/>
                    </a:lnTo>
                    <a:lnTo>
                      <a:pt x="300" y="796"/>
                    </a:lnTo>
                    <a:lnTo>
                      <a:pt x="300" y="796"/>
                    </a:lnTo>
                    <a:lnTo>
                      <a:pt x="298" y="794"/>
                    </a:lnTo>
                    <a:lnTo>
                      <a:pt x="298" y="794"/>
                    </a:lnTo>
                    <a:lnTo>
                      <a:pt x="293" y="794"/>
                    </a:lnTo>
                    <a:lnTo>
                      <a:pt x="293" y="792"/>
                    </a:lnTo>
                    <a:lnTo>
                      <a:pt x="293" y="789"/>
                    </a:lnTo>
                    <a:lnTo>
                      <a:pt x="296" y="789"/>
                    </a:lnTo>
                    <a:lnTo>
                      <a:pt x="293" y="787"/>
                    </a:lnTo>
                    <a:lnTo>
                      <a:pt x="293" y="787"/>
                    </a:lnTo>
                    <a:lnTo>
                      <a:pt x="293" y="785"/>
                    </a:lnTo>
                    <a:lnTo>
                      <a:pt x="296" y="782"/>
                    </a:lnTo>
                    <a:lnTo>
                      <a:pt x="296" y="780"/>
                    </a:lnTo>
                    <a:lnTo>
                      <a:pt x="296" y="780"/>
                    </a:lnTo>
                    <a:lnTo>
                      <a:pt x="298" y="782"/>
                    </a:lnTo>
                    <a:lnTo>
                      <a:pt x="298" y="780"/>
                    </a:lnTo>
                    <a:lnTo>
                      <a:pt x="300" y="782"/>
                    </a:lnTo>
                    <a:lnTo>
                      <a:pt x="303" y="782"/>
                    </a:lnTo>
                    <a:lnTo>
                      <a:pt x="303" y="782"/>
                    </a:lnTo>
                    <a:lnTo>
                      <a:pt x="305" y="782"/>
                    </a:lnTo>
                    <a:lnTo>
                      <a:pt x="305" y="785"/>
                    </a:lnTo>
                    <a:lnTo>
                      <a:pt x="307" y="785"/>
                    </a:lnTo>
                    <a:lnTo>
                      <a:pt x="307" y="785"/>
                    </a:lnTo>
                    <a:lnTo>
                      <a:pt x="307" y="785"/>
                    </a:lnTo>
                    <a:lnTo>
                      <a:pt x="310" y="782"/>
                    </a:lnTo>
                    <a:lnTo>
                      <a:pt x="312" y="785"/>
                    </a:lnTo>
                    <a:lnTo>
                      <a:pt x="312" y="782"/>
                    </a:lnTo>
                    <a:lnTo>
                      <a:pt x="312" y="782"/>
                    </a:lnTo>
                    <a:lnTo>
                      <a:pt x="310" y="782"/>
                    </a:lnTo>
                    <a:lnTo>
                      <a:pt x="310" y="780"/>
                    </a:lnTo>
                    <a:lnTo>
                      <a:pt x="310" y="780"/>
                    </a:lnTo>
                    <a:lnTo>
                      <a:pt x="312" y="780"/>
                    </a:lnTo>
                    <a:lnTo>
                      <a:pt x="312" y="780"/>
                    </a:lnTo>
                    <a:lnTo>
                      <a:pt x="315" y="780"/>
                    </a:lnTo>
                    <a:lnTo>
                      <a:pt x="317" y="780"/>
                    </a:lnTo>
                    <a:lnTo>
                      <a:pt x="317" y="778"/>
                    </a:lnTo>
                    <a:lnTo>
                      <a:pt x="317" y="778"/>
                    </a:lnTo>
                    <a:lnTo>
                      <a:pt x="317" y="778"/>
                    </a:lnTo>
                    <a:lnTo>
                      <a:pt x="319" y="778"/>
                    </a:lnTo>
                    <a:lnTo>
                      <a:pt x="319" y="775"/>
                    </a:lnTo>
                    <a:lnTo>
                      <a:pt x="319" y="775"/>
                    </a:lnTo>
                    <a:lnTo>
                      <a:pt x="322" y="775"/>
                    </a:lnTo>
                    <a:lnTo>
                      <a:pt x="322" y="775"/>
                    </a:lnTo>
                    <a:lnTo>
                      <a:pt x="319" y="773"/>
                    </a:lnTo>
                    <a:lnTo>
                      <a:pt x="319" y="773"/>
                    </a:lnTo>
                    <a:lnTo>
                      <a:pt x="319" y="770"/>
                    </a:lnTo>
                    <a:lnTo>
                      <a:pt x="322" y="770"/>
                    </a:lnTo>
                    <a:lnTo>
                      <a:pt x="322" y="770"/>
                    </a:lnTo>
                    <a:lnTo>
                      <a:pt x="319" y="768"/>
                    </a:lnTo>
                    <a:lnTo>
                      <a:pt x="319" y="766"/>
                    </a:lnTo>
                    <a:lnTo>
                      <a:pt x="319" y="766"/>
                    </a:lnTo>
                    <a:lnTo>
                      <a:pt x="317" y="763"/>
                    </a:lnTo>
                    <a:lnTo>
                      <a:pt x="319" y="763"/>
                    </a:lnTo>
                    <a:lnTo>
                      <a:pt x="319" y="761"/>
                    </a:lnTo>
                    <a:lnTo>
                      <a:pt x="319" y="761"/>
                    </a:lnTo>
                    <a:lnTo>
                      <a:pt x="319" y="759"/>
                    </a:lnTo>
                    <a:lnTo>
                      <a:pt x="319" y="756"/>
                    </a:lnTo>
                    <a:lnTo>
                      <a:pt x="319" y="756"/>
                    </a:lnTo>
                    <a:lnTo>
                      <a:pt x="322" y="756"/>
                    </a:lnTo>
                    <a:lnTo>
                      <a:pt x="322" y="754"/>
                    </a:lnTo>
                    <a:lnTo>
                      <a:pt x="322" y="754"/>
                    </a:lnTo>
                    <a:lnTo>
                      <a:pt x="322" y="754"/>
                    </a:lnTo>
                    <a:lnTo>
                      <a:pt x="324" y="752"/>
                    </a:lnTo>
                    <a:lnTo>
                      <a:pt x="322" y="752"/>
                    </a:lnTo>
                    <a:lnTo>
                      <a:pt x="322" y="752"/>
                    </a:lnTo>
                    <a:lnTo>
                      <a:pt x="326" y="749"/>
                    </a:lnTo>
                    <a:lnTo>
                      <a:pt x="326" y="747"/>
                    </a:lnTo>
                    <a:lnTo>
                      <a:pt x="329" y="747"/>
                    </a:lnTo>
                    <a:lnTo>
                      <a:pt x="329" y="745"/>
                    </a:lnTo>
                    <a:lnTo>
                      <a:pt x="331" y="745"/>
                    </a:lnTo>
                    <a:lnTo>
                      <a:pt x="331" y="745"/>
                    </a:lnTo>
                    <a:lnTo>
                      <a:pt x="331" y="742"/>
                    </a:lnTo>
                    <a:lnTo>
                      <a:pt x="331" y="740"/>
                    </a:lnTo>
                    <a:lnTo>
                      <a:pt x="331" y="740"/>
                    </a:lnTo>
                    <a:lnTo>
                      <a:pt x="333" y="737"/>
                    </a:lnTo>
                    <a:lnTo>
                      <a:pt x="333" y="735"/>
                    </a:lnTo>
                    <a:lnTo>
                      <a:pt x="333" y="735"/>
                    </a:lnTo>
                    <a:lnTo>
                      <a:pt x="329" y="733"/>
                    </a:lnTo>
                    <a:lnTo>
                      <a:pt x="329" y="733"/>
                    </a:lnTo>
                    <a:lnTo>
                      <a:pt x="329" y="733"/>
                    </a:lnTo>
                    <a:lnTo>
                      <a:pt x="326" y="733"/>
                    </a:lnTo>
                    <a:lnTo>
                      <a:pt x="326" y="730"/>
                    </a:lnTo>
                    <a:lnTo>
                      <a:pt x="326" y="730"/>
                    </a:lnTo>
                    <a:lnTo>
                      <a:pt x="326" y="728"/>
                    </a:lnTo>
                    <a:lnTo>
                      <a:pt x="326" y="726"/>
                    </a:lnTo>
                    <a:lnTo>
                      <a:pt x="326" y="726"/>
                    </a:lnTo>
                    <a:lnTo>
                      <a:pt x="329" y="723"/>
                    </a:lnTo>
                    <a:lnTo>
                      <a:pt x="326" y="723"/>
                    </a:lnTo>
                    <a:lnTo>
                      <a:pt x="326" y="723"/>
                    </a:lnTo>
                    <a:lnTo>
                      <a:pt x="326" y="719"/>
                    </a:lnTo>
                    <a:lnTo>
                      <a:pt x="326" y="719"/>
                    </a:lnTo>
                    <a:lnTo>
                      <a:pt x="326" y="716"/>
                    </a:lnTo>
                    <a:lnTo>
                      <a:pt x="326" y="714"/>
                    </a:lnTo>
                    <a:lnTo>
                      <a:pt x="326" y="714"/>
                    </a:lnTo>
                    <a:lnTo>
                      <a:pt x="326" y="711"/>
                    </a:lnTo>
                    <a:lnTo>
                      <a:pt x="324" y="711"/>
                    </a:lnTo>
                    <a:lnTo>
                      <a:pt x="322" y="711"/>
                    </a:lnTo>
                    <a:lnTo>
                      <a:pt x="322" y="709"/>
                    </a:lnTo>
                    <a:lnTo>
                      <a:pt x="319" y="707"/>
                    </a:lnTo>
                    <a:lnTo>
                      <a:pt x="317" y="704"/>
                    </a:lnTo>
                    <a:lnTo>
                      <a:pt x="317" y="702"/>
                    </a:lnTo>
                    <a:lnTo>
                      <a:pt x="317" y="700"/>
                    </a:lnTo>
                    <a:lnTo>
                      <a:pt x="317" y="700"/>
                    </a:lnTo>
                    <a:lnTo>
                      <a:pt x="317" y="700"/>
                    </a:lnTo>
                    <a:lnTo>
                      <a:pt x="317" y="700"/>
                    </a:lnTo>
                    <a:lnTo>
                      <a:pt x="317" y="697"/>
                    </a:lnTo>
                    <a:lnTo>
                      <a:pt x="317" y="695"/>
                    </a:lnTo>
                    <a:lnTo>
                      <a:pt x="317" y="695"/>
                    </a:lnTo>
                    <a:lnTo>
                      <a:pt x="315" y="688"/>
                    </a:lnTo>
                    <a:lnTo>
                      <a:pt x="312" y="685"/>
                    </a:lnTo>
                    <a:lnTo>
                      <a:pt x="310" y="683"/>
                    </a:lnTo>
                    <a:lnTo>
                      <a:pt x="307" y="683"/>
                    </a:lnTo>
                    <a:lnTo>
                      <a:pt x="305" y="681"/>
                    </a:lnTo>
                    <a:lnTo>
                      <a:pt x="303" y="678"/>
                    </a:lnTo>
                    <a:lnTo>
                      <a:pt x="303" y="676"/>
                    </a:lnTo>
                    <a:lnTo>
                      <a:pt x="303" y="671"/>
                    </a:lnTo>
                    <a:lnTo>
                      <a:pt x="303" y="669"/>
                    </a:lnTo>
                    <a:lnTo>
                      <a:pt x="303" y="664"/>
                    </a:lnTo>
                    <a:lnTo>
                      <a:pt x="300" y="664"/>
                    </a:lnTo>
                    <a:lnTo>
                      <a:pt x="300" y="659"/>
                    </a:lnTo>
                    <a:lnTo>
                      <a:pt x="298" y="655"/>
                    </a:lnTo>
                    <a:lnTo>
                      <a:pt x="300" y="650"/>
                    </a:lnTo>
                    <a:lnTo>
                      <a:pt x="298" y="648"/>
                    </a:lnTo>
                    <a:lnTo>
                      <a:pt x="300" y="645"/>
                    </a:lnTo>
                    <a:lnTo>
                      <a:pt x="300" y="643"/>
                    </a:lnTo>
                    <a:lnTo>
                      <a:pt x="300" y="643"/>
                    </a:lnTo>
                    <a:lnTo>
                      <a:pt x="300" y="641"/>
                    </a:lnTo>
                    <a:lnTo>
                      <a:pt x="300" y="641"/>
                    </a:lnTo>
                    <a:lnTo>
                      <a:pt x="300" y="636"/>
                    </a:lnTo>
                    <a:lnTo>
                      <a:pt x="298" y="636"/>
                    </a:lnTo>
                    <a:lnTo>
                      <a:pt x="296" y="631"/>
                    </a:lnTo>
                    <a:lnTo>
                      <a:pt x="293" y="633"/>
                    </a:lnTo>
                    <a:lnTo>
                      <a:pt x="291" y="633"/>
                    </a:lnTo>
                    <a:lnTo>
                      <a:pt x="291" y="626"/>
                    </a:lnTo>
                    <a:lnTo>
                      <a:pt x="291" y="624"/>
                    </a:lnTo>
                    <a:lnTo>
                      <a:pt x="291" y="619"/>
                    </a:lnTo>
                    <a:lnTo>
                      <a:pt x="291" y="615"/>
                    </a:lnTo>
                    <a:lnTo>
                      <a:pt x="289" y="603"/>
                    </a:lnTo>
                    <a:lnTo>
                      <a:pt x="291" y="600"/>
                    </a:lnTo>
                    <a:lnTo>
                      <a:pt x="291" y="598"/>
                    </a:lnTo>
                    <a:lnTo>
                      <a:pt x="293" y="593"/>
                    </a:lnTo>
                    <a:lnTo>
                      <a:pt x="298" y="589"/>
                    </a:lnTo>
                    <a:lnTo>
                      <a:pt x="300" y="589"/>
                    </a:lnTo>
                    <a:lnTo>
                      <a:pt x="300" y="584"/>
                    </a:lnTo>
                    <a:lnTo>
                      <a:pt x="298" y="582"/>
                    </a:lnTo>
                    <a:lnTo>
                      <a:pt x="298" y="582"/>
                    </a:lnTo>
                    <a:lnTo>
                      <a:pt x="296" y="577"/>
                    </a:lnTo>
                    <a:lnTo>
                      <a:pt x="298" y="572"/>
                    </a:lnTo>
                    <a:lnTo>
                      <a:pt x="300" y="570"/>
                    </a:lnTo>
                    <a:lnTo>
                      <a:pt x="300" y="565"/>
                    </a:lnTo>
                    <a:lnTo>
                      <a:pt x="300" y="563"/>
                    </a:lnTo>
                    <a:lnTo>
                      <a:pt x="300" y="560"/>
                    </a:lnTo>
                    <a:lnTo>
                      <a:pt x="298" y="558"/>
                    </a:lnTo>
                    <a:lnTo>
                      <a:pt x="298" y="558"/>
                    </a:lnTo>
                    <a:lnTo>
                      <a:pt x="298" y="556"/>
                    </a:lnTo>
                    <a:lnTo>
                      <a:pt x="298" y="553"/>
                    </a:lnTo>
                    <a:lnTo>
                      <a:pt x="298" y="553"/>
                    </a:lnTo>
                    <a:lnTo>
                      <a:pt x="298" y="551"/>
                    </a:lnTo>
                    <a:lnTo>
                      <a:pt x="298" y="548"/>
                    </a:lnTo>
                    <a:lnTo>
                      <a:pt x="298" y="548"/>
                    </a:lnTo>
                    <a:lnTo>
                      <a:pt x="296" y="548"/>
                    </a:lnTo>
                    <a:lnTo>
                      <a:pt x="291" y="548"/>
                    </a:lnTo>
                    <a:lnTo>
                      <a:pt x="291" y="548"/>
                    </a:lnTo>
                    <a:lnTo>
                      <a:pt x="289" y="544"/>
                    </a:lnTo>
                    <a:lnTo>
                      <a:pt x="289" y="537"/>
                    </a:lnTo>
                    <a:lnTo>
                      <a:pt x="284" y="527"/>
                    </a:lnTo>
                    <a:lnTo>
                      <a:pt x="281" y="513"/>
                    </a:lnTo>
                    <a:lnTo>
                      <a:pt x="279" y="513"/>
                    </a:lnTo>
                    <a:lnTo>
                      <a:pt x="279" y="511"/>
                    </a:lnTo>
                    <a:lnTo>
                      <a:pt x="279" y="508"/>
                    </a:lnTo>
                    <a:lnTo>
                      <a:pt x="279" y="508"/>
                    </a:lnTo>
                    <a:lnTo>
                      <a:pt x="277" y="504"/>
                    </a:lnTo>
                    <a:lnTo>
                      <a:pt x="277" y="504"/>
                    </a:lnTo>
                    <a:lnTo>
                      <a:pt x="274" y="504"/>
                    </a:lnTo>
                    <a:lnTo>
                      <a:pt x="272" y="501"/>
                    </a:lnTo>
                    <a:lnTo>
                      <a:pt x="270" y="499"/>
                    </a:lnTo>
                    <a:lnTo>
                      <a:pt x="267" y="496"/>
                    </a:lnTo>
                    <a:lnTo>
                      <a:pt x="265" y="494"/>
                    </a:lnTo>
                    <a:lnTo>
                      <a:pt x="265" y="492"/>
                    </a:lnTo>
                    <a:lnTo>
                      <a:pt x="263" y="489"/>
                    </a:lnTo>
                    <a:lnTo>
                      <a:pt x="263" y="489"/>
                    </a:lnTo>
                    <a:lnTo>
                      <a:pt x="258" y="485"/>
                    </a:lnTo>
                    <a:lnTo>
                      <a:pt x="255" y="485"/>
                    </a:lnTo>
                    <a:lnTo>
                      <a:pt x="255" y="482"/>
                    </a:lnTo>
                    <a:lnTo>
                      <a:pt x="255" y="480"/>
                    </a:lnTo>
                    <a:lnTo>
                      <a:pt x="255" y="478"/>
                    </a:lnTo>
                    <a:lnTo>
                      <a:pt x="260" y="475"/>
                    </a:lnTo>
                    <a:lnTo>
                      <a:pt x="260" y="473"/>
                    </a:lnTo>
                    <a:lnTo>
                      <a:pt x="263" y="471"/>
                    </a:lnTo>
                    <a:lnTo>
                      <a:pt x="265" y="468"/>
                    </a:lnTo>
                    <a:lnTo>
                      <a:pt x="265" y="468"/>
                    </a:lnTo>
                    <a:lnTo>
                      <a:pt x="265" y="454"/>
                    </a:lnTo>
                    <a:lnTo>
                      <a:pt x="270" y="445"/>
                    </a:lnTo>
                    <a:lnTo>
                      <a:pt x="270" y="442"/>
                    </a:lnTo>
                    <a:lnTo>
                      <a:pt x="270" y="437"/>
                    </a:lnTo>
                    <a:lnTo>
                      <a:pt x="267" y="435"/>
                    </a:lnTo>
                    <a:lnTo>
                      <a:pt x="265" y="435"/>
                    </a:lnTo>
                    <a:lnTo>
                      <a:pt x="263" y="433"/>
                    </a:lnTo>
                    <a:lnTo>
                      <a:pt x="255" y="430"/>
                    </a:lnTo>
                    <a:lnTo>
                      <a:pt x="255" y="430"/>
                    </a:lnTo>
                    <a:lnTo>
                      <a:pt x="253" y="428"/>
                    </a:lnTo>
                    <a:lnTo>
                      <a:pt x="251" y="428"/>
                    </a:lnTo>
                    <a:lnTo>
                      <a:pt x="241" y="426"/>
                    </a:lnTo>
                    <a:lnTo>
                      <a:pt x="237" y="426"/>
                    </a:lnTo>
                    <a:lnTo>
                      <a:pt x="234" y="426"/>
                    </a:lnTo>
                    <a:lnTo>
                      <a:pt x="227" y="428"/>
                    </a:lnTo>
                    <a:lnTo>
                      <a:pt x="222" y="423"/>
                    </a:lnTo>
                    <a:lnTo>
                      <a:pt x="220" y="421"/>
                    </a:lnTo>
                    <a:lnTo>
                      <a:pt x="218" y="419"/>
                    </a:lnTo>
                    <a:lnTo>
                      <a:pt x="215" y="416"/>
                    </a:lnTo>
                    <a:lnTo>
                      <a:pt x="215" y="414"/>
                    </a:lnTo>
                    <a:lnTo>
                      <a:pt x="213" y="411"/>
                    </a:lnTo>
                    <a:lnTo>
                      <a:pt x="213" y="409"/>
                    </a:lnTo>
                    <a:lnTo>
                      <a:pt x="213" y="407"/>
                    </a:lnTo>
                    <a:lnTo>
                      <a:pt x="211" y="407"/>
                    </a:lnTo>
                    <a:lnTo>
                      <a:pt x="211" y="407"/>
                    </a:lnTo>
                    <a:lnTo>
                      <a:pt x="206" y="407"/>
                    </a:lnTo>
                    <a:lnTo>
                      <a:pt x="199" y="409"/>
                    </a:lnTo>
                    <a:lnTo>
                      <a:pt x="196" y="409"/>
                    </a:lnTo>
                    <a:lnTo>
                      <a:pt x="192" y="407"/>
                    </a:lnTo>
                    <a:lnTo>
                      <a:pt x="185" y="404"/>
                    </a:lnTo>
                    <a:lnTo>
                      <a:pt x="185" y="402"/>
                    </a:lnTo>
                    <a:lnTo>
                      <a:pt x="180" y="397"/>
                    </a:lnTo>
                    <a:lnTo>
                      <a:pt x="180" y="397"/>
                    </a:lnTo>
                    <a:lnTo>
                      <a:pt x="180" y="395"/>
                    </a:lnTo>
                    <a:lnTo>
                      <a:pt x="180" y="390"/>
                    </a:lnTo>
                    <a:lnTo>
                      <a:pt x="178" y="383"/>
                    </a:lnTo>
                    <a:lnTo>
                      <a:pt x="178" y="381"/>
                    </a:lnTo>
                    <a:lnTo>
                      <a:pt x="180" y="376"/>
                    </a:lnTo>
                    <a:lnTo>
                      <a:pt x="180" y="374"/>
                    </a:lnTo>
                    <a:lnTo>
                      <a:pt x="180" y="371"/>
                    </a:lnTo>
                    <a:lnTo>
                      <a:pt x="175" y="371"/>
                    </a:lnTo>
                    <a:lnTo>
                      <a:pt x="168" y="371"/>
                    </a:lnTo>
                    <a:lnTo>
                      <a:pt x="156" y="376"/>
                    </a:lnTo>
                    <a:lnTo>
                      <a:pt x="147" y="378"/>
                    </a:lnTo>
                    <a:lnTo>
                      <a:pt x="144" y="378"/>
                    </a:lnTo>
                    <a:lnTo>
                      <a:pt x="137" y="378"/>
                    </a:lnTo>
                    <a:lnTo>
                      <a:pt x="133" y="378"/>
                    </a:lnTo>
                    <a:lnTo>
                      <a:pt x="126" y="376"/>
                    </a:lnTo>
                    <a:lnTo>
                      <a:pt x="121" y="374"/>
                    </a:lnTo>
                    <a:lnTo>
                      <a:pt x="118" y="374"/>
                    </a:lnTo>
                    <a:lnTo>
                      <a:pt x="109" y="369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4" y="367"/>
                    </a:lnTo>
                    <a:lnTo>
                      <a:pt x="104" y="367"/>
                    </a:lnTo>
                    <a:lnTo>
                      <a:pt x="102" y="369"/>
                    </a:lnTo>
                    <a:lnTo>
                      <a:pt x="102" y="369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7"/>
                    </a:lnTo>
                    <a:lnTo>
                      <a:pt x="100" y="367"/>
                    </a:lnTo>
                    <a:lnTo>
                      <a:pt x="100" y="364"/>
                    </a:lnTo>
                    <a:lnTo>
                      <a:pt x="97" y="364"/>
                    </a:lnTo>
                    <a:lnTo>
                      <a:pt x="97" y="364"/>
                    </a:lnTo>
                    <a:lnTo>
                      <a:pt x="97" y="362"/>
                    </a:lnTo>
                    <a:lnTo>
                      <a:pt x="97" y="359"/>
                    </a:lnTo>
                    <a:lnTo>
                      <a:pt x="97" y="357"/>
                    </a:lnTo>
                    <a:lnTo>
                      <a:pt x="100" y="357"/>
                    </a:lnTo>
                    <a:lnTo>
                      <a:pt x="100" y="355"/>
                    </a:lnTo>
                    <a:lnTo>
                      <a:pt x="100" y="352"/>
                    </a:lnTo>
                    <a:lnTo>
                      <a:pt x="100" y="355"/>
                    </a:lnTo>
                    <a:lnTo>
                      <a:pt x="100" y="355"/>
                    </a:lnTo>
                    <a:lnTo>
                      <a:pt x="100" y="352"/>
                    </a:lnTo>
                    <a:lnTo>
                      <a:pt x="104" y="350"/>
                    </a:lnTo>
                    <a:lnTo>
                      <a:pt x="104" y="348"/>
                    </a:lnTo>
                    <a:lnTo>
                      <a:pt x="104" y="348"/>
                    </a:lnTo>
                    <a:lnTo>
                      <a:pt x="107" y="345"/>
                    </a:lnTo>
                    <a:lnTo>
                      <a:pt x="107" y="343"/>
                    </a:lnTo>
                    <a:lnTo>
                      <a:pt x="104" y="341"/>
                    </a:lnTo>
                    <a:lnTo>
                      <a:pt x="107" y="341"/>
                    </a:lnTo>
                    <a:lnTo>
                      <a:pt x="107" y="341"/>
                    </a:lnTo>
                    <a:lnTo>
                      <a:pt x="104" y="338"/>
                    </a:lnTo>
                    <a:lnTo>
                      <a:pt x="104" y="338"/>
                    </a:lnTo>
                    <a:lnTo>
                      <a:pt x="107" y="336"/>
                    </a:lnTo>
                    <a:lnTo>
                      <a:pt x="107" y="336"/>
                    </a:lnTo>
                    <a:lnTo>
                      <a:pt x="107" y="333"/>
                    </a:lnTo>
                    <a:lnTo>
                      <a:pt x="104" y="333"/>
                    </a:lnTo>
                    <a:lnTo>
                      <a:pt x="104" y="331"/>
                    </a:lnTo>
                    <a:lnTo>
                      <a:pt x="104" y="329"/>
                    </a:lnTo>
                    <a:lnTo>
                      <a:pt x="104" y="329"/>
                    </a:lnTo>
                    <a:lnTo>
                      <a:pt x="104" y="329"/>
                    </a:lnTo>
                    <a:lnTo>
                      <a:pt x="104" y="329"/>
                    </a:lnTo>
                    <a:lnTo>
                      <a:pt x="104" y="326"/>
                    </a:lnTo>
                    <a:lnTo>
                      <a:pt x="102" y="324"/>
                    </a:lnTo>
                    <a:lnTo>
                      <a:pt x="102" y="324"/>
                    </a:lnTo>
                    <a:lnTo>
                      <a:pt x="104" y="324"/>
                    </a:lnTo>
                    <a:lnTo>
                      <a:pt x="102" y="322"/>
                    </a:lnTo>
                    <a:lnTo>
                      <a:pt x="97" y="319"/>
                    </a:lnTo>
                    <a:lnTo>
                      <a:pt x="97" y="319"/>
                    </a:lnTo>
                    <a:lnTo>
                      <a:pt x="95" y="315"/>
                    </a:lnTo>
                    <a:lnTo>
                      <a:pt x="95" y="308"/>
                    </a:lnTo>
                    <a:lnTo>
                      <a:pt x="90" y="305"/>
                    </a:lnTo>
                    <a:lnTo>
                      <a:pt x="90" y="303"/>
                    </a:lnTo>
                    <a:lnTo>
                      <a:pt x="88" y="300"/>
                    </a:lnTo>
                    <a:lnTo>
                      <a:pt x="88" y="298"/>
                    </a:lnTo>
                    <a:lnTo>
                      <a:pt x="83" y="293"/>
                    </a:lnTo>
                    <a:lnTo>
                      <a:pt x="81" y="291"/>
                    </a:lnTo>
                    <a:lnTo>
                      <a:pt x="76" y="286"/>
                    </a:lnTo>
                    <a:lnTo>
                      <a:pt x="74" y="284"/>
                    </a:lnTo>
                    <a:lnTo>
                      <a:pt x="74" y="282"/>
                    </a:lnTo>
                    <a:lnTo>
                      <a:pt x="76" y="279"/>
                    </a:lnTo>
                    <a:lnTo>
                      <a:pt x="78" y="277"/>
                    </a:lnTo>
                    <a:lnTo>
                      <a:pt x="78" y="274"/>
                    </a:lnTo>
                    <a:lnTo>
                      <a:pt x="78" y="270"/>
                    </a:lnTo>
                    <a:lnTo>
                      <a:pt x="78" y="267"/>
                    </a:lnTo>
                    <a:lnTo>
                      <a:pt x="74" y="258"/>
                    </a:lnTo>
                    <a:lnTo>
                      <a:pt x="74" y="248"/>
                    </a:lnTo>
                    <a:lnTo>
                      <a:pt x="71" y="246"/>
                    </a:lnTo>
                    <a:lnTo>
                      <a:pt x="71" y="246"/>
                    </a:lnTo>
                    <a:lnTo>
                      <a:pt x="71" y="241"/>
                    </a:lnTo>
                    <a:lnTo>
                      <a:pt x="74" y="241"/>
                    </a:lnTo>
                    <a:lnTo>
                      <a:pt x="78" y="237"/>
                    </a:lnTo>
                    <a:lnTo>
                      <a:pt x="81" y="234"/>
                    </a:lnTo>
                    <a:lnTo>
                      <a:pt x="81" y="234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Freeform 38"/>
              <p:cNvSpPr>
                <a:spLocks/>
              </p:cNvSpPr>
              <p:nvPr/>
            </p:nvSpPr>
            <p:spPr bwMode="auto">
              <a:xfrm>
                <a:off x="9628556" y="2554281"/>
                <a:ext cx="680053" cy="1151840"/>
              </a:xfrm>
              <a:custGeom>
                <a:avLst/>
                <a:gdLst/>
                <a:ahLst/>
                <a:cxnLst>
                  <a:cxn ang="0">
                    <a:pos x="14" y="739"/>
                  </a:cxn>
                  <a:cxn ang="0">
                    <a:pos x="40" y="673"/>
                  </a:cxn>
                  <a:cxn ang="0">
                    <a:pos x="78" y="579"/>
                  </a:cxn>
                  <a:cxn ang="0">
                    <a:pos x="121" y="496"/>
                  </a:cxn>
                  <a:cxn ang="0">
                    <a:pos x="196" y="388"/>
                  </a:cxn>
                  <a:cxn ang="0">
                    <a:pos x="175" y="302"/>
                  </a:cxn>
                  <a:cxn ang="0">
                    <a:pos x="232" y="206"/>
                  </a:cxn>
                  <a:cxn ang="0">
                    <a:pos x="300" y="151"/>
                  </a:cxn>
                  <a:cxn ang="0">
                    <a:pos x="314" y="90"/>
                  </a:cxn>
                  <a:cxn ang="0">
                    <a:pos x="305" y="36"/>
                  </a:cxn>
                  <a:cxn ang="0">
                    <a:pos x="260" y="19"/>
                  </a:cxn>
                  <a:cxn ang="0">
                    <a:pos x="357" y="10"/>
                  </a:cxn>
                  <a:cxn ang="0">
                    <a:pos x="421" y="114"/>
                  </a:cxn>
                  <a:cxn ang="0">
                    <a:pos x="409" y="217"/>
                  </a:cxn>
                  <a:cxn ang="0">
                    <a:pos x="411" y="276"/>
                  </a:cxn>
                  <a:cxn ang="0">
                    <a:pos x="425" y="319"/>
                  </a:cxn>
                  <a:cxn ang="0">
                    <a:pos x="440" y="336"/>
                  </a:cxn>
                  <a:cxn ang="0">
                    <a:pos x="459" y="359"/>
                  </a:cxn>
                  <a:cxn ang="0">
                    <a:pos x="482" y="369"/>
                  </a:cxn>
                  <a:cxn ang="0">
                    <a:pos x="508" y="359"/>
                  </a:cxn>
                  <a:cxn ang="0">
                    <a:pos x="536" y="390"/>
                  </a:cxn>
                  <a:cxn ang="0">
                    <a:pos x="501" y="423"/>
                  </a:cxn>
                  <a:cxn ang="0">
                    <a:pos x="487" y="444"/>
                  </a:cxn>
                  <a:cxn ang="0">
                    <a:pos x="482" y="463"/>
                  </a:cxn>
                  <a:cxn ang="0">
                    <a:pos x="473" y="494"/>
                  </a:cxn>
                  <a:cxn ang="0">
                    <a:pos x="482" y="508"/>
                  </a:cxn>
                  <a:cxn ang="0">
                    <a:pos x="494" y="536"/>
                  </a:cxn>
                  <a:cxn ang="0">
                    <a:pos x="529" y="567"/>
                  </a:cxn>
                  <a:cxn ang="0">
                    <a:pos x="541" y="619"/>
                  </a:cxn>
                  <a:cxn ang="0">
                    <a:pos x="607" y="664"/>
                  </a:cxn>
                  <a:cxn ang="0">
                    <a:pos x="617" y="690"/>
                  </a:cxn>
                  <a:cxn ang="0">
                    <a:pos x="572" y="737"/>
                  </a:cxn>
                  <a:cxn ang="0">
                    <a:pos x="532" y="810"/>
                  </a:cxn>
                  <a:cxn ang="0">
                    <a:pos x="581" y="841"/>
                  </a:cxn>
                  <a:cxn ang="0">
                    <a:pos x="558" y="865"/>
                  </a:cxn>
                  <a:cxn ang="0">
                    <a:pos x="555" y="891"/>
                  </a:cxn>
                  <a:cxn ang="0">
                    <a:pos x="560" y="931"/>
                  </a:cxn>
                  <a:cxn ang="0">
                    <a:pos x="572" y="962"/>
                  </a:cxn>
                  <a:cxn ang="0">
                    <a:pos x="565" y="1011"/>
                  </a:cxn>
                  <a:cxn ang="0">
                    <a:pos x="555" y="1013"/>
                  </a:cxn>
                  <a:cxn ang="0">
                    <a:pos x="494" y="1030"/>
                  </a:cxn>
                  <a:cxn ang="0">
                    <a:pos x="463" y="1047"/>
                  </a:cxn>
                  <a:cxn ang="0">
                    <a:pos x="437" y="1056"/>
                  </a:cxn>
                  <a:cxn ang="0">
                    <a:pos x="399" y="1039"/>
                  </a:cxn>
                  <a:cxn ang="0">
                    <a:pos x="392" y="1068"/>
                  </a:cxn>
                  <a:cxn ang="0">
                    <a:pos x="352" y="1065"/>
                  </a:cxn>
                  <a:cxn ang="0">
                    <a:pos x="329" y="1063"/>
                  </a:cxn>
                  <a:cxn ang="0">
                    <a:pos x="314" y="1049"/>
                  </a:cxn>
                  <a:cxn ang="0">
                    <a:pos x="296" y="1058"/>
                  </a:cxn>
                  <a:cxn ang="0">
                    <a:pos x="281" y="1044"/>
                  </a:cxn>
                  <a:cxn ang="0">
                    <a:pos x="274" y="1039"/>
                  </a:cxn>
                  <a:cxn ang="0">
                    <a:pos x="253" y="1013"/>
                  </a:cxn>
                  <a:cxn ang="0">
                    <a:pos x="218" y="1011"/>
                  </a:cxn>
                  <a:cxn ang="0">
                    <a:pos x="187" y="1016"/>
                  </a:cxn>
                  <a:cxn ang="0">
                    <a:pos x="90" y="1013"/>
                  </a:cxn>
                  <a:cxn ang="0">
                    <a:pos x="57" y="1002"/>
                  </a:cxn>
                  <a:cxn ang="0">
                    <a:pos x="64" y="973"/>
                  </a:cxn>
                  <a:cxn ang="0">
                    <a:pos x="69" y="947"/>
                  </a:cxn>
                  <a:cxn ang="0">
                    <a:pos x="45" y="969"/>
                  </a:cxn>
                  <a:cxn ang="0">
                    <a:pos x="33" y="999"/>
                  </a:cxn>
                  <a:cxn ang="0">
                    <a:pos x="5" y="969"/>
                  </a:cxn>
                  <a:cxn ang="0">
                    <a:pos x="7" y="898"/>
                  </a:cxn>
                  <a:cxn ang="0">
                    <a:pos x="7" y="839"/>
                  </a:cxn>
                </a:cxnLst>
                <a:rect l="0" t="0" r="r" b="b"/>
                <a:pathLst>
                  <a:path w="640" h="1084">
                    <a:moveTo>
                      <a:pt x="0" y="820"/>
                    </a:moveTo>
                    <a:lnTo>
                      <a:pt x="3" y="815"/>
                    </a:lnTo>
                    <a:lnTo>
                      <a:pt x="3" y="813"/>
                    </a:lnTo>
                    <a:lnTo>
                      <a:pt x="3" y="808"/>
                    </a:lnTo>
                    <a:lnTo>
                      <a:pt x="5" y="806"/>
                    </a:lnTo>
                    <a:lnTo>
                      <a:pt x="5" y="803"/>
                    </a:lnTo>
                    <a:lnTo>
                      <a:pt x="5" y="803"/>
                    </a:lnTo>
                    <a:lnTo>
                      <a:pt x="5" y="801"/>
                    </a:lnTo>
                    <a:lnTo>
                      <a:pt x="7" y="801"/>
                    </a:lnTo>
                    <a:lnTo>
                      <a:pt x="10" y="799"/>
                    </a:lnTo>
                    <a:lnTo>
                      <a:pt x="10" y="794"/>
                    </a:lnTo>
                    <a:lnTo>
                      <a:pt x="12" y="791"/>
                    </a:lnTo>
                    <a:lnTo>
                      <a:pt x="10" y="787"/>
                    </a:lnTo>
                    <a:lnTo>
                      <a:pt x="10" y="787"/>
                    </a:lnTo>
                    <a:lnTo>
                      <a:pt x="10" y="782"/>
                    </a:lnTo>
                    <a:lnTo>
                      <a:pt x="10" y="780"/>
                    </a:lnTo>
                    <a:lnTo>
                      <a:pt x="10" y="777"/>
                    </a:lnTo>
                    <a:lnTo>
                      <a:pt x="12" y="777"/>
                    </a:lnTo>
                    <a:lnTo>
                      <a:pt x="12" y="775"/>
                    </a:lnTo>
                    <a:lnTo>
                      <a:pt x="14" y="773"/>
                    </a:lnTo>
                    <a:lnTo>
                      <a:pt x="14" y="773"/>
                    </a:lnTo>
                    <a:lnTo>
                      <a:pt x="17" y="770"/>
                    </a:lnTo>
                    <a:lnTo>
                      <a:pt x="17" y="768"/>
                    </a:lnTo>
                    <a:lnTo>
                      <a:pt x="14" y="765"/>
                    </a:lnTo>
                    <a:lnTo>
                      <a:pt x="14" y="763"/>
                    </a:lnTo>
                    <a:lnTo>
                      <a:pt x="14" y="758"/>
                    </a:lnTo>
                    <a:lnTo>
                      <a:pt x="14" y="758"/>
                    </a:lnTo>
                    <a:lnTo>
                      <a:pt x="14" y="754"/>
                    </a:lnTo>
                    <a:lnTo>
                      <a:pt x="14" y="751"/>
                    </a:lnTo>
                    <a:lnTo>
                      <a:pt x="19" y="749"/>
                    </a:lnTo>
                    <a:lnTo>
                      <a:pt x="19" y="747"/>
                    </a:lnTo>
                    <a:lnTo>
                      <a:pt x="17" y="744"/>
                    </a:lnTo>
                    <a:lnTo>
                      <a:pt x="14" y="744"/>
                    </a:lnTo>
                    <a:lnTo>
                      <a:pt x="14" y="739"/>
                    </a:lnTo>
                    <a:lnTo>
                      <a:pt x="14" y="739"/>
                    </a:lnTo>
                    <a:lnTo>
                      <a:pt x="17" y="737"/>
                    </a:lnTo>
                    <a:lnTo>
                      <a:pt x="17" y="737"/>
                    </a:lnTo>
                    <a:lnTo>
                      <a:pt x="17" y="737"/>
                    </a:lnTo>
                    <a:lnTo>
                      <a:pt x="19" y="737"/>
                    </a:lnTo>
                    <a:lnTo>
                      <a:pt x="19" y="735"/>
                    </a:lnTo>
                    <a:lnTo>
                      <a:pt x="19" y="735"/>
                    </a:lnTo>
                    <a:lnTo>
                      <a:pt x="21" y="730"/>
                    </a:lnTo>
                    <a:lnTo>
                      <a:pt x="21" y="728"/>
                    </a:lnTo>
                    <a:lnTo>
                      <a:pt x="21" y="725"/>
                    </a:lnTo>
                    <a:lnTo>
                      <a:pt x="19" y="723"/>
                    </a:lnTo>
                    <a:lnTo>
                      <a:pt x="19" y="721"/>
                    </a:lnTo>
                    <a:lnTo>
                      <a:pt x="17" y="718"/>
                    </a:lnTo>
                    <a:lnTo>
                      <a:pt x="17" y="718"/>
                    </a:lnTo>
                    <a:lnTo>
                      <a:pt x="19" y="713"/>
                    </a:lnTo>
                    <a:lnTo>
                      <a:pt x="21" y="711"/>
                    </a:lnTo>
                    <a:lnTo>
                      <a:pt x="21" y="711"/>
                    </a:lnTo>
                    <a:lnTo>
                      <a:pt x="24" y="711"/>
                    </a:lnTo>
                    <a:lnTo>
                      <a:pt x="24" y="711"/>
                    </a:lnTo>
                    <a:lnTo>
                      <a:pt x="26" y="709"/>
                    </a:lnTo>
                    <a:lnTo>
                      <a:pt x="26" y="706"/>
                    </a:lnTo>
                    <a:lnTo>
                      <a:pt x="29" y="704"/>
                    </a:lnTo>
                    <a:lnTo>
                      <a:pt x="29" y="702"/>
                    </a:lnTo>
                    <a:lnTo>
                      <a:pt x="29" y="699"/>
                    </a:lnTo>
                    <a:lnTo>
                      <a:pt x="29" y="697"/>
                    </a:lnTo>
                    <a:lnTo>
                      <a:pt x="31" y="695"/>
                    </a:lnTo>
                    <a:lnTo>
                      <a:pt x="31" y="695"/>
                    </a:lnTo>
                    <a:lnTo>
                      <a:pt x="33" y="695"/>
                    </a:lnTo>
                    <a:lnTo>
                      <a:pt x="31" y="692"/>
                    </a:lnTo>
                    <a:lnTo>
                      <a:pt x="33" y="683"/>
                    </a:lnTo>
                    <a:lnTo>
                      <a:pt x="38" y="683"/>
                    </a:lnTo>
                    <a:lnTo>
                      <a:pt x="38" y="680"/>
                    </a:lnTo>
                    <a:lnTo>
                      <a:pt x="40" y="678"/>
                    </a:lnTo>
                    <a:lnTo>
                      <a:pt x="40" y="678"/>
                    </a:lnTo>
                    <a:lnTo>
                      <a:pt x="40" y="676"/>
                    </a:lnTo>
                    <a:lnTo>
                      <a:pt x="40" y="673"/>
                    </a:lnTo>
                    <a:lnTo>
                      <a:pt x="43" y="669"/>
                    </a:lnTo>
                    <a:lnTo>
                      <a:pt x="43" y="664"/>
                    </a:lnTo>
                    <a:lnTo>
                      <a:pt x="45" y="659"/>
                    </a:lnTo>
                    <a:lnTo>
                      <a:pt x="45" y="654"/>
                    </a:lnTo>
                    <a:lnTo>
                      <a:pt x="43" y="654"/>
                    </a:lnTo>
                    <a:lnTo>
                      <a:pt x="43" y="652"/>
                    </a:lnTo>
                    <a:lnTo>
                      <a:pt x="45" y="647"/>
                    </a:lnTo>
                    <a:lnTo>
                      <a:pt x="47" y="645"/>
                    </a:lnTo>
                    <a:lnTo>
                      <a:pt x="47" y="643"/>
                    </a:lnTo>
                    <a:lnTo>
                      <a:pt x="50" y="640"/>
                    </a:lnTo>
                    <a:lnTo>
                      <a:pt x="50" y="638"/>
                    </a:lnTo>
                    <a:lnTo>
                      <a:pt x="55" y="638"/>
                    </a:lnTo>
                    <a:lnTo>
                      <a:pt x="57" y="636"/>
                    </a:lnTo>
                    <a:lnTo>
                      <a:pt x="57" y="633"/>
                    </a:lnTo>
                    <a:lnTo>
                      <a:pt x="57" y="628"/>
                    </a:lnTo>
                    <a:lnTo>
                      <a:pt x="59" y="626"/>
                    </a:lnTo>
                    <a:lnTo>
                      <a:pt x="59" y="626"/>
                    </a:lnTo>
                    <a:lnTo>
                      <a:pt x="59" y="621"/>
                    </a:lnTo>
                    <a:lnTo>
                      <a:pt x="59" y="619"/>
                    </a:lnTo>
                    <a:lnTo>
                      <a:pt x="62" y="614"/>
                    </a:lnTo>
                    <a:lnTo>
                      <a:pt x="66" y="612"/>
                    </a:lnTo>
                    <a:lnTo>
                      <a:pt x="66" y="610"/>
                    </a:lnTo>
                    <a:lnTo>
                      <a:pt x="66" y="610"/>
                    </a:lnTo>
                    <a:lnTo>
                      <a:pt x="66" y="610"/>
                    </a:lnTo>
                    <a:lnTo>
                      <a:pt x="66" y="607"/>
                    </a:lnTo>
                    <a:lnTo>
                      <a:pt x="69" y="602"/>
                    </a:lnTo>
                    <a:lnTo>
                      <a:pt x="69" y="600"/>
                    </a:lnTo>
                    <a:lnTo>
                      <a:pt x="73" y="593"/>
                    </a:lnTo>
                    <a:lnTo>
                      <a:pt x="73" y="591"/>
                    </a:lnTo>
                    <a:lnTo>
                      <a:pt x="76" y="591"/>
                    </a:lnTo>
                    <a:lnTo>
                      <a:pt x="76" y="588"/>
                    </a:lnTo>
                    <a:lnTo>
                      <a:pt x="76" y="586"/>
                    </a:lnTo>
                    <a:lnTo>
                      <a:pt x="76" y="581"/>
                    </a:lnTo>
                    <a:lnTo>
                      <a:pt x="78" y="581"/>
                    </a:lnTo>
                    <a:lnTo>
                      <a:pt x="78" y="579"/>
                    </a:lnTo>
                    <a:lnTo>
                      <a:pt x="81" y="579"/>
                    </a:lnTo>
                    <a:lnTo>
                      <a:pt x="81" y="574"/>
                    </a:lnTo>
                    <a:lnTo>
                      <a:pt x="81" y="574"/>
                    </a:lnTo>
                    <a:lnTo>
                      <a:pt x="83" y="572"/>
                    </a:lnTo>
                    <a:lnTo>
                      <a:pt x="81" y="569"/>
                    </a:lnTo>
                    <a:lnTo>
                      <a:pt x="81" y="567"/>
                    </a:lnTo>
                    <a:lnTo>
                      <a:pt x="81" y="565"/>
                    </a:lnTo>
                    <a:lnTo>
                      <a:pt x="81" y="565"/>
                    </a:lnTo>
                    <a:lnTo>
                      <a:pt x="81" y="565"/>
                    </a:lnTo>
                    <a:lnTo>
                      <a:pt x="81" y="562"/>
                    </a:lnTo>
                    <a:lnTo>
                      <a:pt x="83" y="555"/>
                    </a:lnTo>
                    <a:lnTo>
                      <a:pt x="85" y="553"/>
                    </a:lnTo>
                    <a:lnTo>
                      <a:pt x="88" y="548"/>
                    </a:lnTo>
                    <a:lnTo>
                      <a:pt x="88" y="548"/>
                    </a:lnTo>
                    <a:lnTo>
                      <a:pt x="88" y="546"/>
                    </a:lnTo>
                    <a:lnTo>
                      <a:pt x="88" y="543"/>
                    </a:lnTo>
                    <a:lnTo>
                      <a:pt x="88" y="541"/>
                    </a:lnTo>
                    <a:lnTo>
                      <a:pt x="88" y="539"/>
                    </a:lnTo>
                    <a:lnTo>
                      <a:pt x="90" y="539"/>
                    </a:lnTo>
                    <a:lnTo>
                      <a:pt x="90" y="536"/>
                    </a:lnTo>
                    <a:lnTo>
                      <a:pt x="95" y="536"/>
                    </a:lnTo>
                    <a:lnTo>
                      <a:pt x="95" y="529"/>
                    </a:lnTo>
                    <a:lnTo>
                      <a:pt x="97" y="529"/>
                    </a:lnTo>
                    <a:lnTo>
                      <a:pt x="102" y="527"/>
                    </a:lnTo>
                    <a:lnTo>
                      <a:pt x="107" y="522"/>
                    </a:lnTo>
                    <a:lnTo>
                      <a:pt x="107" y="522"/>
                    </a:lnTo>
                    <a:lnTo>
                      <a:pt x="107" y="520"/>
                    </a:lnTo>
                    <a:lnTo>
                      <a:pt x="107" y="520"/>
                    </a:lnTo>
                    <a:lnTo>
                      <a:pt x="111" y="515"/>
                    </a:lnTo>
                    <a:lnTo>
                      <a:pt x="111" y="510"/>
                    </a:lnTo>
                    <a:lnTo>
                      <a:pt x="114" y="508"/>
                    </a:lnTo>
                    <a:lnTo>
                      <a:pt x="114" y="506"/>
                    </a:lnTo>
                    <a:lnTo>
                      <a:pt x="114" y="503"/>
                    </a:lnTo>
                    <a:lnTo>
                      <a:pt x="121" y="499"/>
                    </a:lnTo>
                    <a:lnTo>
                      <a:pt x="121" y="496"/>
                    </a:lnTo>
                    <a:lnTo>
                      <a:pt x="123" y="491"/>
                    </a:lnTo>
                    <a:lnTo>
                      <a:pt x="125" y="489"/>
                    </a:lnTo>
                    <a:lnTo>
                      <a:pt x="125" y="487"/>
                    </a:lnTo>
                    <a:lnTo>
                      <a:pt x="128" y="487"/>
                    </a:lnTo>
                    <a:lnTo>
                      <a:pt x="135" y="482"/>
                    </a:lnTo>
                    <a:lnTo>
                      <a:pt x="140" y="480"/>
                    </a:lnTo>
                    <a:lnTo>
                      <a:pt x="142" y="480"/>
                    </a:lnTo>
                    <a:lnTo>
                      <a:pt x="144" y="480"/>
                    </a:lnTo>
                    <a:lnTo>
                      <a:pt x="147" y="477"/>
                    </a:lnTo>
                    <a:lnTo>
                      <a:pt x="149" y="473"/>
                    </a:lnTo>
                    <a:lnTo>
                      <a:pt x="151" y="468"/>
                    </a:lnTo>
                    <a:lnTo>
                      <a:pt x="159" y="461"/>
                    </a:lnTo>
                    <a:lnTo>
                      <a:pt x="161" y="456"/>
                    </a:lnTo>
                    <a:lnTo>
                      <a:pt x="161" y="454"/>
                    </a:lnTo>
                    <a:lnTo>
                      <a:pt x="163" y="451"/>
                    </a:lnTo>
                    <a:lnTo>
                      <a:pt x="163" y="449"/>
                    </a:lnTo>
                    <a:lnTo>
                      <a:pt x="168" y="444"/>
                    </a:lnTo>
                    <a:lnTo>
                      <a:pt x="170" y="442"/>
                    </a:lnTo>
                    <a:lnTo>
                      <a:pt x="170" y="442"/>
                    </a:lnTo>
                    <a:lnTo>
                      <a:pt x="170" y="432"/>
                    </a:lnTo>
                    <a:lnTo>
                      <a:pt x="173" y="432"/>
                    </a:lnTo>
                    <a:lnTo>
                      <a:pt x="173" y="428"/>
                    </a:lnTo>
                    <a:lnTo>
                      <a:pt x="177" y="423"/>
                    </a:lnTo>
                    <a:lnTo>
                      <a:pt x="177" y="423"/>
                    </a:lnTo>
                    <a:lnTo>
                      <a:pt x="180" y="423"/>
                    </a:lnTo>
                    <a:lnTo>
                      <a:pt x="184" y="421"/>
                    </a:lnTo>
                    <a:lnTo>
                      <a:pt x="184" y="418"/>
                    </a:lnTo>
                    <a:lnTo>
                      <a:pt x="187" y="414"/>
                    </a:lnTo>
                    <a:lnTo>
                      <a:pt x="187" y="411"/>
                    </a:lnTo>
                    <a:lnTo>
                      <a:pt x="189" y="404"/>
                    </a:lnTo>
                    <a:lnTo>
                      <a:pt x="192" y="399"/>
                    </a:lnTo>
                    <a:lnTo>
                      <a:pt x="194" y="397"/>
                    </a:lnTo>
                    <a:lnTo>
                      <a:pt x="194" y="395"/>
                    </a:lnTo>
                    <a:lnTo>
                      <a:pt x="194" y="392"/>
                    </a:lnTo>
                    <a:lnTo>
                      <a:pt x="196" y="388"/>
                    </a:lnTo>
                    <a:lnTo>
                      <a:pt x="194" y="385"/>
                    </a:lnTo>
                    <a:lnTo>
                      <a:pt x="196" y="383"/>
                    </a:lnTo>
                    <a:lnTo>
                      <a:pt x="196" y="380"/>
                    </a:lnTo>
                    <a:lnTo>
                      <a:pt x="196" y="380"/>
                    </a:lnTo>
                    <a:lnTo>
                      <a:pt x="196" y="378"/>
                    </a:lnTo>
                    <a:lnTo>
                      <a:pt x="199" y="378"/>
                    </a:lnTo>
                    <a:lnTo>
                      <a:pt x="199" y="376"/>
                    </a:lnTo>
                    <a:lnTo>
                      <a:pt x="199" y="371"/>
                    </a:lnTo>
                    <a:lnTo>
                      <a:pt x="199" y="371"/>
                    </a:lnTo>
                    <a:lnTo>
                      <a:pt x="199" y="366"/>
                    </a:lnTo>
                    <a:lnTo>
                      <a:pt x="199" y="364"/>
                    </a:lnTo>
                    <a:lnTo>
                      <a:pt x="199" y="359"/>
                    </a:lnTo>
                    <a:lnTo>
                      <a:pt x="201" y="357"/>
                    </a:lnTo>
                    <a:lnTo>
                      <a:pt x="199" y="350"/>
                    </a:lnTo>
                    <a:lnTo>
                      <a:pt x="199" y="350"/>
                    </a:lnTo>
                    <a:lnTo>
                      <a:pt x="199" y="347"/>
                    </a:lnTo>
                    <a:lnTo>
                      <a:pt x="201" y="345"/>
                    </a:lnTo>
                    <a:lnTo>
                      <a:pt x="201" y="345"/>
                    </a:lnTo>
                    <a:lnTo>
                      <a:pt x="201" y="343"/>
                    </a:lnTo>
                    <a:lnTo>
                      <a:pt x="201" y="343"/>
                    </a:lnTo>
                    <a:lnTo>
                      <a:pt x="199" y="340"/>
                    </a:lnTo>
                    <a:lnTo>
                      <a:pt x="196" y="340"/>
                    </a:lnTo>
                    <a:lnTo>
                      <a:pt x="194" y="338"/>
                    </a:lnTo>
                    <a:lnTo>
                      <a:pt x="189" y="336"/>
                    </a:lnTo>
                    <a:lnTo>
                      <a:pt x="187" y="333"/>
                    </a:lnTo>
                    <a:lnTo>
                      <a:pt x="184" y="331"/>
                    </a:lnTo>
                    <a:lnTo>
                      <a:pt x="180" y="328"/>
                    </a:lnTo>
                    <a:lnTo>
                      <a:pt x="177" y="326"/>
                    </a:lnTo>
                    <a:lnTo>
                      <a:pt x="177" y="324"/>
                    </a:lnTo>
                    <a:lnTo>
                      <a:pt x="175" y="319"/>
                    </a:lnTo>
                    <a:lnTo>
                      <a:pt x="175" y="317"/>
                    </a:lnTo>
                    <a:lnTo>
                      <a:pt x="173" y="312"/>
                    </a:lnTo>
                    <a:lnTo>
                      <a:pt x="173" y="310"/>
                    </a:lnTo>
                    <a:lnTo>
                      <a:pt x="173" y="302"/>
                    </a:lnTo>
                    <a:lnTo>
                      <a:pt x="175" y="302"/>
                    </a:lnTo>
                    <a:lnTo>
                      <a:pt x="177" y="298"/>
                    </a:lnTo>
                    <a:lnTo>
                      <a:pt x="180" y="295"/>
                    </a:lnTo>
                    <a:lnTo>
                      <a:pt x="184" y="288"/>
                    </a:lnTo>
                    <a:lnTo>
                      <a:pt x="187" y="288"/>
                    </a:lnTo>
                    <a:lnTo>
                      <a:pt x="187" y="286"/>
                    </a:lnTo>
                    <a:lnTo>
                      <a:pt x="189" y="284"/>
                    </a:lnTo>
                    <a:lnTo>
                      <a:pt x="192" y="281"/>
                    </a:lnTo>
                    <a:lnTo>
                      <a:pt x="194" y="276"/>
                    </a:lnTo>
                    <a:lnTo>
                      <a:pt x="194" y="274"/>
                    </a:lnTo>
                    <a:lnTo>
                      <a:pt x="196" y="269"/>
                    </a:lnTo>
                    <a:lnTo>
                      <a:pt x="199" y="267"/>
                    </a:lnTo>
                    <a:lnTo>
                      <a:pt x="196" y="262"/>
                    </a:lnTo>
                    <a:lnTo>
                      <a:pt x="196" y="255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3"/>
                    </a:lnTo>
                    <a:lnTo>
                      <a:pt x="196" y="241"/>
                    </a:lnTo>
                    <a:lnTo>
                      <a:pt x="194" y="236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4" y="232"/>
                    </a:lnTo>
                    <a:lnTo>
                      <a:pt x="194" y="229"/>
                    </a:lnTo>
                    <a:lnTo>
                      <a:pt x="196" y="227"/>
                    </a:lnTo>
                    <a:lnTo>
                      <a:pt x="199" y="225"/>
                    </a:lnTo>
                    <a:lnTo>
                      <a:pt x="199" y="225"/>
                    </a:lnTo>
                    <a:lnTo>
                      <a:pt x="201" y="225"/>
                    </a:lnTo>
                    <a:lnTo>
                      <a:pt x="206" y="222"/>
                    </a:lnTo>
                    <a:lnTo>
                      <a:pt x="210" y="217"/>
                    </a:lnTo>
                    <a:lnTo>
                      <a:pt x="215" y="215"/>
                    </a:lnTo>
                    <a:lnTo>
                      <a:pt x="218" y="213"/>
                    </a:lnTo>
                    <a:lnTo>
                      <a:pt x="218" y="210"/>
                    </a:lnTo>
                    <a:lnTo>
                      <a:pt x="225" y="210"/>
                    </a:lnTo>
                    <a:lnTo>
                      <a:pt x="227" y="208"/>
                    </a:lnTo>
                    <a:lnTo>
                      <a:pt x="229" y="208"/>
                    </a:lnTo>
                    <a:lnTo>
                      <a:pt x="232" y="206"/>
                    </a:lnTo>
                    <a:lnTo>
                      <a:pt x="236" y="206"/>
                    </a:lnTo>
                    <a:lnTo>
                      <a:pt x="241" y="206"/>
                    </a:lnTo>
                    <a:lnTo>
                      <a:pt x="241" y="206"/>
                    </a:lnTo>
                    <a:lnTo>
                      <a:pt x="244" y="206"/>
                    </a:lnTo>
                    <a:lnTo>
                      <a:pt x="244" y="206"/>
                    </a:lnTo>
                    <a:lnTo>
                      <a:pt x="248" y="203"/>
                    </a:lnTo>
                    <a:lnTo>
                      <a:pt x="251" y="203"/>
                    </a:lnTo>
                    <a:lnTo>
                      <a:pt x="251" y="203"/>
                    </a:lnTo>
                    <a:lnTo>
                      <a:pt x="253" y="199"/>
                    </a:lnTo>
                    <a:lnTo>
                      <a:pt x="260" y="196"/>
                    </a:lnTo>
                    <a:lnTo>
                      <a:pt x="262" y="194"/>
                    </a:lnTo>
                    <a:lnTo>
                      <a:pt x="265" y="194"/>
                    </a:lnTo>
                    <a:lnTo>
                      <a:pt x="265" y="191"/>
                    </a:lnTo>
                    <a:lnTo>
                      <a:pt x="265" y="187"/>
                    </a:lnTo>
                    <a:lnTo>
                      <a:pt x="262" y="182"/>
                    </a:lnTo>
                    <a:lnTo>
                      <a:pt x="262" y="180"/>
                    </a:lnTo>
                    <a:lnTo>
                      <a:pt x="265" y="177"/>
                    </a:lnTo>
                    <a:lnTo>
                      <a:pt x="265" y="177"/>
                    </a:lnTo>
                    <a:lnTo>
                      <a:pt x="265" y="175"/>
                    </a:lnTo>
                    <a:lnTo>
                      <a:pt x="267" y="170"/>
                    </a:lnTo>
                    <a:lnTo>
                      <a:pt x="270" y="170"/>
                    </a:lnTo>
                    <a:lnTo>
                      <a:pt x="270" y="168"/>
                    </a:lnTo>
                    <a:lnTo>
                      <a:pt x="277" y="161"/>
                    </a:lnTo>
                    <a:lnTo>
                      <a:pt x="279" y="161"/>
                    </a:lnTo>
                    <a:lnTo>
                      <a:pt x="281" y="158"/>
                    </a:lnTo>
                    <a:lnTo>
                      <a:pt x="281" y="156"/>
                    </a:lnTo>
                    <a:lnTo>
                      <a:pt x="284" y="154"/>
                    </a:lnTo>
                    <a:lnTo>
                      <a:pt x="284" y="154"/>
                    </a:lnTo>
                    <a:lnTo>
                      <a:pt x="291" y="154"/>
                    </a:lnTo>
                    <a:lnTo>
                      <a:pt x="293" y="154"/>
                    </a:lnTo>
                    <a:lnTo>
                      <a:pt x="298" y="156"/>
                    </a:lnTo>
                    <a:lnTo>
                      <a:pt x="298" y="158"/>
                    </a:lnTo>
                    <a:lnTo>
                      <a:pt x="300" y="156"/>
                    </a:lnTo>
                    <a:lnTo>
                      <a:pt x="300" y="154"/>
                    </a:lnTo>
                    <a:lnTo>
                      <a:pt x="300" y="151"/>
                    </a:lnTo>
                    <a:lnTo>
                      <a:pt x="298" y="149"/>
                    </a:lnTo>
                    <a:lnTo>
                      <a:pt x="298" y="149"/>
                    </a:lnTo>
                    <a:lnTo>
                      <a:pt x="296" y="149"/>
                    </a:lnTo>
                    <a:lnTo>
                      <a:pt x="296" y="147"/>
                    </a:lnTo>
                    <a:lnTo>
                      <a:pt x="296" y="147"/>
                    </a:lnTo>
                    <a:lnTo>
                      <a:pt x="296" y="144"/>
                    </a:lnTo>
                    <a:lnTo>
                      <a:pt x="296" y="142"/>
                    </a:lnTo>
                    <a:lnTo>
                      <a:pt x="293" y="139"/>
                    </a:lnTo>
                    <a:lnTo>
                      <a:pt x="293" y="137"/>
                    </a:lnTo>
                    <a:lnTo>
                      <a:pt x="293" y="132"/>
                    </a:lnTo>
                    <a:lnTo>
                      <a:pt x="293" y="130"/>
                    </a:lnTo>
                    <a:lnTo>
                      <a:pt x="296" y="130"/>
                    </a:lnTo>
                    <a:lnTo>
                      <a:pt x="296" y="128"/>
                    </a:lnTo>
                    <a:lnTo>
                      <a:pt x="298" y="128"/>
                    </a:lnTo>
                    <a:lnTo>
                      <a:pt x="300" y="128"/>
                    </a:lnTo>
                    <a:lnTo>
                      <a:pt x="305" y="125"/>
                    </a:lnTo>
                    <a:lnTo>
                      <a:pt x="310" y="123"/>
                    </a:lnTo>
                    <a:lnTo>
                      <a:pt x="310" y="121"/>
                    </a:lnTo>
                    <a:lnTo>
                      <a:pt x="312" y="118"/>
                    </a:lnTo>
                    <a:lnTo>
                      <a:pt x="312" y="116"/>
                    </a:lnTo>
                    <a:lnTo>
                      <a:pt x="310" y="114"/>
                    </a:lnTo>
                    <a:lnTo>
                      <a:pt x="305" y="114"/>
                    </a:lnTo>
                    <a:lnTo>
                      <a:pt x="305" y="111"/>
                    </a:lnTo>
                    <a:lnTo>
                      <a:pt x="305" y="111"/>
                    </a:lnTo>
                    <a:lnTo>
                      <a:pt x="305" y="109"/>
                    </a:lnTo>
                    <a:lnTo>
                      <a:pt x="307" y="106"/>
                    </a:lnTo>
                    <a:lnTo>
                      <a:pt x="310" y="104"/>
                    </a:lnTo>
                    <a:lnTo>
                      <a:pt x="310" y="104"/>
                    </a:lnTo>
                    <a:lnTo>
                      <a:pt x="317" y="102"/>
                    </a:lnTo>
                    <a:lnTo>
                      <a:pt x="319" y="102"/>
                    </a:lnTo>
                    <a:lnTo>
                      <a:pt x="319" y="97"/>
                    </a:lnTo>
                    <a:lnTo>
                      <a:pt x="319" y="97"/>
                    </a:lnTo>
                    <a:lnTo>
                      <a:pt x="317" y="95"/>
                    </a:lnTo>
                    <a:lnTo>
                      <a:pt x="317" y="95"/>
                    </a:lnTo>
                    <a:lnTo>
                      <a:pt x="314" y="90"/>
                    </a:lnTo>
                    <a:lnTo>
                      <a:pt x="312" y="88"/>
                    </a:lnTo>
                    <a:lnTo>
                      <a:pt x="310" y="88"/>
                    </a:lnTo>
                    <a:lnTo>
                      <a:pt x="310" y="85"/>
                    </a:lnTo>
                    <a:lnTo>
                      <a:pt x="310" y="80"/>
                    </a:lnTo>
                    <a:lnTo>
                      <a:pt x="310" y="78"/>
                    </a:lnTo>
                    <a:lnTo>
                      <a:pt x="310" y="76"/>
                    </a:lnTo>
                    <a:lnTo>
                      <a:pt x="310" y="73"/>
                    </a:lnTo>
                    <a:lnTo>
                      <a:pt x="312" y="73"/>
                    </a:lnTo>
                    <a:lnTo>
                      <a:pt x="314" y="71"/>
                    </a:lnTo>
                    <a:lnTo>
                      <a:pt x="319" y="73"/>
                    </a:lnTo>
                    <a:lnTo>
                      <a:pt x="321" y="71"/>
                    </a:lnTo>
                    <a:lnTo>
                      <a:pt x="324" y="71"/>
                    </a:lnTo>
                    <a:lnTo>
                      <a:pt x="324" y="71"/>
                    </a:lnTo>
                    <a:lnTo>
                      <a:pt x="326" y="69"/>
                    </a:lnTo>
                    <a:lnTo>
                      <a:pt x="326" y="66"/>
                    </a:lnTo>
                    <a:lnTo>
                      <a:pt x="329" y="62"/>
                    </a:lnTo>
                    <a:lnTo>
                      <a:pt x="331" y="59"/>
                    </a:lnTo>
                    <a:lnTo>
                      <a:pt x="331" y="57"/>
                    </a:lnTo>
                    <a:lnTo>
                      <a:pt x="331" y="57"/>
                    </a:lnTo>
                    <a:lnTo>
                      <a:pt x="326" y="52"/>
                    </a:lnTo>
                    <a:lnTo>
                      <a:pt x="324" y="52"/>
                    </a:lnTo>
                    <a:lnTo>
                      <a:pt x="324" y="50"/>
                    </a:lnTo>
                    <a:lnTo>
                      <a:pt x="321" y="50"/>
                    </a:lnTo>
                    <a:lnTo>
                      <a:pt x="319" y="50"/>
                    </a:lnTo>
                    <a:lnTo>
                      <a:pt x="314" y="47"/>
                    </a:lnTo>
                    <a:lnTo>
                      <a:pt x="312" y="47"/>
                    </a:lnTo>
                    <a:lnTo>
                      <a:pt x="310" y="47"/>
                    </a:lnTo>
                    <a:lnTo>
                      <a:pt x="310" y="45"/>
                    </a:lnTo>
                    <a:lnTo>
                      <a:pt x="307" y="43"/>
                    </a:lnTo>
                    <a:lnTo>
                      <a:pt x="307" y="40"/>
                    </a:lnTo>
                    <a:lnTo>
                      <a:pt x="307" y="43"/>
                    </a:lnTo>
                    <a:lnTo>
                      <a:pt x="307" y="40"/>
                    </a:lnTo>
                    <a:lnTo>
                      <a:pt x="305" y="38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05" y="33"/>
                    </a:lnTo>
                    <a:lnTo>
                      <a:pt x="303" y="31"/>
                    </a:lnTo>
                    <a:lnTo>
                      <a:pt x="300" y="31"/>
                    </a:lnTo>
                    <a:lnTo>
                      <a:pt x="300" y="28"/>
                    </a:lnTo>
                    <a:lnTo>
                      <a:pt x="298" y="28"/>
                    </a:lnTo>
                    <a:lnTo>
                      <a:pt x="298" y="28"/>
                    </a:lnTo>
                    <a:lnTo>
                      <a:pt x="298" y="31"/>
                    </a:lnTo>
                    <a:lnTo>
                      <a:pt x="296" y="28"/>
                    </a:lnTo>
                    <a:lnTo>
                      <a:pt x="291" y="31"/>
                    </a:lnTo>
                    <a:lnTo>
                      <a:pt x="291" y="31"/>
                    </a:lnTo>
                    <a:lnTo>
                      <a:pt x="291" y="31"/>
                    </a:lnTo>
                    <a:lnTo>
                      <a:pt x="288" y="31"/>
                    </a:lnTo>
                    <a:lnTo>
                      <a:pt x="288" y="31"/>
                    </a:lnTo>
                    <a:lnTo>
                      <a:pt x="286" y="33"/>
                    </a:lnTo>
                    <a:lnTo>
                      <a:pt x="284" y="33"/>
                    </a:lnTo>
                    <a:lnTo>
                      <a:pt x="277" y="31"/>
                    </a:lnTo>
                    <a:lnTo>
                      <a:pt x="272" y="31"/>
                    </a:lnTo>
                    <a:lnTo>
                      <a:pt x="272" y="31"/>
                    </a:lnTo>
                    <a:lnTo>
                      <a:pt x="267" y="31"/>
                    </a:lnTo>
                    <a:lnTo>
                      <a:pt x="265" y="28"/>
                    </a:lnTo>
                    <a:lnTo>
                      <a:pt x="265" y="28"/>
                    </a:lnTo>
                    <a:lnTo>
                      <a:pt x="262" y="26"/>
                    </a:lnTo>
                    <a:lnTo>
                      <a:pt x="255" y="26"/>
                    </a:lnTo>
                    <a:lnTo>
                      <a:pt x="255" y="26"/>
                    </a:lnTo>
                    <a:lnTo>
                      <a:pt x="255" y="26"/>
                    </a:lnTo>
                    <a:lnTo>
                      <a:pt x="253" y="24"/>
                    </a:lnTo>
                    <a:lnTo>
                      <a:pt x="253" y="24"/>
                    </a:lnTo>
                    <a:lnTo>
                      <a:pt x="253" y="24"/>
                    </a:lnTo>
                    <a:lnTo>
                      <a:pt x="253" y="21"/>
                    </a:lnTo>
                    <a:lnTo>
                      <a:pt x="253" y="24"/>
                    </a:lnTo>
                    <a:lnTo>
                      <a:pt x="255" y="21"/>
                    </a:lnTo>
                    <a:lnTo>
                      <a:pt x="258" y="24"/>
                    </a:lnTo>
                    <a:lnTo>
                      <a:pt x="258" y="21"/>
                    </a:lnTo>
                    <a:lnTo>
                      <a:pt x="260" y="19"/>
                    </a:lnTo>
                    <a:lnTo>
                      <a:pt x="260" y="19"/>
                    </a:lnTo>
                    <a:lnTo>
                      <a:pt x="262" y="17"/>
                    </a:lnTo>
                    <a:lnTo>
                      <a:pt x="265" y="19"/>
                    </a:lnTo>
                    <a:lnTo>
                      <a:pt x="267" y="19"/>
                    </a:lnTo>
                    <a:lnTo>
                      <a:pt x="267" y="21"/>
                    </a:lnTo>
                    <a:lnTo>
                      <a:pt x="270" y="21"/>
                    </a:lnTo>
                    <a:lnTo>
                      <a:pt x="272" y="21"/>
                    </a:lnTo>
                    <a:lnTo>
                      <a:pt x="274" y="19"/>
                    </a:lnTo>
                    <a:lnTo>
                      <a:pt x="277" y="14"/>
                    </a:lnTo>
                    <a:lnTo>
                      <a:pt x="277" y="12"/>
                    </a:lnTo>
                    <a:lnTo>
                      <a:pt x="277" y="10"/>
                    </a:lnTo>
                    <a:lnTo>
                      <a:pt x="277" y="7"/>
                    </a:lnTo>
                    <a:lnTo>
                      <a:pt x="279" y="2"/>
                    </a:lnTo>
                    <a:lnTo>
                      <a:pt x="281" y="2"/>
                    </a:lnTo>
                    <a:lnTo>
                      <a:pt x="286" y="2"/>
                    </a:lnTo>
                    <a:lnTo>
                      <a:pt x="288" y="0"/>
                    </a:lnTo>
                    <a:lnTo>
                      <a:pt x="300" y="0"/>
                    </a:lnTo>
                    <a:lnTo>
                      <a:pt x="303" y="0"/>
                    </a:lnTo>
                    <a:lnTo>
                      <a:pt x="307" y="2"/>
                    </a:lnTo>
                    <a:lnTo>
                      <a:pt x="310" y="2"/>
                    </a:lnTo>
                    <a:lnTo>
                      <a:pt x="314" y="5"/>
                    </a:lnTo>
                    <a:lnTo>
                      <a:pt x="317" y="7"/>
                    </a:lnTo>
                    <a:lnTo>
                      <a:pt x="319" y="7"/>
                    </a:lnTo>
                    <a:lnTo>
                      <a:pt x="319" y="7"/>
                    </a:lnTo>
                    <a:lnTo>
                      <a:pt x="321" y="10"/>
                    </a:lnTo>
                    <a:lnTo>
                      <a:pt x="324" y="10"/>
                    </a:lnTo>
                    <a:lnTo>
                      <a:pt x="326" y="12"/>
                    </a:lnTo>
                    <a:lnTo>
                      <a:pt x="333" y="12"/>
                    </a:lnTo>
                    <a:lnTo>
                      <a:pt x="338" y="12"/>
                    </a:lnTo>
                    <a:lnTo>
                      <a:pt x="343" y="12"/>
                    </a:lnTo>
                    <a:lnTo>
                      <a:pt x="345" y="7"/>
                    </a:lnTo>
                    <a:lnTo>
                      <a:pt x="347" y="7"/>
                    </a:lnTo>
                    <a:lnTo>
                      <a:pt x="347" y="7"/>
                    </a:lnTo>
                    <a:lnTo>
                      <a:pt x="352" y="10"/>
                    </a:lnTo>
                    <a:lnTo>
                      <a:pt x="355" y="10"/>
                    </a:lnTo>
                    <a:lnTo>
                      <a:pt x="357" y="10"/>
                    </a:lnTo>
                    <a:lnTo>
                      <a:pt x="362" y="12"/>
                    </a:lnTo>
                    <a:lnTo>
                      <a:pt x="364" y="12"/>
                    </a:lnTo>
                    <a:lnTo>
                      <a:pt x="364" y="14"/>
                    </a:lnTo>
                    <a:lnTo>
                      <a:pt x="364" y="17"/>
                    </a:lnTo>
                    <a:lnTo>
                      <a:pt x="364" y="17"/>
                    </a:lnTo>
                    <a:lnTo>
                      <a:pt x="364" y="21"/>
                    </a:lnTo>
                    <a:lnTo>
                      <a:pt x="369" y="26"/>
                    </a:lnTo>
                    <a:lnTo>
                      <a:pt x="369" y="28"/>
                    </a:lnTo>
                    <a:lnTo>
                      <a:pt x="373" y="28"/>
                    </a:lnTo>
                    <a:lnTo>
                      <a:pt x="378" y="26"/>
                    </a:lnTo>
                    <a:lnTo>
                      <a:pt x="381" y="26"/>
                    </a:lnTo>
                    <a:lnTo>
                      <a:pt x="388" y="31"/>
                    </a:lnTo>
                    <a:lnTo>
                      <a:pt x="390" y="31"/>
                    </a:lnTo>
                    <a:lnTo>
                      <a:pt x="397" y="38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4" y="38"/>
                    </a:lnTo>
                    <a:lnTo>
                      <a:pt x="411" y="45"/>
                    </a:lnTo>
                    <a:lnTo>
                      <a:pt x="414" y="50"/>
                    </a:lnTo>
                    <a:lnTo>
                      <a:pt x="414" y="54"/>
                    </a:lnTo>
                    <a:lnTo>
                      <a:pt x="414" y="59"/>
                    </a:lnTo>
                    <a:lnTo>
                      <a:pt x="414" y="59"/>
                    </a:lnTo>
                    <a:lnTo>
                      <a:pt x="414" y="64"/>
                    </a:lnTo>
                    <a:lnTo>
                      <a:pt x="411" y="69"/>
                    </a:lnTo>
                    <a:lnTo>
                      <a:pt x="411" y="73"/>
                    </a:lnTo>
                    <a:lnTo>
                      <a:pt x="414" y="76"/>
                    </a:lnTo>
                    <a:lnTo>
                      <a:pt x="416" y="78"/>
                    </a:lnTo>
                    <a:lnTo>
                      <a:pt x="418" y="85"/>
                    </a:lnTo>
                    <a:lnTo>
                      <a:pt x="418" y="90"/>
                    </a:lnTo>
                    <a:lnTo>
                      <a:pt x="421" y="90"/>
                    </a:lnTo>
                    <a:lnTo>
                      <a:pt x="421" y="99"/>
                    </a:lnTo>
                    <a:lnTo>
                      <a:pt x="418" y="106"/>
                    </a:lnTo>
                    <a:lnTo>
                      <a:pt x="418" y="109"/>
                    </a:lnTo>
                    <a:lnTo>
                      <a:pt x="421" y="114"/>
                    </a:lnTo>
                    <a:lnTo>
                      <a:pt x="421" y="114"/>
                    </a:lnTo>
                    <a:lnTo>
                      <a:pt x="421" y="116"/>
                    </a:lnTo>
                    <a:lnTo>
                      <a:pt x="418" y="121"/>
                    </a:lnTo>
                    <a:lnTo>
                      <a:pt x="421" y="123"/>
                    </a:lnTo>
                    <a:lnTo>
                      <a:pt x="421" y="130"/>
                    </a:lnTo>
                    <a:lnTo>
                      <a:pt x="423" y="135"/>
                    </a:lnTo>
                    <a:lnTo>
                      <a:pt x="425" y="137"/>
                    </a:lnTo>
                    <a:lnTo>
                      <a:pt x="425" y="139"/>
                    </a:lnTo>
                    <a:lnTo>
                      <a:pt x="425" y="142"/>
                    </a:lnTo>
                    <a:lnTo>
                      <a:pt x="425" y="144"/>
                    </a:lnTo>
                    <a:lnTo>
                      <a:pt x="423" y="151"/>
                    </a:lnTo>
                    <a:lnTo>
                      <a:pt x="423" y="151"/>
                    </a:lnTo>
                    <a:lnTo>
                      <a:pt x="421" y="156"/>
                    </a:lnTo>
                    <a:lnTo>
                      <a:pt x="421" y="161"/>
                    </a:lnTo>
                    <a:lnTo>
                      <a:pt x="421" y="163"/>
                    </a:lnTo>
                    <a:lnTo>
                      <a:pt x="418" y="165"/>
                    </a:lnTo>
                    <a:lnTo>
                      <a:pt x="421" y="170"/>
                    </a:lnTo>
                    <a:lnTo>
                      <a:pt x="421" y="173"/>
                    </a:lnTo>
                    <a:lnTo>
                      <a:pt x="421" y="173"/>
                    </a:lnTo>
                    <a:lnTo>
                      <a:pt x="416" y="177"/>
                    </a:lnTo>
                    <a:lnTo>
                      <a:pt x="416" y="180"/>
                    </a:lnTo>
                    <a:lnTo>
                      <a:pt x="416" y="180"/>
                    </a:lnTo>
                    <a:lnTo>
                      <a:pt x="416" y="184"/>
                    </a:lnTo>
                    <a:lnTo>
                      <a:pt x="416" y="187"/>
                    </a:lnTo>
                    <a:lnTo>
                      <a:pt x="416" y="187"/>
                    </a:lnTo>
                    <a:lnTo>
                      <a:pt x="414" y="189"/>
                    </a:lnTo>
                    <a:lnTo>
                      <a:pt x="411" y="196"/>
                    </a:lnTo>
                    <a:lnTo>
                      <a:pt x="411" y="199"/>
                    </a:lnTo>
                    <a:lnTo>
                      <a:pt x="411" y="199"/>
                    </a:lnTo>
                    <a:lnTo>
                      <a:pt x="411" y="201"/>
                    </a:lnTo>
                    <a:lnTo>
                      <a:pt x="411" y="206"/>
                    </a:lnTo>
                    <a:lnTo>
                      <a:pt x="409" y="210"/>
                    </a:lnTo>
                    <a:lnTo>
                      <a:pt x="407" y="215"/>
                    </a:lnTo>
                    <a:lnTo>
                      <a:pt x="407" y="217"/>
                    </a:lnTo>
                    <a:lnTo>
                      <a:pt x="409" y="217"/>
                    </a:lnTo>
                    <a:lnTo>
                      <a:pt x="409" y="217"/>
                    </a:lnTo>
                    <a:lnTo>
                      <a:pt x="409" y="222"/>
                    </a:lnTo>
                    <a:lnTo>
                      <a:pt x="411" y="225"/>
                    </a:lnTo>
                    <a:lnTo>
                      <a:pt x="409" y="227"/>
                    </a:lnTo>
                    <a:lnTo>
                      <a:pt x="407" y="232"/>
                    </a:lnTo>
                    <a:lnTo>
                      <a:pt x="407" y="234"/>
                    </a:lnTo>
                    <a:lnTo>
                      <a:pt x="407" y="236"/>
                    </a:lnTo>
                    <a:lnTo>
                      <a:pt x="407" y="239"/>
                    </a:lnTo>
                    <a:lnTo>
                      <a:pt x="407" y="241"/>
                    </a:lnTo>
                    <a:lnTo>
                      <a:pt x="404" y="241"/>
                    </a:lnTo>
                    <a:lnTo>
                      <a:pt x="402" y="246"/>
                    </a:lnTo>
                    <a:lnTo>
                      <a:pt x="399" y="246"/>
                    </a:lnTo>
                    <a:lnTo>
                      <a:pt x="397" y="251"/>
                    </a:lnTo>
                    <a:lnTo>
                      <a:pt x="395" y="253"/>
                    </a:lnTo>
                    <a:lnTo>
                      <a:pt x="392" y="258"/>
                    </a:lnTo>
                    <a:lnTo>
                      <a:pt x="390" y="258"/>
                    </a:lnTo>
                    <a:lnTo>
                      <a:pt x="390" y="258"/>
                    </a:lnTo>
                    <a:lnTo>
                      <a:pt x="388" y="258"/>
                    </a:lnTo>
                    <a:lnTo>
                      <a:pt x="385" y="258"/>
                    </a:lnTo>
                    <a:lnTo>
                      <a:pt x="383" y="258"/>
                    </a:lnTo>
                    <a:lnTo>
                      <a:pt x="381" y="260"/>
                    </a:lnTo>
                    <a:lnTo>
                      <a:pt x="381" y="260"/>
                    </a:lnTo>
                    <a:lnTo>
                      <a:pt x="381" y="262"/>
                    </a:lnTo>
                    <a:lnTo>
                      <a:pt x="381" y="265"/>
                    </a:lnTo>
                    <a:lnTo>
                      <a:pt x="381" y="267"/>
                    </a:lnTo>
                    <a:lnTo>
                      <a:pt x="388" y="269"/>
                    </a:lnTo>
                    <a:lnTo>
                      <a:pt x="390" y="272"/>
                    </a:lnTo>
                    <a:lnTo>
                      <a:pt x="392" y="279"/>
                    </a:lnTo>
                    <a:lnTo>
                      <a:pt x="392" y="279"/>
                    </a:lnTo>
                    <a:lnTo>
                      <a:pt x="392" y="279"/>
                    </a:lnTo>
                    <a:lnTo>
                      <a:pt x="395" y="279"/>
                    </a:lnTo>
                    <a:lnTo>
                      <a:pt x="397" y="274"/>
                    </a:lnTo>
                    <a:lnTo>
                      <a:pt x="399" y="272"/>
                    </a:lnTo>
                    <a:lnTo>
                      <a:pt x="407" y="272"/>
                    </a:lnTo>
                    <a:lnTo>
                      <a:pt x="407" y="274"/>
                    </a:lnTo>
                    <a:lnTo>
                      <a:pt x="411" y="276"/>
                    </a:lnTo>
                    <a:lnTo>
                      <a:pt x="414" y="281"/>
                    </a:lnTo>
                    <a:lnTo>
                      <a:pt x="414" y="281"/>
                    </a:lnTo>
                    <a:lnTo>
                      <a:pt x="414" y="286"/>
                    </a:lnTo>
                    <a:lnTo>
                      <a:pt x="409" y="288"/>
                    </a:lnTo>
                    <a:lnTo>
                      <a:pt x="409" y="288"/>
                    </a:lnTo>
                    <a:lnTo>
                      <a:pt x="402" y="293"/>
                    </a:lnTo>
                    <a:lnTo>
                      <a:pt x="402" y="293"/>
                    </a:lnTo>
                    <a:lnTo>
                      <a:pt x="399" y="295"/>
                    </a:lnTo>
                    <a:lnTo>
                      <a:pt x="402" y="298"/>
                    </a:lnTo>
                    <a:lnTo>
                      <a:pt x="404" y="295"/>
                    </a:lnTo>
                    <a:lnTo>
                      <a:pt x="407" y="295"/>
                    </a:lnTo>
                    <a:lnTo>
                      <a:pt x="409" y="295"/>
                    </a:lnTo>
                    <a:lnTo>
                      <a:pt x="411" y="295"/>
                    </a:lnTo>
                    <a:lnTo>
                      <a:pt x="411" y="298"/>
                    </a:lnTo>
                    <a:lnTo>
                      <a:pt x="411" y="302"/>
                    </a:lnTo>
                    <a:lnTo>
                      <a:pt x="414" y="302"/>
                    </a:lnTo>
                    <a:lnTo>
                      <a:pt x="414" y="307"/>
                    </a:lnTo>
                    <a:lnTo>
                      <a:pt x="414" y="307"/>
                    </a:lnTo>
                    <a:lnTo>
                      <a:pt x="416" y="307"/>
                    </a:lnTo>
                    <a:lnTo>
                      <a:pt x="416" y="307"/>
                    </a:lnTo>
                    <a:lnTo>
                      <a:pt x="418" y="307"/>
                    </a:lnTo>
                    <a:lnTo>
                      <a:pt x="421" y="307"/>
                    </a:lnTo>
                    <a:lnTo>
                      <a:pt x="421" y="307"/>
                    </a:lnTo>
                    <a:lnTo>
                      <a:pt x="421" y="310"/>
                    </a:lnTo>
                    <a:lnTo>
                      <a:pt x="421" y="310"/>
                    </a:lnTo>
                    <a:lnTo>
                      <a:pt x="418" y="312"/>
                    </a:lnTo>
                    <a:lnTo>
                      <a:pt x="418" y="312"/>
                    </a:lnTo>
                    <a:lnTo>
                      <a:pt x="421" y="312"/>
                    </a:lnTo>
                    <a:lnTo>
                      <a:pt x="421" y="312"/>
                    </a:lnTo>
                    <a:lnTo>
                      <a:pt x="423" y="312"/>
                    </a:lnTo>
                    <a:lnTo>
                      <a:pt x="423" y="312"/>
                    </a:lnTo>
                    <a:lnTo>
                      <a:pt x="425" y="314"/>
                    </a:lnTo>
                    <a:lnTo>
                      <a:pt x="423" y="314"/>
                    </a:lnTo>
                    <a:lnTo>
                      <a:pt x="425" y="317"/>
                    </a:lnTo>
                    <a:lnTo>
                      <a:pt x="425" y="319"/>
                    </a:lnTo>
                    <a:lnTo>
                      <a:pt x="425" y="321"/>
                    </a:lnTo>
                    <a:lnTo>
                      <a:pt x="425" y="321"/>
                    </a:lnTo>
                    <a:lnTo>
                      <a:pt x="425" y="324"/>
                    </a:lnTo>
                    <a:lnTo>
                      <a:pt x="428" y="324"/>
                    </a:lnTo>
                    <a:lnTo>
                      <a:pt x="430" y="324"/>
                    </a:lnTo>
                    <a:lnTo>
                      <a:pt x="430" y="321"/>
                    </a:lnTo>
                    <a:lnTo>
                      <a:pt x="428" y="321"/>
                    </a:lnTo>
                    <a:lnTo>
                      <a:pt x="428" y="321"/>
                    </a:lnTo>
                    <a:lnTo>
                      <a:pt x="428" y="319"/>
                    </a:lnTo>
                    <a:lnTo>
                      <a:pt x="428" y="319"/>
                    </a:lnTo>
                    <a:lnTo>
                      <a:pt x="430" y="319"/>
                    </a:lnTo>
                    <a:lnTo>
                      <a:pt x="430" y="321"/>
                    </a:lnTo>
                    <a:lnTo>
                      <a:pt x="433" y="321"/>
                    </a:lnTo>
                    <a:lnTo>
                      <a:pt x="435" y="324"/>
                    </a:lnTo>
                    <a:lnTo>
                      <a:pt x="435" y="324"/>
                    </a:lnTo>
                    <a:lnTo>
                      <a:pt x="435" y="326"/>
                    </a:lnTo>
                    <a:lnTo>
                      <a:pt x="433" y="326"/>
                    </a:lnTo>
                    <a:lnTo>
                      <a:pt x="430" y="326"/>
                    </a:lnTo>
                    <a:lnTo>
                      <a:pt x="433" y="326"/>
                    </a:lnTo>
                    <a:lnTo>
                      <a:pt x="433" y="326"/>
                    </a:lnTo>
                    <a:lnTo>
                      <a:pt x="433" y="328"/>
                    </a:lnTo>
                    <a:lnTo>
                      <a:pt x="437" y="328"/>
                    </a:lnTo>
                    <a:lnTo>
                      <a:pt x="437" y="331"/>
                    </a:lnTo>
                    <a:lnTo>
                      <a:pt x="435" y="331"/>
                    </a:lnTo>
                    <a:lnTo>
                      <a:pt x="435" y="331"/>
                    </a:lnTo>
                    <a:lnTo>
                      <a:pt x="435" y="331"/>
                    </a:lnTo>
                    <a:lnTo>
                      <a:pt x="435" y="331"/>
                    </a:lnTo>
                    <a:lnTo>
                      <a:pt x="435" y="333"/>
                    </a:lnTo>
                    <a:lnTo>
                      <a:pt x="435" y="333"/>
                    </a:lnTo>
                    <a:lnTo>
                      <a:pt x="435" y="333"/>
                    </a:lnTo>
                    <a:lnTo>
                      <a:pt x="437" y="336"/>
                    </a:lnTo>
                    <a:lnTo>
                      <a:pt x="437" y="333"/>
                    </a:lnTo>
                    <a:lnTo>
                      <a:pt x="440" y="336"/>
                    </a:lnTo>
                    <a:lnTo>
                      <a:pt x="440" y="333"/>
                    </a:lnTo>
                    <a:lnTo>
                      <a:pt x="440" y="336"/>
                    </a:lnTo>
                    <a:lnTo>
                      <a:pt x="440" y="336"/>
                    </a:lnTo>
                    <a:lnTo>
                      <a:pt x="442" y="336"/>
                    </a:lnTo>
                    <a:lnTo>
                      <a:pt x="442" y="336"/>
                    </a:lnTo>
                    <a:lnTo>
                      <a:pt x="440" y="338"/>
                    </a:lnTo>
                    <a:lnTo>
                      <a:pt x="442" y="338"/>
                    </a:lnTo>
                    <a:lnTo>
                      <a:pt x="442" y="338"/>
                    </a:lnTo>
                    <a:lnTo>
                      <a:pt x="444" y="338"/>
                    </a:lnTo>
                    <a:lnTo>
                      <a:pt x="442" y="338"/>
                    </a:lnTo>
                    <a:lnTo>
                      <a:pt x="444" y="340"/>
                    </a:lnTo>
                    <a:lnTo>
                      <a:pt x="444" y="343"/>
                    </a:lnTo>
                    <a:lnTo>
                      <a:pt x="444" y="343"/>
                    </a:lnTo>
                    <a:lnTo>
                      <a:pt x="444" y="343"/>
                    </a:lnTo>
                    <a:lnTo>
                      <a:pt x="444" y="345"/>
                    </a:lnTo>
                    <a:lnTo>
                      <a:pt x="444" y="345"/>
                    </a:lnTo>
                    <a:lnTo>
                      <a:pt x="444" y="345"/>
                    </a:lnTo>
                    <a:lnTo>
                      <a:pt x="444" y="345"/>
                    </a:lnTo>
                    <a:lnTo>
                      <a:pt x="444" y="345"/>
                    </a:lnTo>
                    <a:lnTo>
                      <a:pt x="447" y="347"/>
                    </a:lnTo>
                    <a:lnTo>
                      <a:pt x="447" y="347"/>
                    </a:lnTo>
                    <a:lnTo>
                      <a:pt x="449" y="347"/>
                    </a:lnTo>
                    <a:lnTo>
                      <a:pt x="449" y="350"/>
                    </a:lnTo>
                    <a:lnTo>
                      <a:pt x="449" y="350"/>
                    </a:lnTo>
                    <a:lnTo>
                      <a:pt x="449" y="350"/>
                    </a:lnTo>
                    <a:lnTo>
                      <a:pt x="451" y="350"/>
                    </a:lnTo>
                    <a:lnTo>
                      <a:pt x="451" y="350"/>
                    </a:lnTo>
                    <a:lnTo>
                      <a:pt x="451" y="350"/>
                    </a:lnTo>
                    <a:lnTo>
                      <a:pt x="451" y="352"/>
                    </a:lnTo>
                    <a:lnTo>
                      <a:pt x="451" y="352"/>
                    </a:lnTo>
                    <a:lnTo>
                      <a:pt x="454" y="354"/>
                    </a:lnTo>
                    <a:lnTo>
                      <a:pt x="454" y="354"/>
                    </a:lnTo>
                    <a:lnTo>
                      <a:pt x="454" y="354"/>
                    </a:lnTo>
                    <a:lnTo>
                      <a:pt x="456" y="354"/>
                    </a:lnTo>
                    <a:lnTo>
                      <a:pt x="456" y="359"/>
                    </a:lnTo>
                    <a:lnTo>
                      <a:pt x="456" y="359"/>
                    </a:lnTo>
                    <a:lnTo>
                      <a:pt x="459" y="359"/>
                    </a:lnTo>
                    <a:lnTo>
                      <a:pt x="459" y="359"/>
                    </a:lnTo>
                    <a:lnTo>
                      <a:pt x="461" y="362"/>
                    </a:lnTo>
                    <a:lnTo>
                      <a:pt x="461" y="362"/>
                    </a:lnTo>
                    <a:lnTo>
                      <a:pt x="461" y="364"/>
                    </a:lnTo>
                    <a:lnTo>
                      <a:pt x="461" y="364"/>
                    </a:lnTo>
                    <a:lnTo>
                      <a:pt x="461" y="364"/>
                    </a:lnTo>
                    <a:lnTo>
                      <a:pt x="461" y="364"/>
                    </a:lnTo>
                    <a:lnTo>
                      <a:pt x="461" y="364"/>
                    </a:lnTo>
                    <a:lnTo>
                      <a:pt x="461" y="364"/>
                    </a:lnTo>
                    <a:lnTo>
                      <a:pt x="463" y="366"/>
                    </a:lnTo>
                    <a:lnTo>
                      <a:pt x="461" y="369"/>
                    </a:lnTo>
                    <a:lnTo>
                      <a:pt x="463" y="369"/>
                    </a:lnTo>
                    <a:lnTo>
                      <a:pt x="466" y="371"/>
                    </a:lnTo>
                    <a:lnTo>
                      <a:pt x="466" y="373"/>
                    </a:lnTo>
                    <a:lnTo>
                      <a:pt x="468" y="373"/>
                    </a:lnTo>
                    <a:lnTo>
                      <a:pt x="468" y="373"/>
                    </a:lnTo>
                    <a:lnTo>
                      <a:pt x="470" y="376"/>
                    </a:lnTo>
                    <a:lnTo>
                      <a:pt x="470" y="376"/>
                    </a:lnTo>
                    <a:lnTo>
                      <a:pt x="473" y="376"/>
                    </a:lnTo>
                    <a:lnTo>
                      <a:pt x="473" y="378"/>
                    </a:lnTo>
                    <a:lnTo>
                      <a:pt x="473" y="378"/>
                    </a:lnTo>
                    <a:lnTo>
                      <a:pt x="473" y="378"/>
                    </a:lnTo>
                    <a:lnTo>
                      <a:pt x="475" y="378"/>
                    </a:lnTo>
                    <a:lnTo>
                      <a:pt x="475" y="378"/>
                    </a:lnTo>
                    <a:lnTo>
                      <a:pt x="475" y="378"/>
                    </a:lnTo>
                    <a:lnTo>
                      <a:pt x="475" y="376"/>
                    </a:lnTo>
                    <a:lnTo>
                      <a:pt x="477" y="376"/>
                    </a:lnTo>
                    <a:lnTo>
                      <a:pt x="477" y="376"/>
                    </a:lnTo>
                    <a:lnTo>
                      <a:pt x="480" y="373"/>
                    </a:lnTo>
                    <a:lnTo>
                      <a:pt x="480" y="373"/>
                    </a:lnTo>
                    <a:lnTo>
                      <a:pt x="480" y="373"/>
                    </a:lnTo>
                    <a:lnTo>
                      <a:pt x="480" y="371"/>
                    </a:lnTo>
                    <a:lnTo>
                      <a:pt x="480" y="371"/>
                    </a:lnTo>
                    <a:lnTo>
                      <a:pt x="482" y="371"/>
                    </a:lnTo>
                    <a:lnTo>
                      <a:pt x="482" y="369"/>
                    </a:lnTo>
                    <a:lnTo>
                      <a:pt x="484" y="369"/>
                    </a:lnTo>
                    <a:lnTo>
                      <a:pt x="484" y="369"/>
                    </a:lnTo>
                    <a:lnTo>
                      <a:pt x="484" y="369"/>
                    </a:lnTo>
                    <a:lnTo>
                      <a:pt x="484" y="366"/>
                    </a:lnTo>
                    <a:lnTo>
                      <a:pt x="484" y="366"/>
                    </a:lnTo>
                    <a:lnTo>
                      <a:pt x="487" y="369"/>
                    </a:lnTo>
                    <a:lnTo>
                      <a:pt x="487" y="369"/>
                    </a:lnTo>
                    <a:lnTo>
                      <a:pt x="489" y="366"/>
                    </a:lnTo>
                    <a:lnTo>
                      <a:pt x="489" y="366"/>
                    </a:lnTo>
                    <a:lnTo>
                      <a:pt x="489" y="364"/>
                    </a:lnTo>
                    <a:lnTo>
                      <a:pt x="492" y="364"/>
                    </a:lnTo>
                    <a:lnTo>
                      <a:pt x="492" y="364"/>
                    </a:lnTo>
                    <a:lnTo>
                      <a:pt x="492" y="364"/>
                    </a:lnTo>
                    <a:lnTo>
                      <a:pt x="492" y="364"/>
                    </a:lnTo>
                    <a:lnTo>
                      <a:pt x="494" y="364"/>
                    </a:lnTo>
                    <a:lnTo>
                      <a:pt x="494" y="364"/>
                    </a:lnTo>
                    <a:lnTo>
                      <a:pt x="494" y="364"/>
                    </a:lnTo>
                    <a:lnTo>
                      <a:pt x="494" y="364"/>
                    </a:lnTo>
                    <a:lnTo>
                      <a:pt x="496" y="364"/>
                    </a:lnTo>
                    <a:lnTo>
                      <a:pt x="499" y="364"/>
                    </a:lnTo>
                    <a:lnTo>
                      <a:pt x="499" y="362"/>
                    </a:lnTo>
                    <a:lnTo>
                      <a:pt x="501" y="364"/>
                    </a:lnTo>
                    <a:lnTo>
                      <a:pt x="501" y="364"/>
                    </a:lnTo>
                    <a:lnTo>
                      <a:pt x="501" y="362"/>
                    </a:lnTo>
                    <a:lnTo>
                      <a:pt x="501" y="364"/>
                    </a:lnTo>
                    <a:lnTo>
                      <a:pt x="501" y="362"/>
                    </a:lnTo>
                    <a:lnTo>
                      <a:pt x="503" y="362"/>
                    </a:lnTo>
                    <a:lnTo>
                      <a:pt x="503" y="362"/>
                    </a:lnTo>
                    <a:lnTo>
                      <a:pt x="503" y="362"/>
                    </a:lnTo>
                    <a:lnTo>
                      <a:pt x="503" y="362"/>
                    </a:lnTo>
                    <a:lnTo>
                      <a:pt x="506" y="359"/>
                    </a:lnTo>
                    <a:lnTo>
                      <a:pt x="506" y="359"/>
                    </a:lnTo>
                    <a:lnTo>
                      <a:pt x="508" y="359"/>
                    </a:lnTo>
                    <a:lnTo>
                      <a:pt x="508" y="359"/>
                    </a:lnTo>
                    <a:lnTo>
                      <a:pt x="508" y="359"/>
                    </a:lnTo>
                    <a:lnTo>
                      <a:pt x="510" y="359"/>
                    </a:lnTo>
                    <a:lnTo>
                      <a:pt x="510" y="359"/>
                    </a:lnTo>
                    <a:lnTo>
                      <a:pt x="510" y="357"/>
                    </a:lnTo>
                    <a:lnTo>
                      <a:pt x="513" y="359"/>
                    </a:lnTo>
                    <a:lnTo>
                      <a:pt x="513" y="359"/>
                    </a:lnTo>
                    <a:lnTo>
                      <a:pt x="515" y="359"/>
                    </a:lnTo>
                    <a:lnTo>
                      <a:pt x="518" y="357"/>
                    </a:lnTo>
                    <a:lnTo>
                      <a:pt x="518" y="357"/>
                    </a:lnTo>
                    <a:lnTo>
                      <a:pt x="520" y="357"/>
                    </a:lnTo>
                    <a:lnTo>
                      <a:pt x="520" y="357"/>
                    </a:lnTo>
                    <a:lnTo>
                      <a:pt x="522" y="354"/>
                    </a:lnTo>
                    <a:lnTo>
                      <a:pt x="525" y="354"/>
                    </a:lnTo>
                    <a:lnTo>
                      <a:pt x="527" y="357"/>
                    </a:lnTo>
                    <a:lnTo>
                      <a:pt x="527" y="357"/>
                    </a:lnTo>
                    <a:lnTo>
                      <a:pt x="527" y="357"/>
                    </a:lnTo>
                    <a:lnTo>
                      <a:pt x="529" y="359"/>
                    </a:lnTo>
                    <a:lnTo>
                      <a:pt x="529" y="359"/>
                    </a:lnTo>
                    <a:lnTo>
                      <a:pt x="529" y="359"/>
                    </a:lnTo>
                    <a:lnTo>
                      <a:pt x="529" y="362"/>
                    </a:lnTo>
                    <a:lnTo>
                      <a:pt x="532" y="362"/>
                    </a:lnTo>
                    <a:lnTo>
                      <a:pt x="536" y="364"/>
                    </a:lnTo>
                    <a:lnTo>
                      <a:pt x="539" y="366"/>
                    </a:lnTo>
                    <a:lnTo>
                      <a:pt x="539" y="369"/>
                    </a:lnTo>
                    <a:lnTo>
                      <a:pt x="539" y="369"/>
                    </a:lnTo>
                    <a:lnTo>
                      <a:pt x="541" y="371"/>
                    </a:lnTo>
                    <a:lnTo>
                      <a:pt x="541" y="371"/>
                    </a:lnTo>
                    <a:lnTo>
                      <a:pt x="541" y="373"/>
                    </a:lnTo>
                    <a:lnTo>
                      <a:pt x="541" y="376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1" y="380"/>
                    </a:lnTo>
                    <a:lnTo>
                      <a:pt x="539" y="380"/>
                    </a:lnTo>
                    <a:lnTo>
                      <a:pt x="539" y="383"/>
                    </a:lnTo>
                    <a:lnTo>
                      <a:pt x="539" y="385"/>
                    </a:lnTo>
                    <a:lnTo>
                      <a:pt x="536" y="390"/>
                    </a:lnTo>
                    <a:lnTo>
                      <a:pt x="536" y="392"/>
                    </a:lnTo>
                    <a:lnTo>
                      <a:pt x="536" y="392"/>
                    </a:lnTo>
                    <a:lnTo>
                      <a:pt x="539" y="395"/>
                    </a:lnTo>
                    <a:lnTo>
                      <a:pt x="539" y="395"/>
                    </a:lnTo>
                    <a:lnTo>
                      <a:pt x="539" y="397"/>
                    </a:lnTo>
                    <a:lnTo>
                      <a:pt x="536" y="397"/>
                    </a:lnTo>
                    <a:lnTo>
                      <a:pt x="536" y="399"/>
                    </a:lnTo>
                    <a:lnTo>
                      <a:pt x="536" y="404"/>
                    </a:lnTo>
                    <a:lnTo>
                      <a:pt x="536" y="406"/>
                    </a:lnTo>
                    <a:lnTo>
                      <a:pt x="534" y="409"/>
                    </a:lnTo>
                    <a:lnTo>
                      <a:pt x="532" y="411"/>
                    </a:lnTo>
                    <a:lnTo>
                      <a:pt x="529" y="411"/>
                    </a:lnTo>
                    <a:lnTo>
                      <a:pt x="527" y="411"/>
                    </a:lnTo>
                    <a:lnTo>
                      <a:pt x="527" y="414"/>
                    </a:lnTo>
                    <a:lnTo>
                      <a:pt x="525" y="414"/>
                    </a:lnTo>
                    <a:lnTo>
                      <a:pt x="520" y="411"/>
                    </a:lnTo>
                    <a:lnTo>
                      <a:pt x="518" y="414"/>
                    </a:lnTo>
                    <a:lnTo>
                      <a:pt x="515" y="414"/>
                    </a:lnTo>
                    <a:lnTo>
                      <a:pt x="513" y="414"/>
                    </a:lnTo>
                    <a:lnTo>
                      <a:pt x="510" y="416"/>
                    </a:lnTo>
                    <a:lnTo>
                      <a:pt x="510" y="416"/>
                    </a:lnTo>
                    <a:lnTo>
                      <a:pt x="510" y="418"/>
                    </a:lnTo>
                    <a:lnTo>
                      <a:pt x="508" y="418"/>
                    </a:lnTo>
                    <a:lnTo>
                      <a:pt x="508" y="418"/>
                    </a:lnTo>
                    <a:lnTo>
                      <a:pt x="508" y="418"/>
                    </a:lnTo>
                    <a:lnTo>
                      <a:pt x="506" y="418"/>
                    </a:lnTo>
                    <a:lnTo>
                      <a:pt x="503" y="418"/>
                    </a:lnTo>
                    <a:lnTo>
                      <a:pt x="501" y="418"/>
                    </a:lnTo>
                    <a:lnTo>
                      <a:pt x="501" y="418"/>
                    </a:lnTo>
                    <a:lnTo>
                      <a:pt x="501" y="418"/>
                    </a:lnTo>
                    <a:lnTo>
                      <a:pt x="501" y="418"/>
                    </a:lnTo>
                    <a:lnTo>
                      <a:pt x="501" y="421"/>
                    </a:lnTo>
                    <a:lnTo>
                      <a:pt x="501" y="423"/>
                    </a:lnTo>
                    <a:lnTo>
                      <a:pt x="499" y="421"/>
                    </a:lnTo>
                    <a:lnTo>
                      <a:pt x="501" y="423"/>
                    </a:lnTo>
                    <a:lnTo>
                      <a:pt x="501" y="425"/>
                    </a:lnTo>
                    <a:lnTo>
                      <a:pt x="501" y="425"/>
                    </a:lnTo>
                    <a:lnTo>
                      <a:pt x="499" y="428"/>
                    </a:lnTo>
                    <a:lnTo>
                      <a:pt x="501" y="428"/>
                    </a:lnTo>
                    <a:lnTo>
                      <a:pt x="499" y="430"/>
                    </a:lnTo>
                    <a:lnTo>
                      <a:pt x="496" y="432"/>
                    </a:lnTo>
                    <a:lnTo>
                      <a:pt x="496" y="430"/>
                    </a:lnTo>
                    <a:lnTo>
                      <a:pt x="494" y="430"/>
                    </a:lnTo>
                    <a:lnTo>
                      <a:pt x="494" y="432"/>
                    </a:lnTo>
                    <a:lnTo>
                      <a:pt x="494" y="432"/>
                    </a:lnTo>
                    <a:lnTo>
                      <a:pt x="494" y="432"/>
                    </a:lnTo>
                    <a:lnTo>
                      <a:pt x="494" y="435"/>
                    </a:lnTo>
                    <a:lnTo>
                      <a:pt x="494" y="435"/>
                    </a:lnTo>
                    <a:lnTo>
                      <a:pt x="494" y="435"/>
                    </a:lnTo>
                    <a:lnTo>
                      <a:pt x="494" y="437"/>
                    </a:lnTo>
                    <a:lnTo>
                      <a:pt x="494" y="437"/>
                    </a:lnTo>
                    <a:lnTo>
                      <a:pt x="494" y="437"/>
                    </a:lnTo>
                    <a:lnTo>
                      <a:pt x="494" y="439"/>
                    </a:lnTo>
                    <a:lnTo>
                      <a:pt x="494" y="439"/>
                    </a:lnTo>
                    <a:lnTo>
                      <a:pt x="494" y="439"/>
                    </a:lnTo>
                    <a:lnTo>
                      <a:pt x="492" y="442"/>
                    </a:lnTo>
                    <a:lnTo>
                      <a:pt x="492" y="442"/>
                    </a:lnTo>
                    <a:lnTo>
                      <a:pt x="492" y="442"/>
                    </a:lnTo>
                    <a:lnTo>
                      <a:pt x="492" y="442"/>
                    </a:lnTo>
                    <a:lnTo>
                      <a:pt x="492" y="442"/>
                    </a:lnTo>
                    <a:lnTo>
                      <a:pt x="489" y="442"/>
                    </a:lnTo>
                    <a:lnTo>
                      <a:pt x="492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9" y="444"/>
                    </a:lnTo>
                    <a:lnTo>
                      <a:pt x="487" y="444"/>
                    </a:lnTo>
                    <a:lnTo>
                      <a:pt x="487" y="444"/>
                    </a:lnTo>
                    <a:lnTo>
                      <a:pt x="487" y="447"/>
                    </a:lnTo>
                    <a:lnTo>
                      <a:pt x="487" y="447"/>
                    </a:lnTo>
                    <a:lnTo>
                      <a:pt x="487" y="447"/>
                    </a:lnTo>
                    <a:lnTo>
                      <a:pt x="484" y="447"/>
                    </a:lnTo>
                    <a:lnTo>
                      <a:pt x="484" y="447"/>
                    </a:lnTo>
                    <a:lnTo>
                      <a:pt x="484" y="447"/>
                    </a:lnTo>
                    <a:lnTo>
                      <a:pt x="484" y="447"/>
                    </a:lnTo>
                    <a:lnTo>
                      <a:pt x="484" y="447"/>
                    </a:lnTo>
                    <a:lnTo>
                      <a:pt x="487" y="447"/>
                    </a:lnTo>
                    <a:lnTo>
                      <a:pt x="487" y="447"/>
                    </a:lnTo>
                    <a:lnTo>
                      <a:pt x="487" y="449"/>
                    </a:lnTo>
                    <a:lnTo>
                      <a:pt x="487" y="449"/>
                    </a:lnTo>
                    <a:lnTo>
                      <a:pt x="487" y="449"/>
                    </a:lnTo>
                    <a:lnTo>
                      <a:pt x="487" y="449"/>
                    </a:lnTo>
                    <a:lnTo>
                      <a:pt x="487" y="451"/>
                    </a:lnTo>
                    <a:lnTo>
                      <a:pt x="484" y="451"/>
                    </a:lnTo>
                    <a:lnTo>
                      <a:pt x="484" y="451"/>
                    </a:lnTo>
                    <a:lnTo>
                      <a:pt x="484" y="451"/>
                    </a:lnTo>
                    <a:lnTo>
                      <a:pt x="484" y="454"/>
                    </a:lnTo>
                    <a:lnTo>
                      <a:pt x="484" y="454"/>
                    </a:lnTo>
                    <a:lnTo>
                      <a:pt x="487" y="454"/>
                    </a:lnTo>
                    <a:lnTo>
                      <a:pt x="487" y="454"/>
                    </a:lnTo>
                    <a:lnTo>
                      <a:pt x="487" y="456"/>
                    </a:lnTo>
                    <a:lnTo>
                      <a:pt x="489" y="456"/>
                    </a:lnTo>
                    <a:lnTo>
                      <a:pt x="487" y="456"/>
                    </a:lnTo>
                    <a:lnTo>
                      <a:pt x="489" y="456"/>
                    </a:lnTo>
                    <a:lnTo>
                      <a:pt x="489" y="458"/>
                    </a:lnTo>
                    <a:lnTo>
                      <a:pt x="489" y="461"/>
                    </a:lnTo>
                    <a:lnTo>
                      <a:pt x="487" y="461"/>
                    </a:lnTo>
                    <a:lnTo>
                      <a:pt x="484" y="461"/>
                    </a:lnTo>
                    <a:lnTo>
                      <a:pt x="484" y="463"/>
                    </a:lnTo>
                    <a:lnTo>
                      <a:pt x="484" y="463"/>
                    </a:lnTo>
                    <a:lnTo>
                      <a:pt x="484" y="463"/>
                    </a:lnTo>
                    <a:lnTo>
                      <a:pt x="482" y="463"/>
                    </a:lnTo>
                    <a:lnTo>
                      <a:pt x="484" y="468"/>
                    </a:lnTo>
                    <a:lnTo>
                      <a:pt x="484" y="468"/>
                    </a:lnTo>
                    <a:lnTo>
                      <a:pt x="484" y="470"/>
                    </a:lnTo>
                    <a:lnTo>
                      <a:pt x="484" y="470"/>
                    </a:lnTo>
                    <a:lnTo>
                      <a:pt x="484" y="470"/>
                    </a:lnTo>
                    <a:lnTo>
                      <a:pt x="487" y="470"/>
                    </a:lnTo>
                    <a:lnTo>
                      <a:pt x="487" y="473"/>
                    </a:lnTo>
                    <a:lnTo>
                      <a:pt x="487" y="473"/>
                    </a:lnTo>
                    <a:lnTo>
                      <a:pt x="487" y="477"/>
                    </a:lnTo>
                    <a:lnTo>
                      <a:pt x="484" y="477"/>
                    </a:lnTo>
                    <a:lnTo>
                      <a:pt x="487" y="477"/>
                    </a:lnTo>
                    <a:lnTo>
                      <a:pt x="484" y="480"/>
                    </a:lnTo>
                    <a:lnTo>
                      <a:pt x="484" y="480"/>
                    </a:lnTo>
                    <a:lnTo>
                      <a:pt x="484" y="480"/>
                    </a:lnTo>
                    <a:lnTo>
                      <a:pt x="484" y="480"/>
                    </a:lnTo>
                    <a:lnTo>
                      <a:pt x="484" y="482"/>
                    </a:lnTo>
                    <a:lnTo>
                      <a:pt x="482" y="482"/>
                    </a:lnTo>
                    <a:lnTo>
                      <a:pt x="480" y="482"/>
                    </a:lnTo>
                    <a:lnTo>
                      <a:pt x="480" y="484"/>
                    </a:lnTo>
                    <a:lnTo>
                      <a:pt x="480" y="482"/>
                    </a:lnTo>
                    <a:lnTo>
                      <a:pt x="477" y="482"/>
                    </a:lnTo>
                    <a:lnTo>
                      <a:pt x="477" y="482"/>
                    </a:lnTo>
                    <a:lnTo>
                      <a:pt x="475" y="484"/>
                    </a:lnTo>
                    <a:lnTo>
                      <a:pt x="475" y="487"/>
                    </a:lnTo>
                    <a:lnTo>
                      <a:pt x="475" y="487"/>
                    </a:lnTo>
                    <a:lnTo>
                      <a:pt x="477" y="487"/>
                    </a:lnTo>
                    <a:lnTo>
                      <a:pt x="477" y="487"/>
                    </a:lnTo>
                    <a:lnTo>
                      <a:pt x="480" y="489"/>
                    </a:lnTo>
                    <a:lnTo>
                      <a:pt x="477" y="489"/>
                    </a:lnTo>
                    <a:lnTo>
                      <a:pt x="477" y="491"/>
                    </a:lnTo>
                    <a:lnTo>
                      <a:pt x="475" y="491"/>
                    </a:lnTo>
                    <a:lnTo>
                      <a:pt x="475" y="491"/>
                    </a:lnTo>
                    <a:lnTo>
                      <a:pt x="473" y="494"/>
                    </a:lnTo>
                    <a:lnTo>
                      <a:pt x="473" y="494"/>
                    </a:lnTo>
                    <a:lnTo>
                      <a:pt x="473" y="494"/>
                    </a:lnTo>
                    <a:lnTo>
                      <a:pt x="473" y="496"/>
                    </a:lnTo>
                    <a:lnTo>
                      <a:pt x="473" y="496"/>
                    </a:lnTo>
                    <a:lnTo>
                      <a:pt x="473" y="499"/>
                    </a:lnTo>
                    <a:lnTo>
                      <a:pt x="473" y="499"/>
                    </a:lnTo>
                    <a:lnTo>
                      <a:pt x="470" y="499"/>
                    </a:lnTo>
                    <a:lnTo>
                      <a:pt x="470" y="499"/>
                    </a:lnTo>
                    <a:lnTo>
                      <a:pt x="470" y="499"/>
                    </a:lnTo>
                    <a:lnTo>
                      <a:pt x="470" y="501"/>
                    </a:lnTo>
                    <a:lnTo>
                      <a:pt x="470" y="501"/>
                    </a:lnTo>
                    <a:lnTo>
                      <a:pt x="466" y="501"/>
                    </a:lnTo>
                    <a:lnTo>
                      <a:pt x="466" y="501"/>
                    </a:lnTo>
                    <a:lnTo>
                      <a:pt x="468" y="503"/>
                    </a:lnTo>
                    <a:lnTo>
                      <a:pt x="468" y="501"/>
                    </a:lnTo>
                    <a:lnTo>
                      <a:pt x="468" y="503"/>
                    </a:lnTo>
                    <a:lnTo>
                      <a:pt x="470" y="503"/>
                    </a:lnTo>
                    <a:lnTo>
                      <a:pt x="470" y="503"/>
                    </a:lnTo>
                    <a:lnTo>
                      <a:pt x="468" y="506"/>
                    </a:lnTo>
                    <a:lnTo>
                      <a:pt x="468" y="506"/>
                    </a:lnTo>
                    <a:lnTo>
                      <a:pt x="468" y="506"/>
                    </a:lnTo>
                    <a:lnTo>
                      <a:pt x="466" y="506"/>
                    </a:lnTo>
                    <a:lnTo>
                      <a:pt x="468" y="508"/>
                    </a:lnTo>
                    <a:lnTo>
                      <a:pt x="466" y="508"/>
                    </a:lnTo>
                    <a:lnTo>
                      <a:pt x="466" y="508"/>
                    </a:lnTo>
                    <a:lnTo>
                      <a:pt x="468" y="510"/>
                    </a:lnTo>
                    <a:lnTo>
                      <a:pt x="468" y="508"/>
                    </a:lnTo>
                    <a:lnTo>
                      <a:pt x="470" y="508"/>
                    </a:lnTo>
                    <a:lnTo>
                      <a:pt x="473" y="510"/>
                    </a:lnTo>
                    <a:lnTo>
                      <a:pt x="473" y="508"/>
                    </a:lnTo>
                    <a:lnTo>
                      <a:pt x="473" y="510"/>
                    </a:lnTo>
                    <a:lnTo>
                      <a:pt x="473" y="510"/>
                    </a:lnTo>
                    <a:lnTo>
                      <a:pt x="475" y="510"/>
                    </a:lnTo>
                    <a:lnTo>
                      <a:pt x="475" y="510"/>
                    </a:lnTo>
                    <a:lnTo>
                      <a:pt x="475" y="510"/>
                    </a:lnTo>
                    <a:lnTo>
                      <a:pt x="477" y="510"/>
                    </a:lnTo>
                    <a:lnTo>
                      <a:pt x="482" y="508"/>
                    </a:lnTo>
                    <a:lnTo>
                      <a:pt x="484" y="508"/>
                    </a:lnTo>
                    <a:lnTo>
                      <a:pt x="484" y="510"/>
                    </a:lnTo>
                    <a:lnTo>
                      <a:pt x="484" y="510"/>
                    </a:lnTo>
                    <a:lnTo>
                      <a:pt x="484" y="510"/>
                    </a:lnTo>
                    <a:lnTo>
                      <a:pt x="482" y="510"/>
                    </a:lnTo>
                    <a:lnTo>
                      <a:pt x="484" y="513"/>
                    </a:lnTo>
                    <a:lnTo>
                      <a:pt x="482" y="513"/>
                    </a:lnTo>
                    <a:lnTo>
                      <a:pt x="484" y="513"/>
                    </a:lnTo>
                    <a:lnTo>
                      <a:pt x="482" y="515"/>
                    </a:lnTo>
                    <a:lnTo>
                      <a:pt x="484" y="515"/>
                    </a:lnTo>
                    <a:lnTo>
                      <a:pt x="482" y="515"/>
                    </a:lnTo>
                    <a:lnTo>
                      <a:pt x="484" y="517"/>
                    </a:lnTo>
                    <a:lnTo>
                      <a:pt x="484" y="517"/>
                    </a:lnTo>
                    <a:lnTo>
                      <a:pt x="487" y="517"/>
                    </a:lnTo>
                    <a:lnTo>
                      <a:pt x="487" y="517"/>
                    </a:lnTo>
                    <a:lnTo>
                      <a:pt x="489" y="515"/>
                    </a:lnTo>
                    <a:lnTo>
                      <a:pt x="489" y="517"/>
                    </a:lnTo>
                    <a:lnTo>
                      <a:pt x="489" y="517"/>
                    </a:lnTo>
                    <a:lnTo>
                      <a:pt x="489" y="517"/>
                    </a:lnTo>
                    <a:lnTo>
                      <a:pt x="492" y="520"/>
                    </a:lnTo>
                    <a:lnTo>
                      <a:pt x="494" y="520"/>
                    </a:lnTo>
                    <a:lnTo>
                      <a:pt x="494" y="522"/>
                    </a:lnTo>
                    <a:lnTo>
                      <a:pt x="494" y="525"/>
                    </a:lnTo>
                    <a:lnTo>
                      <a:pt x="494" y="525"/>
                    </a:lnTo>
                    <a:lnTo>
                      <a:pt x="494" y="527"/>
                    </a:lnTo>
                    <a:lnTo>
                      <a:pt x="496" y="525"/>
                    </a:lnTo>
                    <a:lnTo>
                      <a:pt x="496" y="527"/>
                    </a:lnTo>
                    <a:lnTo>
                      <a:pt x="499" y="527"/>
                    </a:lnTo>
                    <a:lnTo>
                      <a:pt x="496" y="529"/>
                    </a:lnTo>
                    <a:lnTo>
                      <a:pt x="496" y="532"/>
                    </a:lnTo>
                    <a:lnTo>
                      <a:pt x="499" y="534"/>
                    </a:lnTo>
                    <a:lnTo>
                      <a:pt x="496" y="534"/>
                    </a:lnTo>
                    <a:lnTo>
                      <a:pt x="496" y="536"/>
                    </a:lnTo>
                    <a:lnTo>
                      <a:pt x="496" y="536"/>
                    </a:lnTo>
                    <a:lnTo>
                      <a:pt x="494" y="536"/>
                    </a:lnTo>
                    <a:lnTo>
                      <a:pt x="494" y="539"/>
                    </a:lnTo>
                    <a:lnTo>
                      <a:pt x="494" y="539"/>
                    </a:lnTo>
                    <a:lnTo>
                      <a:pt x="494" y="541"/>
                    </a:lnTo>
                    <a:lnTo>
                      <a:pt x="499" y="539"/>
                    </a:lnTo>
                    <a:lnTo>
                      <a:pt x="499" y="539"/>
                    </a:lnTo>
                    <a:lnTo>
                      <a:pt x="499" y="541"/>
                    </a:lnTo>
                    <a:lnTo>
                      <a:pt x="501" y="543"/>
                    </a:lnTo>
                    <a:lnTo>
                      <a:pt x="501" y="546"/>
                    </a:lnTo>
                    <a:lnTo>
                      <a:pt x="503" y="546"/>
                    </a:lnTo>
                    <a:lnTo>
                      <a:pt x="503" y="548"/>
                    </a:lnTo>
                    <a:lnTo>
                      <a:pt x="506" y="551"/>
                    </a:lnTo>
                    <a:lnTo>
                      <a:pt x="503" y="553"/>
                    </a:lnTo>
                    <a:lnTo>
                      <a:pt x="503" y="553"/>
                    </a:lnTo>
                    <a:lnTo>
                      <a:pt x="508" y="555"/>
                    </a:lnTo>
                    <a:lnTo>
                      <a:pt x="508" y="553"/>
                    </a:lnTo>
                    <a:lnTo>
                      <a:pt x="508" y="553"/>
                    </a:lnTo>
                    <a:lnTo>
                      <a:pt x="510" y="553"/>
                    </a:lnTo>
                    <a:lnTo>
                      <a:pt x="513" y="553"/>
                    </a:lnTo>
                    <a:lnTo>
                      <a:pt x="515" y="551"/>
                    </a:lnTo>
                    <a:lnTo>
                      <a:pt x="518" y="551"/>
                    </a:lnTo>
                    <a:lnTo>
                      <a:pt x="518" y="553"/>
                    </a:lnTo>
                    <a:lnTo>
                      <a:pt x="520" y="553"/>
                    </a:lnTo>
                    <a:lnTo>
                      <a:pt x="520" y="555"/>
                    </a:lnTo>
                    <a:lnTo>
                      <a:pt x="520" y="555"/>
                    </a:lnTo>
                    <a:lnTo>
                      <a:pt x="520" y="558"/>
                    </a:lnTo>
                    <a:lnTo>
                      <a:pt x="520" y="560"/>
                    </a:lnTo>
                    <a:lnTo>
                      <a:pt x="522" y="560"/>
                    </a:lnTo>
                    <a:lnTo>
                      <a:pt x="522" y="560"/>
                    </a:lnTo>
                    <a:lnTo>
                      <a:pt x="525" y="562"/>
                    </a:lnTo>
                    <a:lnTo>
                      <a:pt x="527" y="562"/>
                    </a:lnTo>
                    <a:lnTo>
                      <a:pt x="529" y="562"/>
                    </a:lnTo>
                    <a:lnTo>
                      <a:pt x="529" y="562"/>
                    </a:lnTo>
                    <a:lnTo>
                      <a:pt x="529" y="565"/>
                    </a:lnTo>
                    <a:lnTo>
                      <a:pt x="529" y="567"/>
                    </a:lnTo>
                    <a:lnTo>
                      <a:pt x="529" y="567"/>
                    </a:lnTo>
                    <a:lnTo>
                      <a:pt x="529" y="569"/>
                    </a:lnTo>
                    <a:lnTo>
                      <a:pt x="529" y="572"/>
                    </a:lnTo>
                    <a:lnTo>
                      <a:pt x="534" y="572"/>
                    </a:lnTo>
                    <a:lnTo>
                      <a:pt x="534" y="572"/>
                    </a:lnTo>
                    <a:lnTo>
                      <a:pt x="527" y="576"/>
                    </a:lnTo>
                    <a:lnTo>
                      <a:pt x="527" y="576"/>
                    </a:lnTo>
                    <a:lnTo>
                      <a:pt x="527" y="579"/>
                    </a:lnTo>
                    <a:lnTo>
                      <a:pt x="525" y="581"/>
                    </a:lnTo>
                    <a:lnTo>
                      <a:pt x="525" y="586"/>
                    </a:lnTo>
                    <a:lnTo>
                      <a:pt x="522" y="588"/>
                    </a:lnTo>
                    <a:lnTo>
                      <a:pt x="518" y="591"/>
                    </a:lnTo>
                    <a:lnTo>
                      <a:pt x="520" y="593"/>
                    </a:lnTo>
                    <a:lnTo>
                      <a:pt x="520" y="595"/>
                    </a:lnTo>
                    <a:lnTo>
                      <a:pt x="520" y="598"/>
                    </a:lnTo>
                    <a:lnTo>
                      <a:pt x="520" y="598"/>
                    </a:lnTo>
                    <a:lnTo>
                      <a:pt x="522" y="598"/>
                    </a:lnTo>
                    <a:lnTo>
                      <a:pt x="527" y="598"/>
                    </a:lnTo>
                    <a:lnTo>
                      <a:pt x="529" y="600"/>
                    </a:lnTo>
                    <a:lnTo>
                      <a:pt x="529" y="600"/>
                    </a:lnTo>
                    <a:lnTo>
                      <a:pt x="529" y="602"/>
                    </a:lnTo>
                    <a:lnTo>
                      <a:pt x="527" y="605"/>
                    </a:lnTo>
                    <a:lnTo>
                      <a:pt x="527" y="605"/>
                    </a:lnTo>
                    <a:lnTo>
                      <a:pt x="529" y="607"/>
                    </a:lnTo>
                    <a:lnTo>
                      <a:pt x="534" y="607"/>
                    </a:lnTo>
                    <a:lnTo>
                      <a:pt x="536" y="605"/>
                    </a:lnTo>
                    <a:lnTo>
                      <a:pt x="536" y="607"/>
                    </a:lnTo>
                    <a:lnTo>
                      <a:pt x="539" y="607"/>
                    </a:lnTo>
                    <a:lnTo>
                      <a:pt x="539" y="610"/>
                    </a:lnTo>
                    <a:lnTo>
                      <a:pt x="539" y="610"/>
                    </a:lnTo>
                    <a:lnTo>
                      <a:pt x="541" y="612"/>
                    </a:lnTo>
                    <a:lnTo>
                      <a:pt x="539" y="612"/>
                    </a:lnTo>
                    <a:lnTo>
                      <a:pt x="539" y="614"/>
                    </a:lnTo>
                    <a:lnTo>
                      <a:pt x="541" y="614"/>
                    </a:lnTo>
                    <a:lnTo>
                      <a:pt x="541" y="617"/>
                    </a:lnTo>
                    <a:lnTo>
                      <a:pt x="541" y="619"/>
                    </a:lnTo>
                    <a:lnTo>
                      <a:pt x="541" y="621"/>
                    </a:lnTo>
                    <a:lnTo>
                      <a:pt x="544" y="621"/>
                    </a:lnTo>
                    <a:lnTo>
                      <a:pt x="541" y="624"/>
                    </a:lnTo>
                    <a:lnTo>
                      <a:pt x="541" y="628"/>
                    </a:lnTo>
                    <a:lnTo>
                      <a:pt x="541" y="628"/>
                    </a:lnTo>
                    <a:lnTo>
                      <a:pt x="544" y="633"/>
                    </a:lnTo>
                    <a:lnTo>
                      <a:pt x="544" y="638"/>
                    </a:lnTo>
                    <a:lnTo>
                      <a:pt x="544" y="638"/>
                    </a:lnTo>
                    <a:lnTo>
                      <a:pt x="546" y="640"/>
                    </a:lnTo>
                    <a:lnTo>
                      <a:pt x="548" y="643"/>
                    </a:lnTo>
                    <a:lnTo>
                      <a:pt x="548" y="643"/>
                    </a:lnTo>
                    <a:lnTo>
                      <a:pt x="553" y="647"/>
                    </a:lnTo>
                    <a:lnTo>
                      <a:pt x="555" y="652"/>
                    </a:lnTo>
                    <a:lnTo>
                      <a:pt x="558" y="654"/>
                    </a:lnTo>
                    <a:lnTo>
                      <a:pt x="560" y="654"/>
                    </a:lnTo>
                    <a:lnTo>
                      <a:pt x="562" y="654"/>
                    </a:lnTo>
                    <a:lnTo>
                      <a:pt x="562" y="654"/>
                    </a:lnTo>
                    <a:lnTo>
                      <a:pt x="567" y="654"/>
                    </a:lnTo>
                    <a:lnTo>
                      <a:pt x="572" y="654"/>
                    </a:lnTo>
                    <a:lnTo>
                      <a:pt x="574" y="652"/>
                    </a:lnTo>
                    <a:lnTo>
                      <a:pt x="577" y="654"/>
                    </a:lnTo>
                    <a:lnTo>
                      <a:pt x="577" y="654"/>
                    </a:lnTo>
                    <a:lnTo>
                      <a:pt x="577" y="654"/>
                    </a:lnTo>
                    <a:lnTo>
                      <a:pt x="581" y="659"/>
                    </a:lnTo>
                    <a:lnTo>
                      <a:pt x="584" y="657"/>
                    </a:lnTo>
                    <a:lnTo>
                      <a:pt x="588" y="659"/>
                    </a:lnTo>
                    <a:lnTo>
                      <a:pt x="596" y="654"/>
                    </a:lnTo>
                    <a:lnTo>
                      <a:pt x="596" y="654"/>
                    </a:lnTo>
                    <a:lnTo>
                      <a:pt x="598" y="654"/>
                    </a:lnTo>
                    <a:lnTo>
                      <a:pt x="598" y="654"/>
                    </a:lnTo>
                    <a:lnTo>
                      <a:pt x="600" y="662"/>
                    </a:lnTo>
                    <a:lnTo>
                      <a:pt x="600" y="664"/>
                    </a:lnTo>
                    <a:lnTo>
                      <a:pt x="603" y="664"/>
                    </a:lnTo>
                    <a:lnTo>
                      <a:pt x="605" y="664"/>
                    </a:lnTo>
                    <a:lnTo>
                      <a:pt x="607" y="664"/>
                    </a:lnTo>
                    <a:lnTo>
                      <a:pt x="610" y="664"/>
                    </a:lnTo>
                    <a:lnTo>
                      <a:pt x="617" y="662"/>
                    </a:lnTo>
                    <a:lnTo>
                      <a:pt x="622" y="664"/>
                    </a:lnTo>
                    <a:lnTo>
                      <a:pt x="629" y="666"/>
                    </a:lnTo>
                    <a:lnTo>
                      <a:pt x="633" y="662"/>
                    </a:lnTo>
                    <a:lnTo>
                      <a:pt x="636" y="662"/>
                    </a:lnTo>
                    <a:lnTo>
                      <a:pt x="636" y="657"/>
                    </a:lnTo>
                    <a:lnTo>
                      <a:pt x="636" y="654"/>
                    </a:lnTo>
                    <a:lnTo>
                      <a:pt x="636" y="654"/>
                    </a:lnTo>
                    <a:lnTo>
                      <a:pt x="636" y="652"/>
                    </a:lnTo>
                    <a:lnTo>
                      <a:pt x="638" y="652"/>
                    </a:lnTo>
                    <a:lnTo>
                      <a:pt x="640" y="652"/>
                    </a:lnTo>
                    <a:lnTo>
                      <a:pt x="640" y="654"/>
                    </a:lnTo>
                    <a:lnTo>
                      <a:pt x="638" y="654"/>
                    </a:lnTo>
                    <a:lnTo>
                      <a:pt x="640" y="659"/>
                    </a:lnTo>
                    <a:lnTo>
                      <a:pt x="640" y="662"/>
                    </a:lnTo>
                    <a:lnTo>
                      <a:pt x="640" y="664"/>
                    </a:lnTo>
                    <a:lnTo>
                      <a:pt x="640" y="666"/>
                    </a:lnTo>
                    <a:lnTo>
                      <a:pt x="638" y="666"/>
                    </a:lnTo>
                    <a:lnTo>
                      <a:pt x="638" y="669"/>
                    </a:lnTo>
                    <a:lnTo>
                      <a:pt x="636" y="673"/>
                    </a:lnTo>
                    <a:lnTo>
                      <a:pt x="636" y="676"/>
                    </a:lnTo>
                    <a:lnTo>
                      <a:pt x="633" y="676"/>
                    </a:lnTo>
                    <a:lnTo>
                      <a:pt x="629" y="676"/>
                    </a:lnTo>
                    <a:lnTo>
                      <a:pt x="626" y="678"/>
                    </a:lnTo>
                    <a:lnTo>
                      <a:pt x="624" y="678"/>
                    </a:lnTo>
                    <a:lnTo>
                      <a:pt x="624" y="678"/>
                    </a:lnTo>
                    <a:lnTo>
                      <a:pt x="624" y="680"/>
                    </a:lnTo>
                    <a:lnTo>
                      <a:pt x="624" y="680"/>
                    </a:lnTo>
                    <a:lnTo>
                      <a:pt x="622" y="683"/>
                    </a:lnTo>
                    <a:lnTo>
                      <a:pt x="624" y="685"/>
                    </a:lnTo>
                    <a:lnTo>
                      <a:pt x="624" y="688"/>
                    </a:lnTo>
                    <a:lnTo>
                      <a:pt x="622" y="688"/>
                    </a:lnTo>
                    <a:lnTo>
                      <a:pt x="619" y="688"/>
                    </a:lnTo>
                    <a:lnTo>
                      <a:pt x="617" y="690"/>
                    </a:lnTo>
                    <a:lnTo>
                      <a:pt x="614" y="692"/>
                    </a:lnTo>
                    <a:lnTo>
                      <a:pt x="612" y="692"/>
                    </a:lnTo>
                    <a:lnTo>
                      <a:pt x="607" y="697"/>
                    </a:lnTo>
                    <a:lnTo>
                      <a:pt x="605" y="697"/>
                    </a:lnTo>
                    <a:lnTo>
                      <a:pt x="605" y="699"/>
                    </a:lnTo>
                    <a:lnTo>
                      <a:pt x="603" y="699"/>
                    </a:lnTo>
                    <a:lnTo>
                      <a:pt x="603" y="702"/>
                    </a:lnTo>
                    <a:lnTo>
                      <a:pt x="600" y="702"/>
                    </a:lnTo>
                    <a:lnTo>
                      <a:pt x="598" y="702"/>
                    </a:lnTo>
                    <a:lnTo>
                      <a:pt x="598" y="704"/>
                    </a:lnTo>
                    <a:lnTo>
                      <a:pt x="593" y="706"/>
                    </a:lnTo>
                    <a:lnTo>
                      <a:pt x="593" y="709"/>
                    </a:lnTo>
                    <a:lnTo>
                      <a:pt x="593" y="709"/>
                    </a:lnTo>
                    <a:lnTo>
                      <a:pt x="591" y="711"/>
                    </a:lnTo>
                    <a:lnTo>
                      <a:pt x="588" y="709"/>
                    </a:lnTo>
                    <a:lnTo>
                      <a:pt x="586" y="711"/>
                    </a:lnTo>
                    <a:lnTo>
                      <a:pt x="584" y="711"/>
                    </a:lnTo>
                    <a:lnTo>
                      <a:pt x="581" y="713"/>
                    </a:lnTo>
                    <a:lnTo>
                      <a:pt x="581" y="711"/>
                    </a:lnTo>
                    <a:lnTo>
                      <a:pt x="577" y="713"/>
                    </a:lnTo>
                    <a:lnTo>
                      <a:pt x="577" y="713"/>
                    </a:lnTo>
                    <a:lnTo>
                      <a:pt x="577" y="713"/>
                    </a:lnTo>
                    <a:lnTo>
                      <a:pt x="574" y="716"/>
                    </a:lnTo>
                    <a:lnTo>
                      <a:pt x="574" y="716"/>
                    </a:lnTo>
                    <a:lnTo>
                      <a:pt x="574" y="718"/>
                    </a:lnTo>
                    <a:lnTo>
                      <a:pt x="577" y="721"/>
                    </a:lnTo>
                    <a:lnTo>
                      <a:pt x="577" y="721"/>
                    </a:lnTo>
                    <a:lnTo>
                      <a:pt x="577" y="721"/>
                    </a:lnTo>
                    <a:lnTo>
                      <a:pt x="577" y="725"/>
                    </a:lnTo>
                    <a:lnTo>
                      <a:pt x="574" y="728"/>
                    </a:lnTo>
                    <a:lnTo>
                      <a:pt x="570" y="730"/>
                    </a:lnTo>
                    <a:lnTo>
                      <a:pt x="570" y="730"/>
                    </a:lnTo>
                    <a:lnTo>
                      <a:pt x="572" y="730"/>
                    </a:lnTo>
                    <a:lnTo>
                      <a:pt x="572" y="735"/>
                    </a:lnTo>
                    <a:lnTo>
                      <a:pt x="572" y="737"/>
                    </a:lnTo>
                    <a:lnTo>
                      <a:pt x="570" y="737"/>
                    </a:lnTo>
                    <a:lnTo>
                      <a:pt x="567" y="739"/>
                    </a:lnTo>
                    <a:lnTo>
                      <a:pt x="565" y="739"/>
                    </a:lnTo>
                    <a:lnTo>
                      <a:pt x="565" y="742"/>
                    </a:lnTo>
                    <a:lnTo>
                      <a:pt x="565" y="744"/>
                    </a:lnTo>
                    <a:lnTo>
                      <a:pt x="565" y="744"/>
                    </a:lnTo>
                    <a:lnTo>
                      <a:pt x="565" y="749"/>
                    </a:lnTo>
                    <a:lnTo>
                      <a:pt x="565" y="749"/>
                    </a:lnTo>
                    <a:lnTo>
                      <a:pt x="562" y="751"/>
                    </a:lnTo>
                    <a:lnTo>
                      <a:pt x="560" y="754"/>
                    </a:lnTo>
                    <a:lnTo>
                      <a:pt x="555" y="756"/>
                    </a:lnTo>
                    <a:lnTo>
                      <a:pt x="555" y="758"/>
                    </a:lnTo>
                    <a:lnTo>
                      <a:pt x="553" y="758"/>
                    </a:lnTo>
                    <a:lnTo>
                      <a:pt x="551" y="761"/>
                    </a:lnTo>
                    <a:lnTo>
                      <a:pt x="551" y="761"/>
                    </a:lnTo>
                    <a:lnTo>
                      <a:pt x="551" y="763"/>
                    </a:lnTo>
                    <a:lnTo>
                      <a:pt x="548" y="765"/>
                    </a:lnTo>
                    <a:lnTo>
                      <a:pt x="546" y="773"/>
                    </a:lnTo>
                    <a:lnTo>
                      <a:pt x="544" y="782"/>
                    </a:lnTo>
                    <a:lnTo>
                      <a:pt x="541" y="787"/>
                    </a:lnTo>
                    <a:lnTo>
                      <a:pt x="539" y="789"/>
                    </a:lnTo>
                    <a:lnTo>
                      <a:pt x="539" y="789"/>
                    </a:lnTo>
                    <a:lnTo>
                      <a:pt x="527" y="794"/>
                    </a:lnTo>
                    <a:lnTo>
                      <a:pt x="525" y="794"/>
                    </a:lnTo>
                    <a:lnTo>
                      <a:pt x="525" y="796"/>
                    </a:lnTo>
                    <a:lnTo>
                      <a:pt x="525" y="799"/>
                    </a:lnTo>
                    <a:lnTo>
                      <a:pt x="522" y="799"/>
                    </a:lnTo>
                    <a:lnTo>
                      <a:pt x="522" y="801"/>
                    </a:lnTo>
                    <a:lnTo>
                      <a:pt x="525" y="801"/>
                    </a:lnTo>
                    <a:lnTo>
                      <a:pt x="525" y="803"/>
                    </a:lnTo>
                    <a:lnTo>
                      <a:pt x="525" y="808"/>
                    </a:lnTo>
                    <a:lnTo>
                      <a:pt x="527" y="810"/>
                    </a:lnTo>
                    <a:lnTo>
                      <a:pt x="529" y="810"/>
                    </a:lnTo>
                    <a:lnTo>
                      <a:pt x="529" y="810"/>
                    </a:lnTo>
                    <a:lnTo>
                      <a:pt x="532" y="810"/>
                    </a:lnTo>
                    <a:lnTo>
                      <a:pt x="532" y="815"/>
                    </a:lnTo>
                    <a:lnTo>
                      <a:pt x="532" y="815"/>
                    </a:lnTo>
                    <a:lnTo>
                      <a:pt x="534" y="817"/>
                    </a:lnTo>
                    <a:lnTo>
                      <a:pt x="534" y="817"/>
                    </a:lnTo>
                    <a:lnTo>
                      <a:pt x="534" y="822"/>
                    </a:lnTo>
                    <a:lnTo>
                      <a:pt x="536" y="825"/>
                    </a:lnTo>
                    <a:lnTo>
                      <a:pt x="536" y="827"/>
                    </a:lnTo>
                    <a:lnTo>
                      <a:pt x="536" y="827"/>
                    </a:lnTo>
                    <a:lnTo>
                      <a:pt x="539" y="827"/>
                    </a:lnTo>
                    <a:lnTo>
                      <a:pt x="541" y="829"/>
                    </a:lnTo>
                    <a:lnTo>
                      <a:pt x="541" y="829"/>
                    </a:lnTo>
                    <a:lnTo>
                      <a:pt x="544" y="829"/>
                    </a:lnTo>
                    <a:lnTo>
                      <a:pt x="546" y="829"/>
                    </a:lnTo>
                    <a:lnTo>
                      <a:pt x="548" y="829"/>
                    </a:lnTo>
                    <a:lnTo>
                      <a:pt x="548" y="832"/>
                    </a:lnTo>
                    <a:lnTo>
                      <a:pt x="548" y="832"/>
                    </a:lnTo>
                    <a:lnTo>
                      <a:pt x="551" y="832"/>
                    </a:lnTo>
                    <a:lnTo>
                      <a:pt x="553" y="832"/>
                    </a:lnTo>
                    <a:lnTo>
                      <a:pt x="553" y="832"/>
                    </a:lnTo>
                    <a:lnTo>
                      <a:pt x="555" y="832"/>
                    </a:lnTo>
                    <a:lnTo>
                      <a:pt x="558" y="832"/>
                    </a:lnTo>
                    <a:lnTo>
                      <a:pt x="562" y="832"/>
                    </a:lnTo>
                    <a:lnTo>
                      <a:pt x="565" y="834"/>
                    </a:lnTo>
                    <a:lnTo>
                      <a:pt x="567" y="834"/>
                    </a:lnTo>
                    <a:lnTo>
                      <a:pt x="567" y="834"/>
                    </a:lnTo>
                    <a:lnTo>
                      <a:pt x="570" y="836"/>
                    </a:lnTo>
                    <a:lnTo>
                      <a:pt x="572" y="836"/>
                    </a:lnTo>
                    <a:lnTo>
                      <a:pt x="574" y="836"/>
                    </a:lnTo>
                    <a:lnTo>
                      <a:pt x="574" y="839"/>
                    </a:lnTo>
                    <a:lnTo>
                      <a:pt x="574" y="839"/>
                    </a:lnTo>
                    <a:lnTo>
                      <a:pt x="577" y="841"/>
                    </a:lnTo>
                    <a:lnTo>
                      <a:pt x="577" y="841"/>
                    </a:lnTo>
                    <a:lnTo>
                      <a:pt x="579" y="841"/>
                    </a:lnTo>
                    <a:lnTo>
                      <a:pt x="581" y="839"/>
                    </a:lnTo>
                    <a:lnTo>
                      <a:pt x="581" y="841"/>
                    </a:lnTo>
                    <a:lnTo>
                      <a:pt x="584" y="841"/>
                    </a:lnTo>
                    <a:lnTo>
                      <a:pt x="586" y="841"/>
                    </a:lnTo>
                    <a:lnTo>
                      <a:pt x="586" y="841"/>
                    </a:lnTo>
                    <a:lnTo>
                      <a:pt x="588" y="841"/>
                    </a:lnTo>
                    <a:lnTo>
                      <a:pt x="591" y="841"/>
                    </a:lnTo>
                    <a:lnTo>
                      <a:pt x="591" y="843"/>
                    </a:lnTo>
                    <a:lnTo>
                      <a:pt x="591" y="846"/>
                    </a:lnTo>
                    <a:lnTo>
                      <a:pt x="591" y="846"/>
                    </a:lnTo>
                    <a:lnTo>
                      <a:pt x="584" y="846"/>
                    </a:lnTo>
                    <a:lnTo>
                      <a:pt x="581" y="848"/>
                    </a:lnTo>
                    <a:lnTo>
                      <a:pt x="579" y="846"/>
                    </a:lnTo>
                    <a:lnTo>
                      <a:pt x="577" y="848"/>
                    </a:lnTo>
                    <a:lnTo>
                      <a:pt x="574" y="846"/>
                    </a:lnTo>
                    <a:lnTo>
                      <a:pt x="570" y="843"/>
                    </a:lnTo>
                    <a:lnTo>
                      <a:pt x="567" y="843"/>
                    </a:lnTo>
                    <a:lnTo>
                      <a:pt x="567" y="843"/>
                    </a:lnTo>
                    <a:lnTo>
                      <a:pt x="567" y="843"/>
                    </a:lnTo>
                    <a:lnTo>
                      <a:pt x="565" y="843"/>
                    </a:lnTo>
                    <a:lnTo>
                      <a:pt x="562" y="843"/>
                    </a:lnTo>
                    <a:lnTo>
                      <a:pt x="562" y="843"/>
                    </a:lnTo>
                    <a:lnTo>
                      <a:pt x="562" y="846"/>
                    </a:lnTo>
                    <a:lnTo>
                      <a:pt x="562" y="848"/>
                    </a:lnTo>
                    <a:lnTo>
                      <a:pt x="562" y="848"/>
                    </a:lnTo>
                    <a:lnTo>
                      <a:pt x="565" y="851"/>
                    </a:lnTo>
                    <a:lnTo>
                      <a:pt x="565" y="853"/>
                    </a:lnTo>
                    <a:lnTo>
                      <a:pt x="562" y="853"/>
                    </a:lnTo>
                    <a:lnTo>
                      <a:pt x="560" y="858"/>
                    </a:lnTo>
                    <a:lnTo>
                      <a:pt x="555" y="860"/>
                    </a:lnTo>
                    <a:lnTo>
                      <a:pt x="553" y="860"/>
                    </a:lnTo>
                    <a:lnTo>
                      <a:pt x="555" y="860"/>
                    </a:lnTo>
                    <a:lnTo>
                      <a:pt x="558" y="860"/>
                    </a:lnTo>
                    <a:lnTo>
                      <a:pt x="558" y="862"/>
                    </a:lnTo>
                    <a:lnTo>
                      <a:pt x="560" y="862"/>
                    </a:lnTo>
                    <a:lnTo>
                      <a:pt x="560" y="865"/>
                    </a:lnTo>
                    <a:lnTo>
                      <a:pt x="558" y="865"/>
                    </a:lnTo>
                    <a:lnTo>
                      <a:pt x="558" y="865"/>
                    </a:lnTo>
                    <a:lnTo>
                      <a:pt x="560" y="867"/>
                    </a:lnTo>
                    <a:lnTo>
                      <a:pt x="558" y="867"/>
                    </a:lnTo>
                    <a:lnTo>
                      <a:pt x="558" y="869"/>
                    </a:lnTo>
                    <a:lnTo>
                      <a:pt x="558" y="869"/>
                    </a:lnTo>
                    <a:lnTo>
                      <a:pt x="558" y="869"/>
                    </a:lnTo>
                    <a:lnTo>
                      <a:pt x="555" y="872"/>
                    </a:lnTo>
                    <a:lnTo>
                      <a:pt x="555" y="869"/>
                    </a:lnTo>
                    <a:lnTo>
                      <a:pt x="553" y="872"/>
                    </a:lnTo>
                    <a:lnTo>
                      <a:pt x="555" y="874"/>
                    </a:lnTo>
                    <a:lnTo>
                      <a:pt x="553" y="874"/>
                    </a:lnTo>
                    <a:lnTo>
                      <a:pt x="555" y="876"/>
                    </a:lnTo>
                    <a:lnTo>
                      <a:pt x="558" y="876"/>
                    </a:lnTo>
                    <a:lnTo>
                      <a:pt x="558" y="876"/>
                    </a:lnTo>
                    <a:lnTo>
                      <a:pt x="560" y="879"/>
                    </a:lnTo>
                    <a:lnTo>
                      <a:pt x="562" y="879"/>
                    </a:lnTo>
                    <a:lnTo>
                      <a:pt x="565" y="876"/>
                    </a:lnTo>
                    <a:lnTo>
                      <a:pt x="567" y="879"/>
                    </a:lnTo>
                    <a:lnTo>
                      <a:pt x="570" y="879"/>
                    </a:lnTo>
                    <a:lnTo>
                      <a:pt x="572" y="879"/>
                    </a:lnTo>
                    <a:lnTo>
                      <a:pt x="574" y="879"/>
                    </a:lnTo>
                    <a:lnTo>
                      <a:pt x="577" y="876"/>
                    </a:lnTo>
                    <a:lnTo>
                      <a:pt x="577" y="876"/>
                    </a:lnTo>
                    <a:lnTo>
                      <a:pt x="579" y="876"/>
                    </a:lnTo>
                    <a:lnTo>
                      <a:pt x="579" y="879"/>
                    </a:lnTo>
                    <a:lnTo>
                      <a:pt x="579" y="881"/>
                    </a:lnTo>
                    <a:lnTo>
                      <a:pt x="577" y="884"/>
                    </a:lnTo>
                    <a:lnTo>
                      <a:pt x="574" y="884"/>
                    </a:lnTo>
                    <a:lnTo>
                      <a:pt x="570" y="886"/>
                    </a:lnTo>
                    <a:lnTo>
                      <a:pt x="565" y="886"/>
                    </a:lnTo>
                    <a:lnTo>
                      <a:pt x="562" y="886"/>
                    </a:lnTo>
                    <a:lnTo>
                      <a:pt x="560" y="886"/>
                    </a:lnTo>
                    <a:lnTo>
                      <a:pt x="558" y="888"/>
                    </a:lnTo>
                    <a:lnTo>
                      <a:pt x="558" y="891"/>
                    </a:lnTo>
                    <a:lnTo>
                      <a:pt x="555" y="891"/>
                    </a:lnTo>
                    <a:lnTo>
                      <a:pt x="553" y="893"/>
                    </a:lnTo>
                    <a:lnTo>
                      <a:pt x="553" y="895"/>
                    </a:lnTo>
                    <a:lnTo>
                      <a:pt x="553" y="895"/>
                    </a:lnTo>
                    <a:lnTo>
                      <a:pt x="551" y="895"/>
                    </a:lnTo>
                    <a:lnTo>
                      <a:pt x="551" y="898"/>
                    </a:lnTo>
                    <a:lnTo>
                      <a:pt x="553" y="900"/>
                    </a:lnTo>
                    <a:lnTo>
                      <a:pt x="553" y="900"/>
                    </a:lnTo>
                    <a:lnTo>
                      <a:pt x="553" y="900"/>
                    </a:lnTo>
                    <a:lnTo>
                      <a:pt x="553" y="902"/>
                    </a:lnTo>
                    <a:lnTo>
                      <a:pt x="553" y="902"/>
                    </a:lnTo>
                    <a:lnTo>
                      <a:pt x="553" y="905"/>
                    </a:lnTo>
                    <a:lnTo>
                      <a:pt x="555" y="905"/>
                    </a:lnTo>
                    <a:lnTo>
                      <a:pt x="555" y="907"/>
                    </a:lnTo>
                    <a:lnTo>
                      <a:pt x="555" y="910"/>
                    </a:lnTo>
                    <a:lnTo>
                      <a:pt x="555" y="910"/>
                    </a:lnTo>
                    <a:lnTo>
                      <a:pt x="553" y="912"/>
                    </a:lnTo>
                    <a:lnTo>
                      <a:pt x="553" y="914"/>
                    </a:lnTo>
                    <a:lnTo>
                      <a:pt x="553" y="914"/>
                    </a:lnTo>
                    <a:lnTo>
                      <a:pt x="553" y="914"/>
                    </a:lnTo>
                    <a:lnTo>
                      <a:pt x="553" y="917"/>
                    </a:lnTo>
                    <a:lnTo>
                      <a:pt x="553" y="917"/>
                    </a:lnTo>
                    <a:lnTo>
                      <a:pt x="553" y="919"/>
                    </a:lnTo>
                    <a:lnTo>
                      <a:pt x="555" y="919"/>
                    </a:lnTo>
                    <a:lnTo>
                      <a:pt x="555" y="921"/>
                    </a:lnTo>
                    <a:lnTo>
                      <a:pt x="555" y="921"/>
                    </a:lnTo>
                    <a:lnTo>
                      <a:pt x="555" y="924"/>
                    </a:lnTo>
                    <a:lnTo>
                      <a:pt x="553" y="924"/>
                    </a:lnTo>
                    <a:lnTo>
                      <a:pt x="553" y="924"/>
                    </a:lnTo>
                    <a:lnTo>
                      <a:pt x="555" y="928"/>
                    </a:lnTo>
                    <a:lnTo>
                      <a:pt x="555" y="928"/>
                    </a:lnTo>
                    <a:lnTo>
                      <a:pt x="553" y="931"/>
                    </a:lnTo>
                    <a:lnTo>
                      <a:pt x="555" y="931"/>
                    </a:lnTo>
                    <a:lnTo>
                      <a:pt x="558" y="931"/>
                    </a:lnTo>
                    <a:lnTo>
                      <a:pt x="560" y="931"/>
                    </a:lnTo>
                    <a:lnTo>
                      <a:pt x="560" y="931"/>
                    </a:lnTo>
                    <a:lnTo>
                      <a:pt x="560" y="933"/>
                    </a:lnTo>
                    <a:lnTo>
                      <a:pt x="558" y="933"/>
                    </a:lnTo>
                    <a:lnTo>
                      <a:pt x="558" y="933"/>
                    </a:lnTo>
                    <a:lnTo>
                      <a:pt x="558" y="936"/>
                    </a:lnTo>
                    <a:lnTo>
                      <a:pt x="555" y="936"/>
                    </a:lnTo>
                    <a:lnTo>
                      <a:pt x="558" y="938"/>
                    </a:lnTo>
                    <a:lnTo>
                      <a:pt x="558" y="936"/>
                    </a:lnTo>
                    <a:lnTo>
                      <a:pt x="558" y="938"/>
                    </a:lnTo>
                    <a:lnTo>
                      <a:pt x="560" y="938"/>
                    </a:lnTo>
                    <a:lnTo>
                      <a:pt x="562" y="938"/>
                    </a:lnTo>
                    <a:lnTo>
                      <a:pt x="565" y="940"/>
                    </a:lnTo>
                    <a:lnTo>
                      <a:pt x="565" y="943"/>
                    </a:lnTo>
                    <a:lnTo>
                      <a:pt x="565" y="943"/>
                    </a:lnTo>
                    <a:lnTo>
                      <a:pt x="565" y="945"/>
                    </a:lnTo>
                    <a:lnTo>
                      <a:pt x="562" y="945"/>
                    </a:lnTo>
                    <a:lnTo>
                      <a:pt x="562" y="947"/>
                    </a:lnTo>
                    <a:lnTo>
                      <a:pt x="565" y="947"/>
                    </a:lnTo>
                    <a:lnTo>
                      <a:pt x="565" y="947"/>
                    </a:lnTo>
                    <a:lnTo>
                      <a:pt x="565" y="947"/>
                    </a:lnTo>
                    <a:lnTo>
                      <a:pt x="567" y="947"/>
                    </a:lnTo>
                    <a:lnTo>
                      <a:pt x="567" y="947"/>
                    </a:lnTo>
                    <a:lnTo>
                      <a:pt x="570" y="947"/>
                    </a:lnTo>
                    <a:lnTo>
                      <a:pt x="570" y="950"/>
                    </a:lnTo>
                    <a:lnTo>
                      <a:pt x="570" y="950"/>
                    </a:lnTo>
                    <a:lnTo>
                      <a:pt x="570" y="952"/>
                    </a:lnTo>
                    <a:lnTo>
                      <a:pt x="570" y="957"/>
                    </a:lnTo>
                    <a:lnTo>
                      <a:pt x="572" y="957"/>
                    </a:lnTo>
                    <a:lnTo>
                      <a:pt x="579" y="954"/>
                    </a:lnTo>
                    <a:lnTo>
                      <a:pt x="581" y="954"/>
                    </a:lnTo>
                    <a:lnTo>
                      <a:pt x="581" y="957"/>
                    </a:lnTo>
                    <a:lnTo>
                      <a:pt x="581" y="957"/>
                    </a:lnTo>
                    <a:lnTo>
                      <a:pt x="581" y="959"/>
                    </a:lnTo>
                    <a:lnTo>
                      <a:pt x="581" y="962"/>
                    </a:lnTo>
                    <a:lnTo>
                      <a:pt x="577" y="962"/>
                    </a:lnTo>
                    <a:lnTo>
                      <a:pt x="572" y="962"/>
                    </a:lnTo>
                    <a:lnTo>
                      <a:pt x="570" y="964"/>
                    </a:lnTo>
                    <a:lnTo>
                      <a:pt x="570" y="964"/>
                    </a:lnTo>
                    <a:lnTo>
                      <a:pt x="567" y="964"/>
                    </a:lnTo>
                    <a:lnTo>
                      <a:pt x="567" y="966"/>
                    </a:lnTo>
                    <a:lnTo>
                      <a:pt x="567" y="969"/>
                    </a:lnTo>
                    <a:lnTo>
                      <a:pt x="565" y="969"/>
                    </a:lnTo>
                    <a:lnTo>
                      <a:pt x="567" y="971"/>
                    </a:lnTo>
                    <a:lnTo>
                      <a:pt x="565" y="976"/>
                    </a:lnTo>
                    <a:lnTo>
                      <a:pt x="567" y="976"/>
                    </a:lnTo>
                    <a:lnTo>
                      <a:pt x="567" y="976"/>
                    </a:lnTo>
                    <a:lnTo>
                      <a:pt x="567" y="976"/>
                    </a:lnTo>
                    <a:lnTo>
                      <a:pt x="567" y="976"/>
                    </a:lnTo>
                    <a:lnTo>
                      <a:pt x="570" y="978"/>
                    </a:lnTo>
                    <a:lnTo>
                      <a:pt x="567" y="980"/>
                    </a:lnTo>
                    <a:lnTo>
                      <a:pt x="565" y="980"/>
                    </a:lnTo>
                    <a:lnTo>
                      <a:pt x="565" y="983"/>
                    </a:lnTo>
                    <a:lnTo>
                      <a:pt x="565" y="983"/>
                    </a:lnTo>
                    <a:lnTo>
                      <a:pt x="565" y="985"/>
                    </a:lnTo>
                    <a:lnTo>
                      <a:pt x="567" y="985"/>
                    </a:lnTo>
                    <a:lnTo>
                      <a:pt x="567" y="985"/>
                    </a:lnTo>
                    <a:lnTo>
                      <a:pt x="567" y="990"/>
                    </a:lnTo>
                    <a:lnTo>
                      <a:pt x="565" y="990"/>
                    </a:lnTo>
                    <a:lnTo>
                      <a:pt x="567" y="992"/>
                    </a:lnTo>
                    <a:lnTo>
                      <a:pt x="567" y="995"/>
                    </a:lnTo>
                    <a:lnTo>
                      <a:pt x="565" y="995"/>
                    </a:lnTo>
                    <a:lnTo>
                      <a:pt x="565" y="997"/>
                    </a:lnTo>
                    <a:lnTo>
                      <a:pt x="565" y="997"/>
                    </a:lnTo>
                    <a:lnTo>
                      <a:pt x="567" y="999"/>
                    </a:lnTo>
                    <a:lnTo>
                      <a:pt x="567" y="999"/>
                    </a:lnTo>
                    <a:lnTo>
                      <a:pt x="567" y="1002"/>
                    </a:lnTo>
                    <a:lnTo>
                      <a:pt x="567" y="1004"/>
                    </a:lnTo>
                    <a:lnTo>
                      <a:pt x="565" y="1004"/>
                    </a:lnTo>
                    <a:lnTo>
                      <a:pt x="565" y="1006"/>
                    </a:lnTo>
                    <a:lnTo>
                      <a:pt x="565" y="1009"/>
                    </a:lnTo>
                    <a:lnTo>
                      <a:pt x="565" y="1011"/>
                    </a:lnTo>
                    <a:lnTo>
                      <a:pt x="565" y="1013"/>
                    </a:lnTo>
                    <a:lnTo>
                      <a:pt x="562" y="1016"/>
                    </a:lnTo>
                    <a:lnTo>
                      <a:pt x="565" y="1016"/>
                    </a:lnTo>
                    <a:lnTo>
                      <a:pt x="567" y="1013"/>
                    </a:lnTo>
                    <a:lnTo>
                      <a:pt x="567" y="1013"/>
                    </a:lnTo>
                    <a:lnTo>
                      <a:pt x="574" y="1016"/>
                    </a:lnTo>
                    <a:lnTo>
                      <a:pt x="577" y="1013"/>
                    </a:lnTo>
                    <a:lnTo>
                      <a:pt x="577" y="1013"/>
                    </a:lnTo>
                    <a:lnTo>
                      <a:pt x="584" y="1011"/>
                    </a:lnTo>
                    <a:lnTo>
                      <a:pt x="586" y="1011"/>
                    </a:lnTo>
                    <a:lnTo>
                      <a:pt x="586" y="1013"/>
                    </a:lnTo>
                    <a:lnTo>
                      <a:pt x="586" y="1013"/>
                    </a:lnTo>
                    <a:lnTo>
                      <a:pt x="584" y="1016"/>
                    </a:lnTo>
                    <a:lnTo>
                      <a:pt x="581" y="1013"/>
                    </a:lnTo>
                    <a:lnTo>
                      <a:pt x="579" y="1016"/>
                    </a:lnTo>
                    <a:lnTo>
                      <a:pt x="579" y="1016"/>
                    </a:lnTo>
                    <a:lnTo>
                      <a:pt x="577" y="1016"/>
                    </a:lnTo>
                    <a:lnTo>
                      <a:pt x="577" y="1018"/>
                    </a:lnTo>
                    <a:lnTo>
                      <a:pt x="574" y="1018"/>
                    </a:lnTo>
                    <a:lnTo>
                      <a:pt x="572" y="1018"/>
                    </a:lnTo>
                    <a:lnTo>
                      <a:pt x="572" y="1018"/>
                    </a:lnTo>
                    <a:lnTo>
                      <a:pt x="567" y="1021"/>
                    </a:lnTo>
                    <a:lnTo>
                      <a:pt x="565" y="1018"/>
                    </a:lnTo>
                    <a:lnTo>
                      <a:pt x="565" y="1021"/>
                    </a:lnTo>
                    <a:lnTo>
                      <a:pt x="562" y="1021"/>
                    </a:lnTo>
                    <a:lnTo>
                      <a:pt x="558" y="1021"/>
                    </a:lnTo>
                    <a:lnTo>
                      <a:pt x="558" y="1021"/>
                    </a:lnTo>
                    <a:lnTo>
                      <a:pt x="555" y="1023"/>
                    </a:lnTo>
                    <a:lnTo>
                      <a:pt x="553" y="1021"/>
                    </a:lnTo>
                    <a:lnTo>
                      <a:pt x="555" y="1021"/>
                    </a:lnTo>
                    <a:lnTo>
                      <a:pt x="553" y="1018"/>
                    </a:lnTo>
                    <a:lnTo>
                      <a:pt x="555" y="1018"/>
                    </a:lnTo>
                    <a:lnTo>
                      <a:pt x="555" y="1016"/>
                    </a:lnTo>
                    <a:lnTo>
                      <a:pt x="555" y="1016"/>
                    </a:lnTo>
                    <a:lnTo>
                      <a:pt x="555" y="1013"/>
                    </a:lnTo>
                    <a:lnTo>
                      <a:pt x="555" y="1011"/>
                    </a:lnTo>
                    <a:lnTo>
                      <a:pt x="555" y="1011"/>
                    </a:lnTo>
                    <a:lnTo>
                      <a:pt x="555" y="1011"/>
                    </a:lnTo>
                    <a:lnTo>
                      <a:pt x="555" y="1009"/>
                    </a:lnTo>
                    <a:lnTo>
                      <a:pt x="555" y="1009"/>
                    </a:lnTo>
                    <a:lnTo>
                      <a:pt x="555" y="1006"/>
                    </a:lnTo>
                    <a:lnTo>
                      <a:pt x="555" y="1006"/>
                    </a:lnTo>
                    <a:lnTo>
                      <a:pt x="555" y="1006"/>
                    </a:lnTo>
                    <a:lnTo>
                      <a:pt x="553" y="1004"/>
                    </a:lnTo>
                    <a:lnTo>
                      <a:pt x="553" y="1004"/>
                    </a:lnTo>
                    <a:lnTo>
                      <a:pt x="553" y="1004"/>
                    </a:lnTo>
                    <a:lnTo>
                      <a:pt x="553" y="1004"/>
                    </a:lnTo>
                    <a:lnTo>
                      <a:pt x="551" y="1004"/>
                    </a:lnTo>
                    <a:lnTo>
                      <a:pt x="551" y="1004"/>
                    </a:lnTo>
                    <a:lnTo>
                      <a:pt x="548" y="1004"/>
                    </a:lnTo>
                    <a:lnTo>
                      <a:pt x="548" y="1002"/>
                    </a:lnTo>
                    <a:lnTo>
                      <a:pt x="548" y="1002"/>
                    </a:lnTo>
                    <a:lnTo>
                      <a:pt x="548" y="999"/>
                    </a:lnTo>
                    <a:lnTo>
                      <a:pt x="546" y="1013"/>
                    </a:lnTo>
                    <a:lnTo>
                      <a:pt x="546" y="1013"/>
                    </a:lnTo>
                    <a:lnTo>
                      <a:pt x="546" y="1016"/>
                    </a:lnTo>
                    <a:lnTo>
                      <a:pt x="544" y="1016"/>
                    </a:lnTo>
                    <a:lnTo>
                      <a:pt x="544" y="1021"/>
                    </a:lnTo>
                    <a:lnTo>
                      <a:pt x="541" y="1021"/>
                    </a:lnTo>
                    <a:lnTo>
                      <a:pt x="520" y="1021"/>
                    </a:lnTo>
                    <a:lnTo>
                      <a:pt x="506" y="1018"/>
                    </a:lnTo>
                    <a:lnTo>
                      <a:pt x="499" y="1023"/>
                    </a:lnTo>
                    <a:lnTo>
                      <a:pt x="496" y="1023"/>
                    </a:lnTo>
                    <a:lnTo>
                      <a:pt x="499" y="1025"/>
                    </a:lnTo>
                    <a:lnTo>
                      <a:pt x="496" y="1025"/>
                    </a:lnTo>
                    <a:lnTo>
                      <a:pt x="496" y="1028"/>
                    </a:lnTo>
                    <a:lnTo>
                      <a:pt x="494" y="1028"/>
                    </a:lnTo>
                    <a:lnTo>
                      <a:pt x="494" y="1030"/>
                    </a:lnTo>
                    <a:lnTo>
                      <a:pt x="494" y="1030"/>
                    </a:lnTo>
                    <a:lnTo>
                      <a:pt x="494" y="1030"/>
                    </a:lnTo>
                    <a:lnTo>
                      <a:pt x="494" y="1030"/>
                    </a:lnTo>
                    <a:lnTo>
                      <a:pt x="494" y="1032"/>
                    </a:lnTo>
                    <a:lnTo>
                      <a:pt x="492" y="1032"/>
                    </a:lnTo>
                    <a:lnTo>
                      <a:pt x="492" y="1032"/>
                    </a:lnTo>
                    <a:lnTo>
                      <a:pt x="492" y="1030"/>
                    </a:lnTo>
                    <a:lnTo>
                      <a:pt x="489" y="1032"/>
                    </a:lnTo>
                    <a:lnTo>
                      <a:pt x="489" y="1030"/>
                    </a:lnTo>
                    <a:lnTo>
                      <a:pt x="489" y="1030"/>
                    </a:lnTo>
                    <a:lnTo>
                      <a:pt x="489" y="1030"/>
                    </a:lnTo>
                    <a:lnTo>
                      <a:pt x="487" y="1032"/>
                    </a:lnTo>
                    <a:lnTo>
                      <a:pt x="484" y="1032"/>
                    </a:lnTo>
                    <a:lnTo>
                      <a:pt x="484" y="1035"/>
                    </a:lnTo>
                    <a:lnTo>
                      <a:pt x="484" y="1035"/>
                    </a:lnTo>
                    <a:lnTo>
                      <a:pt x="482" y="1035"/>
                    </a:lnTo>
                    <a:lnTo>
                      <a:pt x="480" y="1037"/>
                    </a:lnTo>
                    <a:lnTo>
                      <a:pt x="480" y="1037"/>
                    </a:lnTo>
                    <a:lnTo>
                      <a:pt x="477" y="1039"/>
                    </a:lnTo>
                    <a:lnTo>
                      <a:pt x="477" y="1039"/>
                    </a:lnTo>
                    <a:lnTo>
                      <a:pt x="475" y="1039"/>
                    </a:lnTo>
                    <a:lnTo>
                      <a:pt x="475" y="1039"/>
                    </a:lnTo>
                    <a:lnTo>
                      <a:pt x="475" y="1039"/>
                    </a:lnTo>
                    <a:lnTo>
                      <a:pt x="475" y="1039"/>
                    </a:lnTo>
                    <a:lnTo>
                      <a:pt x="473" y="1039"/>
                    </a:lnTo>
                    <a:lnTo>
                      <a:pt x="473" y="1039"/>
                    </a:lnTo>
                    <a:lnTo>
                      <a:pt x="473" y="1042"/>
                    </a:lnTo>
                    <a:lnTo>
                      <a:pt x="473" y="1042"/>
                    </a:lnTo>
                    <a:lnTo>
                      <a:pt x="470" y="1042"/>
                    </a:lnTo>
                    <a:lnTo>
                      <a:pt x="470" y="1042"/>
                    </a:lnTo>
                    <a:lnTo>
                      <a:pt x="468" y="1044"/>
                    </a:lnTo>
                    <a:lnTo>
                      <a:pt x="466" y="1044"/>
                    </a:lnTo>
                    <a:lnTo>
                      <a:pt x="466" y="1044"/>
                    </a:lnTo>
                    <a:lnTo>
                      <a:pt x="466" y="1044"/>
                    </a:lnTo>
                    <a:lnTo>
                      <a:pt x="463" y="1044"/>
                    </a:lnTo>
                    <a:lnTo>
                      <a:pt x="463" y="1044"/>
                    </a:lnTo>
                    <a:lnTo>
                      <a:pt x="463" y="1047"/>
                    </a:lnTo>
                    <a:lnTo>
                      <a:pt x="463" y="1047"/>
                    </a:lnTo>
                    <a:lnTo>
                      <a:pt x="463" y="1047"/>
                    </a:lnTo>
                    <a:lnTo>
                      <a:pt x="463" y="1044"/>
                    </a:lnTo>
                    <a:lnTo>
                      <a:pt x="461" y="1047"/>
                    </a:lnTo>
                    <a:lnTo>
                      <a:pt x="461" y="1047"/>
                    </a:lnTo>
                    <a:lnTo>
                      <a:pt x="461" y="1047"/>
                    </a:lnTo>
                    <a:lnTo>
                      <a:pt x="461" y="1044"/>
                    </a:lnTo>
                    <a:lnTo>
                      <a:pt x="461" y="1047"/>
                    </a:lnTo>
                    <a:lnTo>
                      <a:pt x="459" y="1047"/>
                    </a:lnTo>
                    <a:lnTo>
                      <a:pt x="456" y="1049"/>
                    </a:lnTo>
                    <a:lnTo>
                      <a:pt x="456" y="1049"/>
                    </a:lnTo>
                    <a:lnTo>
                      <a:pt x="456" y="1049"/>
                    </a:lnTo>
                    <a:lnTo>
                      <a:pt x="456" y="1051"/>
                    </a:lnTo>
                    <a:lnTo>
                      <a:pt x="454" y="1049"/>
                    </a:lnTo>
                    <a:lnTo>
                      <a:pt x="454" y="1051"/>
                    </a:lnTo>
                    <a:lnTo>
                      <a:pt x="451" y="1049"/>
                    </a:lnTo>
                    <a:lnTo>
                      <a:pt x="451" y="1049"/>
                    </a:lnTo>
                    <a:lnTo>
                      <a:pt x="451" y="1049"/>
                    </a:lnTo>
                    <a:lnTo>
                      <a:pt x="449" y="1049"/>
                    </a:lnTo>
                    <a:lnTo>
                      <a:pt x="447" y="1049"/>
                    </a:lnTo>
                    <a:lnTo>
                      <a:pt x="447" y="1049"/>
                    </a:lnTo>
                    <a:lnTo>
                      <a:pt x="447" y="1049"/>
                    </a:lnTo>
                    <a:lnTo>
                      <a:pt x="444" y="1049"/>
                    </a:lnTo>
                    <a:lnTo>
                      <a:pt x="444" y="1049"/>
                    </a:lnTo>
                    <a:lnTo>
                      <a:pt x="442" y="1051"/>
                    </a:lnTo>
                    <a:lnTo>
                      <a:pt x="444" y="1054"/>
                    </a:lnTo>
                    <a:lnTo>
                      <a:pt x="442" y="1054"/>
                    </a:lnTo>
                    <a:lnTo>
                      <a:pt x="440" y="1054"/>
                    </a:lnTo>
                    <a:lnTo>
                      <a:pt x="440" y="1056"/>
                    </a:lnTo>
                    <a:lnTo>
                      <a:pt x="440" y="1056"/>
                    </a:lnTo>
                    <a:lnTo>
                      <a:pt x="440" y="1058"/>
                    </a:lnTo>
                    <a:lnTo>
                      <a:pt x="437" y="1058"/>
                    </a:lnTo>
                    <a:lnTo>
                      <a:pt x="437" y="1056"/>
                    </a:lnTo>
                    <a:lnTo>
                      <a:pt x="437" y="1056"/>
                    </a:lnTo>
                    <a:lnTo>
                      <a:pt x="437" y="1056"/>
                    </a:lnTo>
                    <a:lnTo>
                      <a:pt x="435" y="1056"/>
                    </a:lnTo>
                    <a:lnTo>
                      <a:pt x="435" y="1056"/>
                    </a:lnTo>
                    <a:lnTo>
                      <a:pt x="430" y="1056"/>
                    </a:lnTo>
                    <a:lnTo>
                      <a:pt x="430" y="1056"/>
                    </a:lnTo>
                    <a:lnTo>
                      <a:pt x="428" y="1054"/>
                    </a:lnTo>
                    <a:lnTo>
                      <a:pt x="428" y="1054"/>
                    </a:lnTo>
                    <a:lnTo>
                      <a:pt x="425" y="1054"/>
                    </a:lnTo>
                    <a:lnTo>
                      <a:pt x="425" y="1054"/>
                    </a:lnTo>
                    <a:lnTo>
                      <a:pt x="425" y="1056"/>
                    </a:lnTo>
                    <a:lnTo>
                      <a:pt x="425" y="1058"/>
                    </a:lnTo>
                    <a:lnTo>
                      <a:pt x="421" y="1058"/>
                    </a:lnTo>
                    <a:lnTo>
                      <a:pt x="421" y="1061"/>
                    </a:lnTo>
                    <a:lnTo>
                      <a:pt x="421" y="1061"/>
                    </a:lnTo>
                    <a:lnTo>
                      <a:pt x="418" y="1061"/>
                    </a:lnTo>
                    <a:lnTo>
                      <a:pt x="418" y="1058"/>
                    </a:lnTo>
                    <a:lnTo>
                      <a:pt x="416" y="1056"/>
                    </a:lnTo>
                    <a:lnTo>
                      <a:pt x="418" y="1054"/>
                    </a:lnTo>
                    <a:lnTo>
                      <a:pt x="421" y="1054"/>
                    </a:lnTo>
                    <a:lnTo>
                      <a:pt x="418" y="1054"/>
                    </a:lnTo>
                    <a:lnTo>
                      <a:pt x="418" y="1051"/>
                    </a:lnTo>
                    <a:lnTo>
                      <a:pt x="416" y="1054"/>
                    </a:lnTo>
                    <a:lnTo>
                      <a:pt x="411" y="1051"/>
                    </a:lnTo>
                    <a:lnTo>
                      <a:pt x="411" y="1051"/>
                    </a:lnTo>
                    <a:lnTo>
                      <a:pt x="414" y="1047"/>
                    </a:lnTo>
                    <a:lnTo>
                      <a:pt x="411" y="1047"/>
                    </a:lnTo>
                    <a:lnTo>
                      <a:pt x="411" y="1049"/>
                    </a:lnTo>
                    <a:lnTo>
                      <a:pt x="409" y="1049"/>
                    </a:lnTo>
                    <a:lnTo>
                      <a:pt x="409" y="1047"/>
                    </a:lnTo>
                    <a:lnTo>
                      <a:pt x="407" y="1047"/>
                    </a:lnTo>
                    <a:lnTo>
                      <a:pt x="407" y="1049"/>
                    </a:lnTo>
                    <a:lnTo>
                      <a:pt x="402" y="1047"/>
                    </a:lnTo>
                    <a:lnTo>
                      <a:pt x="402" y="1042"/>
                    </a:lnTo>
                    <a:lnTo>
                      <a:pt x="402" y="1039"/>
                    </a:lnTo>
                    <a:lnTo>
                      <a:pt x="402" y="1039"/>
                    </a:lnTo>
                    <a:lnTo>
                      <a:pt x="399" y="1039"/>
                    </a:lnTo>
                    <a:lnTo>
                      <a:pt x="397" y="1037"/>
                    </a:lnTo>
                    <a:lnTo>
                      <a:pt x="395" y="1037"/>
                    </a:lnTo>
                    <a:lnTo>
                      <a:pt x="395" y="1037"/>
                    </a:lnTo>
                    <a:lnTo>
                      <a:pt x="392" y="1039"/>
                    </a:lnTo>
                    <a:lnTo>
                      <a:pt x="392" y="1039"/>
                    </a:lnTo>
                    <a:lnTo>
                      <a:pt x="392" y="1039"/>
                    </a:lnTo>
                    <a:lnTo>
                      <a:pt x="392" y="1039"/>
                    </a:lnTo>
                    <a:lnTo>
                      <a:pt x="392" y="1042"/>
                    </a:lnTo>
                    <a:lnTo>
                      <a:pt x="392" y="1042"/>
                    </a:lnTo>
                    <a:lnTo>
                      <a:pt x="392" y="1042"/>
                    </a:lnTo>
                    <a:lnTo>
                      <a:pt x="392" y="1042"/>
                    </a:lnTo>
                    <a:lnTo>
                      <a:pt x="392" y="1044"/>
                    </a:lnTo>
                    <a:lnTo>
                      <a:pt x="390" y="1044"/>
                    </a:lnTo>
                    <a:lnTo>
                      <a:pt x="390" y="1044"/>
                    </a:lnTo>
                    <a:lnTo>
                      <a:pt x="392" y="1047"/>
                    </a:lnTo>
                    <a:lnTo>
                      <a:pt x="390" y="1049"/>
                    </a:lnTo>
                    <a:lnTo>
                      <a:pt x="390" y="1049"/>
                    </a:lnTo>
                    <a:lnTo>
                      <a:pt x="390" y="1049"/>
                    </a:lnTo>
                    <a:lnTo>
                      <a:pt x="390" y="1049"/>
                    </a:lnTo>
                    <a:lnTo>
                      <a:pt x="390" y="1051"/>
                    </a:lnTo>
                    <a:lnTo>
                      <a:pt x="390" y="1051"/>
                    </a:lnTo>
                    <a:lnTo>
                      <a:pt x="390" y="1051"/>
                    </a:lnTo>
                    <a:lnTo>
                      <a:pt x="392" y="1051"/>
                    </a:lnTo>
                    <a:lnTo>
                      <a:pt x="392" y="1054"/>
                    </a:lnTo>
                    <a:lnTo>
                      <a:pt x="390" y="1054"/>
                    </a:lnTo>
                    <a:lnTo>
                      <a:pt x="392" y="1054"/>
                    </a:lnTo>
                    <a:lnTo>
                      <a:pt x="392" y="1056"/>
                    </a:lnTo>
                    <a:lnTo>
                      <a:pt x="392" y="1058"/>
                    </a:lnTo>
                    <a:lnTo>
                      <a:pt x="392" y="1058"/>
                    </a:lnTo>
                    <a:lnTo>
                      <a:pt x="390" y="1058"/>
                    </a:lnTo>
                    <a:lnTo>
                      <a:pt x="390" y="1061"/>
                    </a:lnTo>
                    <a:lnTo>
                      <a:pt x="390" y="1063"/>
                    </a:lnTo>
                    <a:lnTo>
                      <a:pt x="392" y="1065"/>
                    </a:lnTo>
                    <a:lnTo>
                      <a:pt x="390" y="1065"/>
                    </a:lnTo>
                    <a:lnTo>
                      <a:pt x="392" y="1068"/>
                    </a:lnTo>
                    <a:lnTo>
                      <a:pt x="392" y="1070"/>
                    </a:lnTo>
                    <a:lnTo>
                      <a:pt x="392" y="1070"/>
                    </a:lnTo>
                    <a:lnTo>
                      <a:pt x="395" y="1070"/>
                    </a:lnTo>
                    <a:lnTo>
                      <a:pt x="395" y="1075"/>
                    </a:lnTo>
                    <a:lnTo>
                      <a:pt x="395" y="1075"/>
                    </a:lnTo>
                    <a:lnTo>
                      <a:pt x="392" y="1075"/>
                    </a:lnTo>
                    <a:lnTo>
                      <a:pt x="392" y="1077"/>
                    </a:lnTo>
                    <a:lnTo>
                      <a:pt x="392" y="1077"/>
                    </a:lnTo>
                    <a:lnTo>
                      <a:pt x="390" y="1080"/>
                    </a:lnTo>
                    <a:lnTo>
                      <a:pt x="390" y="1080"/>
                    </a:lnTo>
                    <a:lnTo>
                      <a:pt x="390" y="1082"/>
                    </a:lnTo>
                    <a:lnTo>
                      <a:pt x="388" y="1084"/>
                    </a:lnTo>
                    <a:lnTo>
                      <a:pt x="373" y="1068"/>
                    </a:lnTo>
                    <a:lnTo>
                      <a:pt x="373" y="1065"/>
                    </a:lnTo>
                    <a:lnTo>
                      <a:pt x="371" y="1065"/>
                    </a:lnTo>
                    <a:lnTo>
                      <a:pt x="369" y="1065"/>
                    </a:lnTo>
                    <a:lnTo>
                      <a:pt x="364" y="1065"/>
                    </a:lnTo>
                    <a:lnTo>
                      <a:pt x="364" y="1065"/>
                    </a:lnTo>
                    <a:lnTo>
                      <a:pt x="362" y="1065"/>
                    </a:lnTo>
                    <a:lnTo>
                      <a:pt x="362" y="1065"/>
                    </a:lnTo>
                    <a:lnTo>
                      <a:pt x="362" y="1063"/>
                    </a:lnTo>
                    <a:lnTo>
                      <a:pt x="362" y="1065"/>
                    </a:lnTo>
                    <a:lnTo>
                      <a:pt x="359" y="1065"/>
                    </a:lnTo>
                    <a:lnTo>
                      <a:pt x="359" y="1063"/>
                    </a:lnTo>
                    <a:lnTo>
                      <a:pt x="359" y="1061"/>
                    </a:lnTo>
                    <a:lnTo>
                      <a:pt x="359" y="1061"/>
                    </a:lnTo>
                    <a:lnTo>
                      <a:pt x="359" y="1063"/>
                    </a:lnTo>
                    <a:lnTo>
                      <a:pt x="359" y="1061"/>
                    </a:lnTo>
                    <a:lnTo>
                      <a:pt x="357" y="1061"/>
                    </a:lnTo>
                    <a:lnTo>
                      <a:pt x="357" y="1061"/>
                    </a:lnTo>
                    <a:lnTo>
                      <a:pt x="355" y="1061"/>
                    </a:lnTo>
                    <a:lnTo>
                      <a:pt x="355" y="1063"/>
                    </a:lnTo>
                    <a:lnTo>
                      <a:pt x="355" y="1063"/>
                    </a:lnTo>
                    <a:lnTo>
                      <a:pt x="352" y="1063"/>
                    </a:lnTo>
                    <a:lnTo>
                      <a:pt x="352" y="1065"/>
                    </a:lnTo>
                    <a:lnTo>
                      <a:pt x="352" y="1063"/>
                    </a:lnTo>
                    <a:lnTo>
                      <a:pt x="352" y="1063"/>
                    </a:lnTo>
                    <a:lnTo>
                      <a:pt x="350" y="1061"/>
                    </a:lnTo>
                    <a:lnTo>
                      <a:pt x="350" y="1058"/>
                    </a:lnTo>
                    <a:lnTo>
                      <a:pt x="347" y="1058"/>
                    </a:lnTo>
                    <a:lnTo>
                      <a:pt x="345" y="1061"/>
                    </a:lnTo>
                    <a:lnTo>
                      <a:pt x="345" y="1058"/>
                    </a:lnTo>
                    <a:lnTo>
                      <a:pt x="343" y="1058"/>
                    </a:lnTo>
                    <a:lnTo>
                      <a:pt x="343" y="1058"/>
                    </a:lnTo>
                    <a:lnTo>
                      <a:pt x="345" y="1058"/>
                    </a:lnTo>
                    <a:lnTo>
                      <a:pt x="343" y="1056"/>
                    </a:lnTo>
                    <a:lnTo>
                      <a:pt x="340" y="1056"/>
                    </a:lnTo>
                    <a:lnTo>
                      <a:pt x="340" y="1056"/>
                    </a:lnTo>
                    <a:lnTo>
                      <a:pt x="340" y="1054"/>
                    </a:lnTo>
                    <a:lnTo>
                      <a:pt x="340" y="1054"/>
                    </a:lnTo>
                    <a:lnTo>
                      <a:pt x="340" y="1054"/>
                    </a:lnTo>
                    <a:lnTo>
                      <a:pt x="340" y="1054"/>
                    </a:lnTo>
                    <a:lnTo>
                      <a:pt x="338" y="1054"/>
                    </a:lnTo>
                    <a:lnTo>
                      <a:pt x="338" y="1054"/>
                    </a:lnTo>
                    <a:lnTo>
                      <a:pt x="338" y="1054"/>
                    </a:lnTo>
                    <a:lnTo>
                      <a:pt x="338" y="1058"/>
                    </a:lnTo>
                    <a:lnTo>
                      <a:pt x="338" y="1058"/>
                    </a:lnTo>
                    <a:lnTo>
                      <a:pt x="338" y="1058"/>
                    </a:lnTo>
                    <a:lnTo>
                      <a:pt x="338" y="1061"/>
                    </a:lnTo>
                    <a:lnTo>
                      <a:pt x="338" y="1061"/>
                    </a:lnTo>
                    <a:lnTo>
                      <a:pt x="336" y="1061"/>
                    </a:lnTo>
                    <a:lnTo>
                      <a:pt x="336" y="1061"/>
                    </a:lnTo>
                    <a:lnTo>
                      <a:pt x="333" y="1061"/>
                    </a:lnTo>
                    <a:lnTo>
                      <a:pt x="333" y="1061"/>
                    </a:lnTo>
                    <a:lnTo>
                      <a:pt x="333" y="1061"/>
                    </a:lnTo>
                    <a:lnTo>
                      <a:pt x="333" y="1061"/>
                    </a:lnTo>
                    <a:lnTo>
                      <a:pt x="329" y="1063"/>
                    </a:lnTo>
                    <a:lnTo>
                      <a:pt x="329" y="1063"/>
                    </a:lnTo>
                    <a:lnTo>
                      <a:pt x="329" y="1063"/>
                    </a:lnTo>
                    <a:lnTo>
                      <a:pt x="329" y="1063"/>
                    </a:lnTo>
                    <a:lnTo>
                      <a:pt x="326" y="1063"/>
                    </a:lnTo>
                    <a:lnTo>
                      <a:pt x="326" y="1063"/>
                    </a:lnTo>
                    <a:lnTo>
                      <a:pt x="326" y="1063"/>
                    </a:lnTo>
                    <a:lnTo>
                      <a:pt x="329" y="1061"/>
                    </a:lnTo>
                    <a:lnTo>
                      <a:pt x="329" y="1056"/>
                    </a:lnTo>
                    <a:lnTo>
                      <a:pt x="326" y="1056"/>
                    </a:lnTo>
                    <a:lnTo>
                      <a:pt x="326" y="1054"/>
                    </a:lnTo>
                    <a:lnTo>
                      <a:pt x="326" y="1054"/>
                    </a:lnTo>
                    <a:lnTo>
                      <a:pt x="326" y="1054"/>
                    </a:lnTo>
                    <a:lnTo>
                      <a:pt x="329" y="1051"/>
                    </a:lnTo>
                    <a:lnTo>
                      <a:pt x="326" y="1051"/>
                    </a:lnTo>
                    <a:lnTo>
                      <a:pt x="326" y="1049"/>
                    </a:lnTo>
                    <a:lnTo>
                      <a:pt x="326" y="1049"/>
                    </a:lnTo>
                    <a:lnTo>
                      <a:pt x="326" y="1049"/>
                    </a:lnTo>
                    <a:lnTo>
                      <a:pt x="326" y="1047"/>
                    </a:lnTo>
                    <a:lnTo>
                      <a:pt x="329" y="1047"/>
                    </a:lnTo>
                    <a:lnTo>
                      <a:pt x="329" y="1044"/>
                    </a:lnTo>
                    <a:lnTo>
                      <a:pt x="329" y="1044"/>
                    </a:lnTo>
                    <a:lnTo>
                      <a:pt x="329" y="1042"/>
                    </a:lnTo>
                    <a:lnTo>
                      <a:pt x="329" y="1044"/>
                    </a:lnTo>
                    <a:lnTo>
                      <a:pt x="326" y="1044"/>
                    </a:lnTo>
                    <a:lnTo>
                      <a:pt x="326" y="1042"/>
                    </a:lnTo>
                    <a:lnTo>
                      <a:pt x="324" y="1044"/>
                    </a:lnTo>
                    <a:lnTo>
                      <a:pt x="324" y="1044"/>
                    </a:lnTo>
                    <a:lnTo>
                      <a:pt x="324" y="1044"/>
                    </a:lnTo>
                    <a:lnTo>
                      <a:pt x="324" y="1044"/>
                    </a:lnTo>
                    <a:lnTo>
                      <a:pt x="321" y="1047"/>
                    </a:lnTo>
                    <a:lnTo>
                      <a:pt x="319" y="1044"/>
                    </a:lnTo>
                    <a:lnTo>
                      <a:pt x="319" y="1047"/>
                    </a:lnTo>
                    <a:lnTo>
                      <a:pt x="319" y="1044"/>
                    </a:lnTo>
                    <a:lnTo>
                      <a:pt x="317" y="1047"/>
                    </a:lnTo>
                    <a:lnTo>
                      <a:pt x="317" y="1047"/>
                    </a:lnTo>
                    <a:lnTo>
                      <a:pt x="317" y="1049"/>
                    </a:lnTo>
                    <a:lnTo>
                      <a:pt x="317" y="1049"/>
                    </a:lnTo>
                    <a:lnTo>
                      <a:pt x="314" y="1049"/>
                    </a:lnTo>
                    <a:lnTo>
                      <a:pt x="314" y="1049"/>
                    </a:lnTo>
                    <a:lnTo>
                      <a:pt x="314" y="1049"/>
                    </a:lnTo>
                    <a:lnTo>
                      <a:pt x="312" y="1051"/>
                    </a:lnTo>
                    <a:lnTo>
                      <a:pt x="312" y="1049"/>
                    </a:lnTo>
                    <a:lnTo>
                      <a:pt x="312" y="1049"/>
                    </a:lnTo>
                    <a:lnTo>
                      <a:pt x="312" y="1049"/>
                    </a:lnTo>
                    <a:lnTo>
                      <a:pt x="310" y="1049"/>
                    </a:lnTo>
                    <a:lnTo>
                      <a:pt x="310" y="1051"/>
                    </a:lnTo>
                    <a:lnTo>
                      <a:pt x="310" y="1051"/>
                    </a:lnTo>
                    <a:lnTo>
                      <a:pt x="307" y="1054"/>
                    </a:lnTo>
                    <a:lnTo>
                      <a:pt x="310" y="1054"/>
                    </a:lnTo>
                    <a:lnTo>
                      <a:pt x="307" y="1054"/>
                    </a:lnTo>
                    <a:lnTo>
                      <a:pt x="310" y="1054"/>
                    </a:lnTo>
                    <a:lnTo>
                      <a:pt x="310" y="1054"/>
                    </a:lnTo>
                    <a:lnTo>
                      <a:pt x="307" y="1054"/>
                    </a:lnTo>
                    <a:lnTo>
                      <a:pt x="307" y="1054"/>
                    </a:lnTo>
                    <a:lnTo>
                      <a:pt x="307" y="1054"/>
                    </a:lnTo>
                    <a:lnTo>
                      <a:pt x="307" y="1054"/>
                    </a:lnTo>
                    <a:lnTo>
                      <a:pt x="305" y="1054"/>
                    </a:lnTo>
                    <a:lnTo>
                      <a:pt x="305" y="1054"/>
                    </a:lnTo>
                    <a:lnTo>
                      <a:pt x="305" y="1054"/>
                    </a:lnTo>
                    <a:lnTo>
                      <a:pt x="305" y="1054"/>
                    </a:lnTo>
                    <a:lnTo>
                      <a:pt x="305" y="1056"/>
                    </a:lnTo>
                    <a:lnTo>
                      <a:pt x="305" y="1056"/>
                    </a:lnTo>
                    <a:lnTo>
                      <a:pt x="303" y="1054"/>
                    </a:lnTo>
                    <a:lnTo>
                      <a:pt x="303" y="1054"/>
                    </a:lnTo>
                    <a:lnTo>
                      <a:pt x="300" y="1056"/>
                    </a:lnTo>
                    <a:lnTo>
                      <a:pt x="300" y="1056"/>
                    </a:lnTo>
                    <a:lnTo>
                      <a:pt x="300" y="1056"/>
                    </a:lnTo>
                    <a:lnTo>
                      <a:pt x="300" y="1056"/>
                    </a:lnTo>
                    <a:lnTo>
                      <a:pt x="298" y="1058"/>
                    </a:lnTo>
                    <a:lnTo>
                      <a:pt x="298" y="1058"/>
                    </a:lnTo>
                    <a:lnTo>
                      <a:pt x="298" y="1058"/>
                    </a:lnTo>
                    <a:lnTo>
                      <a:pt x="298" y="1058"/>
                    </a:lnTo>
                    <a:lnTo>
                      <a:pt x="296" y="1058"/>
                    </a:lnTo>
                    <a:lnTo>
                      <a:pt x="296" y="1058"/>
                    </a:lnTo>
                    <a:lnTo>
                      <a:pt x="293" y="1058"/>
                    </a:lnTo>
                    <a:lnTo>
                      <a:pt x="293" y="1058"/>
                    </a:lnTo>
                    <a:lnTo>
                      <a:pt x="293" y="1061"/>
                    </a:lnTo>
                    <a:lnTo>
                      <a:pt x="293" y="1061"/>
                    </a:lnTo>
                    <a:lnTo>
                      <a:pt x="291" y="1061"/>
                    </a:lnTo>
                    <a:lnTo>
                      <a:pt x="291" y="1061"/>
                    </a:lnTo>
                    <a:lnTo>
                      <a:pt x="288" y="1061"/>
                    </a:lnTo>
                    <a:lnTo>
                      <a:pt x="288" y="1058"/>
                    </a:lnTo>
                    <a:lnTo>
                      <a:pt x="291" y="1058"/>
                    </a:lnTo>
                    <a:lnTo>
                      <a:pt x="288" y="1056"/>
                    </a:lnTo>
                    <a:lnTo>
                      <a:pt x="288" y="1056"/>
                    </a:lnTo>
                    <a:lnTo>
                      <a:pt x="291" y="1056"/>
                    </a:lnTo>
                    <a:lnTo>
                      <a:pt x="288" y="1054"/>
                    </a:lnTo>
                    <a:lnTo>
                      <a:pt x="288" y="1054"/>
                    </a:lnTo>
                    <a:lnTo>
                      <a:pt x="288" y="1054"/>
                    </a:lnTo>
                    <a:lnTo>
                      <a:pt x="288" y="1051"/>
                    </a:lnTo>
                    <a:lnTo>
                      <a:pt x="288" y="1051"/>
                    </a:lnTo>
                    <a:lnTo>
                      <a:pt x="288" y="1051"/>
                    </a:lnTo>
                    <a:lnTo>
                      <a:pt x="288" y="1049"/>
                    </a:lnTo>
                    <a:lnTo>
                      <a:pt x="286" y="1049"/>
                    </a:lnTo>
                    <a:lnTo>
                      <a:pt x="288" y="1049"/>
                    </a:lnTo>
                    <a:lnTo>
                      <a:pt x="288" y="1047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8" y="1042"/>
                    </a:lnTo>
                    <a:lnTo>
                      <a:pt x="288" y="1042"/>
                    </a:lnTo>
                    <a:lnTo>
                      <a:pt x="286" y="1039"/>
                    </a:lnTo>
                    <a:lnTo>
                      <a:pt x="286" y="1042"/>
                    </a:lnTo>
                    <a:lnTo>
                      <a:pt x="286" y="1042"/>
                    </a:lnTo>
                    <a:lnTo>
                      <a:pt x="286" y="1042"/>
                    </a:lnTo>
                    <a:lnTo>
                      <a:pt x="284" y="1039"/>
                    </a:lnTo>
                    <a:lnTo>
                      <a:pt x="281" y="1042"/>
                    </a:lnTo>
                    <a:lnTo>
                      <a:pt x="281" y="1044"/>
                    </a:lnTo>
                    <a:lnTo>
                      <a:pt x="281" y="1047"/>
                    </a:lnTo>
                    <a:lnTo>
                      <a:pt x="281" y="1049"/>
                    </a:lnTo>
                    <a:lnTo>
                      <a:pt x="279" y="1049"/>
                    </a:lnTo>
                    <a:lnTo>
                      <a:pt x="277" y="1049"/>
                    </a:lnTo>
                    <a:lnTo>
                      <a:pt x="277" y="1051"/>
                    </a:lnTo>
                    <a:lnTo>
                      <a:pt x="279" y="1054"/>
                    </a:lnTo>
                    <a:lnTo>
                      <a:pt x="277" y="1054"/>
                    </a:lnTo>
                    <a:lnTo>
                      <a:pt x="277" y="1056"/>
                    </a:lnTo>
                    <a:lnTo>
                      <a:pt x="277" y="1058"/>
                    </a:lnTo>
                    <a:lnTo>
                      <a:pt x="277" y="1061"/>
                    </a:lnTo>
                    <a:lnTo>
                      <a:pt x="277" y="1063"/>
                    </a:lnTo>
                    <a:lnTo>
                      <a:pt x="277" y="1065"/>
                    </a:lnTo>
                    <a:lnTo>
                      <a:pt x="274" y="1065"/>
                    </a:lnTo>
                    <a:lnTo>
                      <a:pt x="274" y="1065"/>
                    </a:lnTo>
                    <a:lnTo>
                      <a:pt x="272" y="1061"/>
                    </a:lnTo>
                    <a:lnTo>
                      <a:pt x="272" y="1061"/>
                    </a:lnTo>
                    <a:lnTo>
                      <a:pt x="272" y="1058"/>
                    </a:lnTo>
                    <a:lnTo>
                      <a:pt x="272" y="1056"/>
                    </a:lnTo>
                    <a:lnTo>
                      <a:pt x="272" y="1056"/>
                    </a:lnTo>
                    <a:lnTo>
                      <a:pt x="272" y="1054"/>
                    </a:lnTo>
                    <a:lnTo>
                      <a:pt x="272" y="1054"/>
                    </a:lnTo>
                    <a:lnTo>
                      <a:pt x="274" y="1051"/>
                    </a:lnTo>
                    <a:lnTo>
                      <a:pt x="274" y="1051"/>
                    </a:lnTo>
                    <a:lnTo>
                      <a:pt x="274" y="1049"/>
                    </a:lnTo>
                    <a:lnTo>
                      <a:pt x="274" y="1049"/>
                    </a:lnTo>
                    <a:lnTo>
                      <a:pt x="274" y="1047"/>
                    </a:lnTo>
                    <a:lnTo>
                      <a:pt x="274" y="1047"/>
                    </a:lnTo>
                    <a:lnTo>
                      <a:pt x="272" y="1044"/>
                    </a:lnTo>
                    <a:lnTo>
                      <a:pt x="272" y="1044"/>
                    </a:lnTo>
                    <a:lnTo>
                      <a:pt x="272" y="1042"/>
                    </a:lnTo>
                    <a:lnTo>
                      <a:pt x="272" y="1042"/>
                    </a:lnTo>
                    <a:lnTo>
                      <a:pt x="272" y="1042"/>
                    </a:lnTo>
                    <a:lnTo>
                      <a:pt x="274" y="1042"/>
                    </a:lnTo>
                    <a:lnTo>
                      <a:pt x="274" y="1039"/>
                    </a:lnTo>
                    <a:lnTo>
                      <a:pt x="274" y="1039"/>
                    </a:lnTo>
                    <a:lnTo>
                      <a:pt x="274" y="1037"/>
                    </a:lnTo>
                    <a:lnTo>
                      <a:pt x="272" y="1037"/>
                    </a:lnTo>
                    <a:lnTo>
                      <a:pt x="272" y="1035"/>
                    </a:lnTo>
                    <a:lnTo>
                      <a:pt x="272" y="1035"/>
                    </a:lnTo>
                    <a:lnTo>
                      <a:pt x="272" y="1032"/>
                    </a:lnTo>
                    <a:lnTo>
                      <a:pt x="272" y="1032"/>
                    </a:lnTo>
                    <a:lnTo>
                      <a:pt x="272" y="1032"/>
                    </a:lnTo>
                    <a:lnTo>
                      <a:pt x="272" y="1030"/>
                    </a:lnTo>
                    <a:lnTo>
                      <a:pt x="270" y="1030"/>
                    </a:lnTo>
                    <a:lnTo>
                      <a:pt x="270" y="1030"/>
                    </a:lnTo>
                    <a:lnTo>
                      <a:pt x="267" y="1030"/>
                    </a:lnTo>
                    <a:lnTo>
                      <a:pt x="267" y="1028"/>
                    </a:lnTo>
                    <a:lnTo>
                      <a:pt x="267" y="1025"/>
                    </a:lnTo>
                    <a:lnTo>
                      <a:pt x="267" y="1025"/>
                    </a:lnTo>
                    <a:lnTo>
                      <a:pt x="265" y="1025"/>
                    </a:lnTo>
                    <a:lnTo>
                      <a:pt x="265" y="1025"/>
                    </a:lnTo>
                    <a:lnTo>
                      <a:pt x="265" y="1023"/>
                    </a:lnTo>
                    <a:lnTo>
                      <a:pt x="262" y="1023"/>
                    </a:lnTo>
                    <a:lnTo>
                      <a:pt x="262" y="1023"/>
                    </a:lnTo>
                    <a:lnTo>
                      <a:pt x="262" y="1023"/>
                    </a:lnTo>
                    <a:lnTo>
                      <a:pt x="260" y="1023"/>
                    </a:lnTo>
                    <a:lnTo>
                      <a:pt x="260" y="1023"/>
                    </a:lnTo>
                    <a:lnTo>
                      <a:pt x="260" y="1023"/>
                    </a:lnTo>
                    <a:lnTo>
                      <a:pt x="260" y="1023"/>
                    </a:lnTo>
                    <a:lnTo>
                      <a:pt x="258" y="1023"/>
                    </a:lnTo>
                    <a:lnTo>
                      <a:pt x="258" y="1023"/>
                    </a:lnTo>
                    <a:lnTo>
                      <a:pt x="258" y="1023"/>
                    </a:lnTo>
                    <a:lnTo>
                      <a:pt x="255" y="1023"/>
                    </a:lnTo>
                    <a:lnTo>
                      <a:pt x="255" y="1023"/>
                    </a:lnTo>
                    <a:lnTo>
                      <a:pt x="255" y="1023"/>
                    </a:lnTo>
                    <a:lnTo>
                      <a:pt x="255" y="1021"/>
                    </a:lnTo>
                    <a:lnTo>
                      <a:pt x="255" y="1018"/>
                    </a:lnTo>
                    <a:lnTo>
                      <a:pt x="253" y="1016"/>
                    </a:lnTo>
                    <a:lnTo>
                      <a:pt x="255" y="1013"/>
                    </a:lnTo>
                    <a:lnTo>
                      <a:pt x="253" y="1013"/>
                    </a:lnTo>
                    <a:lnTo>
                      <a:pt x="253" y="1013"/>
                    </a:lnTo>
                    <a:lnTo>
                      <a:pt x="253" y="1011"/>
                    </a:lnTo>
                    <a:lnTo>
                      <a:pt x="251" y="1011"/>
                    </a:lnTo>
                    <a:lnTo>
                      <a:pt x="251" y="1011"/>
                    </a:lnTo>
                    <a:lnTo>
                      <a:pt x="248" y="1006"/>
                    </a:lnTo>
                    <a:lnTo>
                      <a:pt x="248" y="1009"/>
                    </a:lnTo>
                    <a:lnTo>
                      <a:pt x="246" y="1009"/>
                    </a:lnTo>
                    <a:lnTo>
                      <a:pt x="246" y="1006"/>
                    </a:lnTo>
                    <a:lnTo>
                      <a:pt x="246" y="1006"/>
                    </a:lnTo>
                    <a:lnTo>
                      <a:pt x="246" y="1006"/>
                    </a:lnTo>
                    <a:lnTo>
                      <a:pt x="244" y="1006"/>
                    </a:lnTo>
                    <a:lnTo>
                      <a:pt x="244" y="1004"/>
                    </a:lnTo>
                    <a:lnTo>
                      <a:pt x="244" y="1004"/>
                    </a:lnTo>
                    <a:lnTo>
                      <a:pt x="244" y="1004"/>
                    </a:lnTo>
                    <a:lnTo>
                      <a:pt x="244" y="1004"/>
                    </a:lnTo>
                    <a:lnTo>
                      <a:pt x="241" y="1002"/>
                    </a:lnTo>
                    <a:lnTo>
                      <a:pt x="241" y="1004"/>
                    </a:lnTo>
                    <a:lnTo>
                      <a:pt x="241" y="1004"/>
                    </a:lnTo>
                    <a:lnTo>
                      <a:pt x="241" y="1002"/>
                    </a:lnTo>
                    <a:lnTo>
                      <a:pt x="241" y="1002"/>
                    </a:lnTo>
                    <a:lnTo>
                      <a:pt x="241" y="999"/>
                    </a:lnTo>
                    <a:lnTo>
                      <a:pt x="241" y="997"/>
                    </a:lnTo>
                    <a:lnTo>
                      <a:pt x="239" y="997"/>
                    </a:lnTo>
                    <a:lnTo>
                      <a:pt x="239" y="997"/>
                    </a:lnTo>
                    <a:lnTo>
                      <a:pt x="236" y="997"/>
                    </a:lnTo>
                    <a:lnTo>
                      <a:pt x="236" y="997"/>
                    </a:lnTo>
                    <a:lnTo>
                      <a:pt x="236" y="999"/>
                    </a:lnTo>
                    <a:lnTo>
                      <a:pt x="236" y="999"/>
                    </a:lnTo>
                    <a:lnTo>
                      <a:pt x="236" y="999"/>
                    </a:lnTo>
                    <a:lnTo>
                      <a:pt x="225" y="1018"/>
                    </a:lnTo>
                    <a:lnTo>
                      <a:pt x="222" y="1016"/>
                    </a:lnTo>
                    <a:lnTo>
                      <a:pt x="220" y="1013"/>
                    </a:lnTo>
                    <a:lnTo>
                      <a:pt x="220" y="1013"/>
                    </a:lnTo>
                    <a:lnTo>
                      <a:pt x="218" y="1011"/>
                    </a:lnTo>
                    <a:lnTo>
                      <a:pt x="218" y="1011"/>
                    </a:lnTo>
                    <a:lnTo>
                      <a:pt x="218" y="1011"/>
                    </a:lnTo>
                    <a:lnTo>
                      <a:pt x="215" y="1011"/>
                    </a:lnTo>
                    <a:lnTo>
                      <a:pt x="215" y="1011"/>
                    </a:lnTo>
                    <a:lnTo>
                      <a:pt x="215" y="1011"/>
                    </a:lnTo>
                    <a:lnTo>
                      <a:pt x="210" y="1011"/>
                    </a:lnTo>
                    <a:lnTo>
                      <a:pt x="210" y="1009"/>
                    </a:lnTo>
                    <a:lnTo>
                      <a:pt x="210" y="1009"/>
                    </a:lnTo>
                    <a:lnTo>
                      <a:pt x="210" y="1009"/>
                    </a:lnTo>
                    <a:lnTo>
                      <a:pt x="210" y="1006"/>
                    </a:lnTo>
                    <a:lnTo>
                      <a:pt x="213" y="1006"/>
                    </a:lnTo>
                    <a:lnTo>
                      <a:pt x="213" y="1004"/>
                    </a:lnTo>
                    <a:lnTo>
                      <a:pt x="213" y="1004"/>
                    </a:lnTo>
                    <a:lnTo>
                      <a:pt x="213" y="1004"/>
                    </a:lnTo>
                    <a:lnTo>
                      <a:pt x="210" y="1004"/>
                    </a:lnTo>
                    <a:lnTo>
                      <a:pt x="208" y="1002"/>
                    </a:lnTo>
                    <a:lnTo>
                      <a:pt x="208" y="1002"/>
                    </a:lnTo>
                    <a:lnTo>
                      <a:pt x="206" y="995"/>
                    </a:lnTo>
                    <a:lnTo>
                      <a:pt x="203" y="997"/>
                    </a:lnTo>
                    <a:lnTo>
                      <a:pt x="203" y="999"/>
                    </a:lnTo>
                    <a:lnTo>
                      <a:pt x="201" y="999"/>
                    </a:lnTo>
                    <a:lnTo>
                      <a:pt x="199" y="1002"/>
                    </a:lnTo>
                    <a:lnTo>
                      <a:pt x="196" y="1004"/>
                    </a:lnTo>
                    <a:lnTo>
                      <a:pt x="196" y="1004"/>
                    </a:lnTo>
                    <a:lnTo>
                      <a:pt x="196" y="1006"/>
                    </a:lnTo>
                    <a:lnTo>
                      <a:pt x="194" y="1006"/>
                    </a:lnTo>
                    <a:lnTo>
                      <a:pt x="194" y="1006"/>
                    </a:lnTo>
                    <a:lnTo>
                      <a:pt x="194" y="1006"/>
                    </a:lnTo>
                    <a:lnTo>
                      <a:pt x="192" y="1006"/>
                    </a:lnTo>
                    <a:lnTo>
                      <a:pt x="192" y="1009"/>
                    </a:lnTo>
                    <a:lnTo>
                      <a:pt x="192" y="1009"/>
                    </a:lnTo>
                    <a:lnTo>
                      <a:pt x="189" y="1011"/>
                    </a:lnTo>
                    <a:lnTo>
                      <a:pt x="189" y="1013"/>
                    </a:lnTo>
                    <a:lnTo>
                      <a:pt x="189" y="1013"/>
                    </a:lnTo>
                    <a:lnTo>
                      <a:pt x="189" y="1016"/>
                    </a:lnTo>
                    <a:lnTo>
                      <a:pt x="187" y="1016"/>
                    </a:lnTo>
                    <a:lnTo>
                      <a:pt x="187" y="1016"/>
                    </a:lnTo>
                    <a:lnTo>
                      <a:pt x="184" y="1021"/>
                    </a:lnTo>
                    <a:lnTo>
                      <a:pt x="184" y="1021"/>
                    </a:lnTo>
                    <a:lnTo>
                      <a:pt x="187" y="1021"/>
                    </a:lnTo>
                    <a:lnTo>
                      <a:pt x="187" y="1023"/>
                    </a:lnTo>
                    <a:lnTo>
                      <a:pt x="184" y="1023"/>
                    </a:lnTo>
                    <a:lnTo>
                      <a:pt x="182" y="1025"/>
                    </a:lnTo>
                    <a:lnTo>
                      <a:pt x="180" y="1030"/>
                    </a:lnTo>
                    <a:lnTo>
                      <a:pt x="177" y="1032"/>
                    </a:lnTo>
                    <a:lnTo>
                      <a:pt x="175" y="1037"/>
                    </a:lnTo>
                    <a:lnTo>
                      <a:pt x="175" y="1037"/>
                    </a:lnTo>
                    <a:lnTo>
                      <a:pt x="177" y="1039"/>
                    </a:lnTo>
                    <a:lnTo>
                      <a:pt x="177" y="1039"/>
                    </a:lnTo>
                    <a:lnTo>
                      <a:pt x="177" y="1042"/>
                    </a:lnTo>
                    <a:lnTo>
                      <a:pt x="175" y="1044"/>
                    </a:lnTo>
                    <a:lnTo>
                      <a:pt x="177" y="1047"/>
                    </a:lnTo>
                    <a:lnTo>
                      <a:pt x="177" y="1049"/>
                    </a:lnTo>
                    <a:lnTo>
                      <a:pt x="177" y="1049"/>
                    </a:lnTo>
                    <a:lnTo>
                      <a:pt x="177" y="1051"/>
                    </a:lnTo>
                    <a:lnTo>
                      <a:pt x="177" y="1054"/>
                    </a:lnTo>
                    <a:lnTo>
                      <a:pt x="177" y="1054"/>
                    </a:lnTo>
                    <a:lnTo>
                      <a:pt x="177" y="1056"/>
                    </a:lnTo>
                    <a:lnTo>
                      <a:pt x="173" y="1058"/>
                    </a:lnTo>
                    <a:lnTo>
                      <a:pt x="161" y="1051"/>
                    </a:lnTo>
                    <a:lnTo>
                      <a:pt x="144" y="1042"/>
                    </a:lnTo>
                    <a:lnTo>
                      <a:pt x="107" y="1021"/>
                    </a:lnTo>
                    <a:lnTo>
                      <a:pt x="104" y="1018"/>
                    </a:lnTo>
                    <a:lnTo>
                      <a:pt x="104" y="1018"/>
                    </a:lnTo>
                    <a:lnTo>
                      <a:pt x="102" y="1018"/>
                    </a:lnTo>
                    <a:lnTo>
                      <a:pt x="99" y="1018"/>
                    </a:lnTo>
                    <a:lnTo>
                      <a:pt x="97" y="1016"/>
                    </a:lnTo>
                    <a:lnTo>
                      <a:pt x="95" y="1016"/>
                    </a:lnTo>
                    <a:lnTo>
                      <a:pt x="95" y="1013"/>
                    </a:lnTo>
                    <a:lnTo>
                      <a:pt x="92" y="1013"/>
                    </a:lnTo>
                    <a:lnTo>
                      <a:pt x="90" y="1013"/>
                    </a:lnTo>
                    <a:lnTo>
                      <a:pt x="88" y="1013"/>
                    </a:lnTo>
                    <a:lnTo>
                      <a:pt x="88" y="1013"/>
                    </a:lnTo>
                    <a:lnTo>
                      <a:pt x="85" y="1013"/>
                    </a:lnTo>
                    <a:lnTo>
                      <a:pt x="85" y="1011"/>
                    </a:lnTo>
                    <a:lnTo>
                      <a:pt x="81" y="1011"/>
                    </a:lnTo>
                    <a:lnTo>
                      <a:pt x="81" y="1011"/>
                    </a:lnTo>
                    <a:lnTo>
                      <a:pt x="78" y="1011"/>
                    </a:lnTo>
                    <a:lnTo>
                      <a:pt x="76" y="1011"/>
                    </a:lnTo>
                    <a:lnTo>
                      <a:pt x="73" y="1009"/>
                    </a:lnTo>
                    <a:lnTo>
                      <a:pt x="71" y="1011"/>
                    </a:lnTo>
                    <a:lnTo>
                      <a:pt x="71" y="1009"/>
                    </a:lnTo>
                    <a:lnTo>
                      <a:pt x="71" y="1009"/>
                    </a:lnTo>
                    <a:lnTo>
                      <a:pt x="71" y="1011"/>
                    </a:lnTo>
                    <a:lnTo>
                      <a:pt x="69" y="1009"/>
                    </a:lnTo>
                    <a:lnTo>
                      <a:pt x="69" y="1009"/>
                    </a:lnTo>
                    <a:lnTo>
                      <a:pt x="69" y="1009"/>
                    </a:lnTo>
                    <a:lnTo>
                      <a:pt x="66" y="1006"/>
                    </a:lnTo>
                    <a:lnTo>
                      <a:pt x="66" y="1006"/>
                    </a:lnTo>
                    <a:lnTo>
                      <a:pt x="66" y="1006"/>
                    </a:lnTo>
                    <a:lnTo>
                      <a:pt x="66" y="1004"/>
                    </a:lnTo>
                    <a:lnTo>
                      <a:pt x="64" y="1004"/>
                    </a:lnTo>
                    <a:lnTo>
                      <a:pt x="64" y="1004"/>
                    </a:lnTo>
                    <a:lnTo>
                      <a:pt x="64" y="1004"/>
                    </a:lnTo>
                    <a:lnTo>
                      <a:pt x="64" y="1004"/>
                    </a:lnTo>
                    <a:lnTo>
                      <a:pt x="62" y="1004"/>
                    </a:lnTo>
                    <a:lnTo>
                      <a:pt x="62" y="1004"/>
                    </a:lnTo>
                    <a:lnTo>
                      <a:pt x="59" y="1004"/>
                    </a:lnTo>
                    <a:lnTo>
                      <a:pt x="62" y="1004"/>
                    </a:lnTo>
                    <a:lnTo>
                      <a:pt x="59" y="1002"/>
                    </a:lnTo>
                    <a:lnTo>
                      <a:pt x="59" y="1004"/>
                    </a:lnTo>
                    <a:lnTo>
                      <a:pt x="59" y="1002"/>
                    </a:lnTo>
                    <a:lnTo>
                      <a:pt x="57" y="1002"/>
                    </a:lnTo>
                    <a:lnTo>
                      <a:pt x="57" y="1002"/>
                    </a:lnTo>
                    <a:lnTo>
                      <a:pt x="57" y="1002"/>
                    </a:lnTo>
                    <a:lnTo>
                      <a:pt x="57" y="1002"/>
                    </a:lnTo>
                    <a:lnTo>
                      <a:pt x="57" y="1002"/>
                    </a:lnTo>
                    <a:lnTo>
                      <a:pt x="57" y="999"/>
                    </a:lnTo>
                    <a:lnTo>
                      <a:pt x="55" y="999"/>
                    </a:lnTo>
                    <a:lnTo>
                      <a:pt x="55" y="997"/>
                    </a:lnTo>
                    <a:lnTo>
                      <a:pt x="55" y="997"/>
                    </a:lnTo>
                    <a:lnTo>
                      <a:pt x="55" y="995"/>
                    </a:lnTo>
                    <a:lnTo>
                      <a:pt x="57" y="995"/>
                    </a:lnTo>
                    <a:lnTo>
                      <a:pt x="55" y="992"/>
                    </a:lnTo>
                    <a:lnTo>
                      <a:pt x="57" y="992"/>
                    </a:lnTo>
                    <a:lnTo>
                      <a:pt x="57" y="990"/>
                    </a:lnTo>
                    <a:lnTo>
                      <a:pt x="57" y="990"/>
                    </a:lnTo>
                    <a:lnTo>
                      <a:pt x="57" y="990"/>
                    </a:lnTo>
                    <a:lnTo>
                      <a:pt x="57" y="988"/>
                    </a:lnTo>
                    <a:lnTo>
                      <a:pt x="57" y="985"/>
                    </a:lnTo>
                    <a:lnTo>
                      <a:pt x="57" y="985"/>
                    </a:lnTo>
                    <a:lnTo>
                      <a:pt x="57" y="985"/>
                    </a:lnTo>
                    <a:lnTo>
                      <a:pt x="57" y="983"/>
                    </a:lnTo>
                    <a:lnTo>
                      <a:pt x="57" y="983"/>
                    </a:lnTo>
                    <a:lnTo>
                      <a:pt x="57" y="980"/>
                    </a:lnTo>
                    <a:lnTo>
                      <a:pt x="57" y="983"/>
                    </a:lnTo>
                    <a:lnTo>
                      <a:pt x="57" y="983"/>
                    </a:lnTo>
                    <a:lnTo>
                      <a:pt x="57" y="983"/>
                    </a:lnTo>
                    <a:lnTo>
                      <a:pt x="57" y="983"/>
                    </a:lnTo>
                    <a:lnTo>
                      <a:pt x="59" y="983"/>
                    </a:lnTo>
                    <a:lnTo>
                      <a:pt x="59" y="980"/>
                    </a:lnTo>
                    <a:lnTo>
                      <a:pt x="59" y="983"/>
                    </a:lnTo>
                    <a:lnTo>
                      <a:pt x="59" y="983"/>
                    </a:lnTo>
                    <a:lnTo>
                      <a:pt x="59" y="980"/>
                    </a:lnTo>
                    <a:lnTo>
                      <a:pt x="59" y="978"/>
                    </a:lnTo>
                    <a:lnTo>
                      <a:pt x="59" y="978"/>
                    </a:lnTo>
                    <a:lnTo>
                      <a:pt x="62" y="976"/>
                    </a:lnTo>
                    <a:lnTo>
                      <a:pt x="62" y="976"/>
                    </a:lnTo>
                    <a:lnTo>
                      <a:pt x="62" y="973"/>
                    </a:lnTo>
                    <a:lnTo>
                      <a:pt x="62" y="976"/>
                    </a:lnTo>
                    <a:lnTo>
                      <a:pt x="64" y="973"/>
                    </a:lnTo>
                    <a:lnTo>
                      <a:pt x="62" y="971"/>
                    </a:lnTo>
                    <a:lnTo>
                      <a:pt x="64" y="969"/>
                    </a:lnTo>
                    <a:lnTo>
                      <a:pt x="64" y="969"/>
                    </a:lnTo>
                    <a:lnTo>
                      <a:pt x="64" y="969"/>
                    </a:lnTo>
                    <a:lnTo>
                      <a:pt x="66" y="969"/>
                    </a:lnTo>
                    <a:lnTo>
                      <a:pt x="69" y="966"/>
                    </a:lnTo>
                    <a:lnTo>
                      <a:pt x="69" y="966"/>
                    </a:lnTo>
                    <a:lnTo>
                      <a:pt x="69" y="966"/>
                    </a:lnTo>
                    <a:lnTo>
                      <a:pt x="69" y="966"/>
                    </a:lnTo>
                    <a:lnTo>
                      <a:pt x="69" y="964"/>
                    </a:lnTo>
                    <a:lnTo>
                      <a:pt x="69" y="966"/>
                    </a:lnTo>
                    <a:lnTo>
                      <a:pt x="66" y="966"/>
                    </a:lnTo>
                    <a:lnTo>
                      <a:pt x="66" y="964"/>
                    </a:lnTo>
                    <a:lnTo>
                      <a:pt x="66" y="964"/>
                    </a:lnTo>
                    <a:lnTo>
                      <a:pt x="64" y="962"/>
                    </a:lnTo>
                    <a:lnTo>
                      <a:pt x="66" y="959"/>
                    </a:lnTo>
                    <a:lnTo>
                      <a:pt x="66" y="957"/>
                    </a:lnTo>
                    <a:lnTo>
                      <a:pt x="66" y="957"/>
                    </a:lnTo>
                    <a:lnTo>
                      <a:pt x="69" y="954"/>
                    </a:lnTo>
                    <a:lnTo>
                      <a:pt x="69" y="952"/>
                    </a:lnTo>
                    <a:lnTo>
                      <a:pt x="69" y="952"/>
                    </a:lnTo>
                    <a:lnTo>
                      <a:pt x="71" y="952"/>
                    </a:lnTo>
                    <a:lnTo>
                      <a:pt x="71" y="950"/>
                    </a:lnTo>
                    <a:lnTo>
                      <a:pt x="71" y="950"/>
                    </a:lnTo>
                    <a:lnTo>
                      <a:pt x="73" y="950"/>
                    </a:lnTo>
                    <a:lnTo>
                      <a:pt x="73" y="950"/>
                    </a:lnTo>
                    <a:lnTo>
                      <a:pt x="73" y="950"/>
                    </a:lnTo>
                    <a:lnTo>
                      <a:pt x="73" y="947"/>
                    </a:lnTo>
                    <a:lnTo>
                      <a:pt x="76" y="943"/>
                    </a:lnTo>
                    <a:lnTo>
                      <a:pt x="71" y="945"/>
                    </a:lnTo>
                    <a:lnTo>
                      <a:pt x="71" y="947"/>
                    </a:lnTo>
                    <a:lnTo>
                      <a:pt x="71" y="947"/>
                    </a:lnTo>
                    <a:lnTo>
                      <a:pt x="71" y="947"/>
                    </a:lnTo>
                    <a:lnTo>
                      <a:pt x="69" y="947"/>
                    </a:lnTo>
                    <a:lnTo>
                      <a:pt x="69" y="947"/>
                    </a:lnTo>
                    <a:lnTo>
                      <a:pt x="69" y="947"/>
                    </a:lnTo>
                    <a:lnTo>
                      <a:pt x="69" y="947"/>
                    </a:lnTo>
                    <a:lnTo>
                      <a:pt x="71" y="947"/>
                    </a:lnTo>
                    <a:lnTo>
                      <a:pt x="71" y="950"/>
                    </a:lnTo>
                    <a:lnTo>
                      <a:pt x="69" y="950"/>
                    </a:lnTo>
                    <a:lnTo>
                      <a:pt x="66" y="950"/>
                    </a:lnTo>
                    <a:lnTo>
                      <a:pt x="66" y="950"/>
                    </a:lnTo>
                    <a:lnTo>
                      <a:pt x="69" y="950"/>
                    </a:lnTo>
                    <a:lnTo>
                      <a:pt x="66" y="950"/>
                    </a:lnTo>
                    <a:lnTo>
                      <a:pt x="64" y="952"/>
                    </a:lnTo>
                    <a:lnTo>
                      <a:pt x="62" y="952"/>
                    </a:lnTo>
                    <a:lnTo>
                      <a:pt x="62" y="954"/>
                    </a:lnTo>
                    <a:lnTo>
                      <a:pt x="59" y="954"/>
                    </a:lnTo>
                    <a:lnTo>
                      <a:pt x="57" y="954"/>
                    </a:lnTo>
                    <a:lnTo>
                      <a:pt x="57" y="957"/>
                    </a:lnTo>
                    <a:lnTo>
                      <a:pt x="55" y="957"/>
                    </a:lnTo>
                    <a:lnTo>
                      <a:pt x="52" y="959"/>
                    </a:lnTo>
                    <a:lnTo>
                      <a:pt x="52" y="959"/>
                    </a:lnTo>
                    <a:lnTo>
                      <a:pt x="55" y="959"/>
                    </a:lnTo>
                    <a:lnTo>
                      <a:pt x="55" y="962"/>
                    </a:lnTo>
                    <a:lnTo>
                      <a:pt x="52" y="959"/>
                    </a:lnTo>
                    <a:lnTo>
                      <a:pt x="52" y="959"/>
                    </a:lnTo>
                    <a:lnTo>
                      <a:pt x="52" y="962"/>
                    </a:lnTo>
                    <a:lnTo>
                      <a:pt x="52" y="962"/>
                    </a:lnTo>
                    <a:lnTo>
                      <a:pt x="50" y="962"/>
                    </a:lnTo>
                    <a:lnTo>
                      <a:pt x="50" y="962"/>
                    </a:lnTo>
                    <a:lnTo>
                      <a:pt x="50" y="964"/>
                    </a:lnTo>
                    <a:lnTo>
                      <a:pt x="47" y="964"/>
                    </a:lnTo>
                    <a:lnTo>
                      <a:pt x="47" y="964"/>
                    </a:lnTo>
                    <a:lnTo>
                      <a:pt x="47" y="964"/>
                    </a:lnTo>
                    <a:lnTo>
                      <a:pt x="47" y="966"/>
                    </a:lnTo>
                    <a:lnTo>
                      <a:pt x="47" y="966"/>
                    </a:lnTo>
                    <a:lnTo>
                      <a:pt x="47" y="969"/>
                    </a:lnTo>
                    <a:lnTo>
                      <a:pt x="45" y="969"/>
                    </a:lnTo>
                    <a:lnTo>
                      <a:pt x="45" y="969"/>
                    </a:lnTo>
                    <a:lnTo>
                      <a:pt x="43" y="971"/>
                    </a:lnTo>
                    <a:lnTo>
                      <a:pt x="45" y="971"/>
                    </a:lnTo>
                    <a:lnTo>
                      <a:pt x="43" y="973"/>
                    </a:lnTo>
                    <a:lnTo>
                      <a:pt x="43" y="973"/>
                    </a:lnTo>
                    <a:lnTo>
                      <a:pt x="40" y="973"/>
                    </a:lnTo>
                    <a:lnTo>
                      <a:pt x="43" y="976"/>
                    </a:lnTo>
                    <a:lnTo>
                      <a:pt x="40" y="978"/>
                    </a:lnTo>
                    <a:lnTo>
                      <a:pt x="40" y="976"/>
                    </a:lnTo>
                    <a:lnTo>
                      <a:pt x="38" y="978"/>
                    </a:lnTo>
                    <a:lnTo>
                      <a:pt x="38" y="978"/>
                    </a:lnTo>
                    <a:lnTo>
                      <a:pt x="38" y="978"/>
                    </a:lnTo>
                    <a:lnTo>
                      <a:pt x="40" y="978"/>
                    </a:lnTo>
                    <a:lnTo>
                      <a:pt x="40" y="978"/>
                    </a:lnTo>
                    <a:lnTo>
                      <a:pt x="38" y="978"/>
                    </a:lnTo>
                    <a:lnTo>
                      <a:pt x="40" y="980"/>
                    </a:lnTo>
                    <a:lnTo>
                      <a:pt x="38" y="980"/>
                    </a:lnTo>
                    <a:lnTo>
                      <a:pt x="40" y="983"/>
                    </a:lnTo>
                    <a:lnTo>
                      <a:pt x="38" y="983"/>
                    </a:lnTo>
                    <a:lnTo>
                      <a:pt x="38" y="983"/>
                    </a:lnTo>
                    <a:lnTo>
                      <a:pt x="36" y="983"/>
                    </a:lnTo>
                    <a:lnTo>
                      <a:pt x="36" y="985"/>
                    </a:lnTo>
                    <a:lnTo>
                      <a:pt x="33" y="985"/>
                    </a:lnTo>
                    <a:lnTo>
                      <a:pt x="33" y="985"/>
                    </a:lnTo>
                    <a:lnTo>
                      <a:pt x="33" y="988"/>
                    </a:lnTo>
                    <a:lnTo>
                      <a:pt x="36" y="988"/>
                    </a:lnTo>
                    <a:lnTo>
                      <a:pt x="33" y="988"/>
                    </a:lnTo>
                    <a:lnTo>
                      <a:pt x="33" y="990"/>
                    </a:lnTo>
                    <a:lnTo>
                      <a:pt x="33" y="990"/>
                    </a:lnTo>
                    <a:lnTo>
                      <a:pt x="33" y="992"/>
                    </a:lnTo>
                    <a:lnTo>
                      <a:pt x="33" y="992"/>
                    </a:lnTo>
                    <a:lnTo>
                      <a:pt x="33" y="992"/>
                    </a:lnTo>
                    <a:lnTo>
                      <a:pt x="33" y="995"/>
                    </a:lnTo>
                    <a:lnTo>
                      <a:pt x="33" y="995"/>
                    </a:lnTo>
                    <a:lnTo>
                      <a:pt x="31" y="995"/>
                    </a:lnTo>
                    <a:lnTo>
                      <a:pt x="33" y="999"/>
                    </a:lnTo>
                    <a:lnTo>
                      <a:pt x="31" y="999"/>
                    </a:lnTo>
                    <a:lnTo>
                      <a:pt x="31" y="999"/>
                    </a:lnTo>
                    <a:lnTo>
                      <a:pt x="31" y="1002"/>
                    </a:lnTo>
                    <a:lnTo>
                      <a:pt x="31" y="1002"/>
                    </a:lnTo>
                    <a:lnTo>
                      <a:pt x="29" y="1004"/>
                    </a:lnTo>
                    <a:lnTo>
                      <a:pt x="29" y="1004"/>
                    </a:lnTo>
                    <a:lnTo>
                      <a:pt x="29" y="1002"/>
                    </a:lnTo>
                    <a:lnTo>
                      <a:pt x="26" y="1002"/>
                    </a:lnTo>
                    <a:lnTo>
                      <a:pt x="21" y="1002"/>
                    </a:lnTo>
                    <a:lnTo>
                      <a:pt x="19" y="1002"/>
                    </a:lnTo>
                    <a:lnTo>
                      <a:pt x="19" y="999"/>
                    </a:lnTo>
                    <a:lnTo>
                      <a:pt x="21" y="997"/>
                    </a:lnTo>
                    <a:lnTo>
                      <a:pt x="21" y="997"/>
                    </a:lnTo>
                    <a:lnTo>
                      <a:pt x="19" y="997"/>
                    </a:lnTo>
                    <a:lnTo>
                      <a:pt x="17" y="997"/>
                    </a:lnTo>
                    <a:lnTo>
                      <a:pt x="17" y="999"/>
                    </a:lnTo>
                    <a:lnTo>
                      <a:pt x="14" y="999"/>
                    </a:lnTo>
                    <a:lnTo>
                      <a:pt x="14" y="999"/>
                    </a:lnTo>
                    <a:lnTo>
                      <a:pt x="14" y="997"/>
                    </a:lnTo>
                    <a:lnTo>
                      <a:pt x="17" y="995"/>
                    </a:lnTo>
                    <a:lnTo>
                      <a:pt x="14" y="995"/>
                    </a:lnTo>
                    <a:lnTo>
                      <a:pt x="14" y="992"/>
                    </a:lnTo>
                    <a:lnTo>
                      <a:pt x="14" y="988"/>
                    </a:lnTo>
                    <a:lnTo>
                      <a:pt x="12" y="988"/>
                    </a:lnTo>
                    <a:lnTo>
                      <a:pt x="14" y="985"/>
                    </a:lnTo>
                    <a:lnTo>
                      <a:pt x="12" y="985"/>
                    </a:lnTo>
                    <a:lnTo>
                      <a:pt x="12" y="980"/>
                    </a:lnTo>
                    <a:lnTo>
                      <a:pt x="12" y="978"/>
                    </a:lnTo>
                    <a:lnTo>
                      <a:pt x="12" y="978"/>
                    </a:lnTo>
                    <a:lnTo>
                      <a:pt x="12" y="976"/>
                    </a:lnTo>
                    <a:lnTo>
                      <a:pt x="5" y="978"/>
                    </a:lnTo>
                    <a:lnTo>
                      <a:pt x="5" y="973"/>
                    </a:lnTo>
                    <a:lnTo>
                      <a:pt x="5" y="973"/>
                    </a:lnTo>
                    <a:lnTo>
                      <a:pt x="5" y="971"/>
                    </a:lnTo>
                    <a:lnTo>
                      <a:pt x="5" y="969"/>
                    </a:lnTo>
                    <a:lnTo>
                      <a:pt x="7" y="971"/>
                    </a:lnTo>
                    <a:lnTo>
                      <a:pt x="10" y="971"/>
                    </a:lnTo>
                    <a:lnTo>
                      <a:pt x="10" y="969"/>
                    </a:lnTo>
                    <a:lnTo>
                      <a:pt x="7" y="966"/>
                    </a:lnTo>
                    <a:lnTo>
                      <a:pt x="7" y="964"/>
                    </a:lnTo>
                    <a:lnTo>
                      <a:pt x="10" y="962"/>
                    </a:lnTo>
                    <a:lnTo>
                      <a:pt x="10" y="959"/>
                    </a:lnTo>
                    <a:lnTo>
                      <a:pt x="12" y="957"/>
                    </a:lnTo>
                    <a:lnTo>
                      <a:pt x="12" y="952"/>
                    </a:lnTo>
                    <a:lnTo>
                      <a:pt x="12" y="952"/>
                    </a:lnTo>
                    <a:lnTo>
                      <a:pt x="14" y="952"/>
                    </a:lnTo>
                    <a:lnTo>
                      <a:pt x="14" y="952"/>
                    </a:lnTo>
                    <a:lnTo>
                      <a:pt x="14" y="947"/>
                    </a:lnTo>
                    <a:lnTo>
                      <a:pt x="14" y="947"/>
                    </a:lnTo>
                    <a:lnTo>
                      <a:pt x="14" y="943"/>
                    </a:lnTo>
                    <a:lnTo>
                      <a:pt x="14" y="940"/>
                    </a:lnTo>
                    <a:lnTo>
                      <a:pt x="12" y="938"/>
                    </a:lnTo>
                    <a:lnTo>
                      <a:pt x="12" y="936"/>
                    </a:lnTo>
                    <a:lnTo>
                      <a:pt x="12" y="933"/>
                    </a:lnTo>
                    <a:lnTo>
                      <a:pt x="12" y="931"/>
                    </a:lnTo>
                    <a:lnTo>
                      <a:pt x="12" y="931"/>
                    </a:lnTo>
                    <a:lnTo>
                      <a:pt x="14" y="928"/>
                    </a:lnTo>
                    <a:lnTo>
                      <a:pt x="14" y="928"/>
                    </a:lnTo>
                    <a:lnTo>
                      <a:pt x="12" y="924"/>
                    </a:lnTo>
                    <a:lnTo>
                      <a:pt x="12" y="921"/>
                    </a:lnTo>
                    <a:lnTo>
                      <a:pt x="12" y="921"/>
                    </a:lnTo>
                    <a:lnTo>
                      <a:pt x="7" y="921"/>
                    </a:lnTo>
                    <a:lnTo>
                      <a:pt x="7" y="919"/>
                    </a:lnTo>
                    <a:lnTo>
                      <a:pt x="7" y="917"/>
                    </a:lnTo>
                    <a:lnTo>
                      <a:pt x="7" y="912"/>
                    </a:lnTo>
                    <a:lnTo>
                      <a:pt x="7" y="912"/>
                    </a:lnTo>
                    <a:lnTo>
                      <a:pt x="7" y="910"/>
                    </a:lnTo>
                    <a:lnTo>
                      <a:pt x="10" y="902"/>
                    </a:lnTo>
                    <a:lnTo>
                      <a:pt x="10" y="900"/>
                    </a:lnTo>
                    <a:lnTo>
                      <a:pt x="7" y="898"/>
                    </a:lnTo>
                    <a:lnTo>
                      <a:pt x="7" y="898"/>
                    </a:lnTo>
                    <a:lnTo>
                      <a:pt x="7" y="895"/>
                    </a:lnTo>
                    <a:lnTo>
                      <a:pt x="7" y="893"/>
                    </a:lnTo>
                    <a:lnTo>
                      <a:pt x="7" y="893"/>
                    </a:lnTo>
                    <a:lnTo>
                      <a:pt x="7" y="891"/>
                    </a:lnTo>
                    <a:lnTo>
                      <a:pt x="12" y="888"/>
                    </a:lnTo>
                    <a:lnTo>
                      <a:pt x="12" y="886"/>
                    </a:lnTo>
                    <a:lnTo>
                      <a:pt x="10" y="884"/>
                    </a:lnTo>
                    <a:lnTo>
                      <a:pt x="10" y="881"/>
                    </a:lnTo>
                    <a:lnTo>
                      <a:pt x="12" y="879"/>
                    </a:lnTo>
                    <a:lnTo>
                      <a:pt x="12" y="876"/>
                    </a:lnTo>
                    <a:lnTo>
                      <a:pt x="10" y="874"/>
                    </a:lnTo>
                    <a:lnTo>
                      <a:pt x="7" y="874"/>
                    </a:lnTo>
                    <a:lnTo>
                      <a:pt x="7" y="874"/>
                    </a:lnTo>
                    <a:lnTo>
                      <a:pt x="7" y="869"/>
                    </a:lnTo>
                    <a:lnTo>
                      <a:pt x="5" y="867"/>
                    </a:lnTo>
                    <a:lnTo>
                      <a:pt x="5" y="867"/>
                    </a:lnTo>
                    <a:lnTo>
                      <a:pt x="5" y="862"/>
                    </a:lnTo>
                    <a:lnTo>
                      <a:pt x="3" y="860"/>
                    </a:lnTo>
                    <a:lnTo>
                      <a:pt x="3" y="858"/>
                    </a:lnTo>
                    <a:lnTo>
                      <a:pt x="3" y="858"/>
                    </a:lnTo>
                    <a:lnTo>
                      <a:pt x="5" y="855"/>
                    </a:lnTo>
                    <a:lnTo>
                      <a:pt x="7" y="853"/>
                    </a:lnTo>
                    <a:lnTo>
                      <a:pt x="7" y="853"/>
                    </a:lnTo>
                    <a:lnTo>
                      <a:pt x="10" y="851"/>
                    </a:lnTo>
                    <a:lnTo>
                      <a:pt x="10" y="851"/>
                    </a:lnTo>
                    <a:lnTo>
                      <a:pt x="10" y="846"/>
                    </a:lnTo>
                    <a:lnTo>
                      <a:pt x="10" y="843"/>
                    </a:lnTo>
                    <a:lnTo>
                      <a:pt x="10" y="841"/>
                    </a:lnTo>
                    <a:lnTo>
                      <a:pt x="10" y="841"/>
                    </a:lnTo>
                    <a:lnTo>
                      <a:pt x="10" y="839"/>
                    </a:lnTo>
                    <a:lnTo>
                      <a:pt x="10" y="839"/>
                    </a:lnTo>
                    <a:lnTo>
                      <a:pt x="10" y="839"/>
                    </a:lnTo>
                    <a:lnTo>
                      <a:pt x="7" y="839"/>
                    </a:lnTo>
                    <a:lnTo>
                      <a:pt x="7" y="839"/>
                    </a:lnTo>
                    <a:lnTo>
                      <a:pt x="3" y="836"/>
                    </a:lnTo>
                    <a:lnTo>
                      <a:pt x="3" y="836"/>
                    </a:lnTo>
                    <a:lnTo>
                      <a:pt x="0" y="832"/>
                    </a:lnTo>
                    <a:lnTo>
                      <a:pt x="0" y="829"/>
                    </a:lnTo>
                    <a:lnTo>
                      <a:pt x="0" y="827"/>
                    </a:lnTo>
                    <a:lnTo>
                      <a:pt x="0" y="822"/>
                    </a:lnTo>
                    <a:lnTo>
                      <a:pt x="0" y="822"/>
                    </a:lnTo>
                    <a:lnTo>
                      <a:pt x="0" y="820"/>
                    </a:lnTo>
                    <a:close/>
                  </a:path>
                </a:pathLst>
              </a:custGeom>
              <a:grpFill/>
              <a:ln w="9525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charset="0"/>
                  <a:cs typeface="Arial" charset="0"/>
                </a:endParaRPr>
              </a:p>
            </p:txBody>
          </p:sp>
        </p:grpSp>
      </p:grpSp>
      <p:pic>
        <p:nvPicPr>
          <p:cNvPr id="41" name="Picture 2" descr="Localização do Brasil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563" y="4149725"/>
            <a:ext cx="1039812" cy="1036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Freeform 11"/>
          <p:cNvSpPr>
            <a:spLocks/>
          </p:cNvSpPr>
          <p:nvPr>
            <p:custDataLst>
              <p:tags r:id="rId2"/>
            </p:custDataLst>
          </p:nvPr>
        </p:nvSpPr>
        <p:spPr bwMode="gray">
          <a:xfrm rot="1606905">
            <a:off x="2032000" y="3724275"/>
            <a:ext cx="1150938" cy="671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4" y="238"/>
              </a:cxn>
              <a:cxn ang="0">
                <a:pos x="514" y="188"/>
              </a:cxn>
              <a:cxn ang="0">
                <a:pos x="626" y="257"/>
              </a:cxn>
              <a:cxn ang="0">
                <a:pos x="554" y="364"/>
              </a:cxn>
              <a:cxn ang="0">
                <a:pos x="544" y="312"/>
              </a:cxn>
              <a:cxn ang="0">
                <a:pos x="0" y="0"/>
              </a:cxn>
            </a:cxnLst>
            <a:rect l="0" t="0" r="r" b="b"/>
            <a:pathLst>
              <a:path w="626" h="416">
                <a:moveTo>
                  <a:pt x="0" y="0"/>
                </a:moveTo>
                <a:cubicBezTo>
                  <a:pt x="0" y="0"/>
                  <a:pt x="124" y="328"/>
                  <a:pt x="524" y="238"/>
                </a:cubicBezTo>
                <a:cubicBezTo>
                  <a:pt x="514" y="188"/>
                  <a:pt x="514" y="188"/>
                  <a:pt x="514" y="188"/>
                </a:cubicBezTo>
                <a:cubicBezTo>
                  <a:pt x="626" y="257"/>
                  <a:pt x="626" y="257"/>
                  <a:pt x="626" y="257"/>
                </a:cubicBezTo>
                <a:cubicBezTo>
                  <a:pt x="554" y="364"/>
                  <a:pt x="554" y="364"/>
                  <a:pt x="554" y="364"/>
                </a:cubicBezTo>
                <a:cubicBezTo>
                  <a:pt x="544" y="312"/>
                  <a:pt x="544" y="312"/>
                  <a:pt x="544" y="312"/>
                </a:cubicBezTo>
                <a:cubicBezTo>
                  <a:pt x="544" y="312"/>
                  <a:pt x="74" y="416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43" name="Freeform 11"/>
          <p:cNvSpPr>
            <a:spLocks/>
          </p:cNvSpPr>
          <p:nvPr>
            <p:custDataLst>
              <p:tags r:id="rId3"/>
            </p:custDataLst>
          </p:nvPr>
        </p:nvSpPr>
        <p:spPr bwMode="gray">
          <a:xfrm rot="16946889">
            <a:off x="2667000" y="4649788"/>
            <a:ext cx="698500" cy="3492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4" y="238"/>
              </a:cxn>
              <a:cxn ang="0">
                <a:pos x="514" y="188"/>
              </a:cxn>
              <a:cxn ang="0">
                <a:pos x="626" y="257"/>
              </a:cxn>
              <a:cxn ang="0">
                <a:pos x="554" y="364"/>
              </a:cxn>
              <a:cxn ang="0">
                <a:pos x="544" y="312"/>
              </a:cxn>
              <a:cxn ang="0">
                <a:pos x="0" y="0"/>
              </a:cxn>
            </a:cxnLst>
            <a:rect l="0" t="0" r="r" b="b"/>
            <a:pathLst>
              <a:path w="626" h="416">
                <a:moveTo>
                  <a:pt x="0" y="0"/>
                </a:moveTo>
                <a:cubicBezTo>
                  <a:pt x="0" y="0"/>
                  <a:pt x="124" y="328"/>
                  <a:pt x="524" y="238"/>
                </a:cubicBezTo>
                <a:cubicBezTo>
                  <a:pt x="514" y="188"/>
                  <a:pt x="514" y="188"/>
                  <a:pt x="514" y="188"/>
                </a:cubicBezTo>
                <a:cubicBezTo>
                  <a:pt x="626" y="257"/>
                  <a:pt x="626" y="257"/>
                  <a:pt x="626" y="257"/>
                </a:cubicBezTo>
                <a:cubicBezTo>
                  <a:pt x="554" y="364"/>
                  <a:pt x="554" y="364"/>
                  <a:pt x="554" y="364"/>
                </a:cubicBezTo>
                <a:cubicBezTo>
                  <a:pt x="544" y="312"/>
                  <a:pt x="544" y="312"/>
                  <a:pt x="544" y="312"/>
                </a:cubicBezTo>
                <a:cubicBezTo>
                  <a:pt x="544" y="312"/>
                  <a:pt x="74" y="416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44" name="Freeform 11"/>
          <p:cNvSpPr>
            <a:spLocks/>
          </p:cNvSpPr>
          <p:nvPr>
            <p:custDataLst>
              <p:tags r:id="rId4"/>
            </p:custDataLst>
          </p:nvPr>
        </p:nvSpPr>
        <p:spPr bwMode="gray">
          <a:xfrm rot="6290352" flipV="1">
            <a:off x="3140756" y="3559190"/>
            <a:ext cx="504825" cy="59531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4" y="238"/>
              </a:cxn>
              <a:cxn ang="0">
                <a:pos x="514" y="188"/>
              </a:cxn>
              <a:cxn ang="0">
                <a:pos x="626" y="257"/>
              </a:cxn>
              <a:cxn ang="0">
                <a:pos x="554" y="364"/>
              </a:cxn>
              <a:cxn ang="0">
                <a:pos x="544" y="312"/>
              </a:cxn>
              <a:cxn ang="0">
                <a:pos x="0" y="0"/>
              </a:cxn>
            </a:cxnLst>
            <a:rect l="0" t="0" r="r" b="b"/>
            <a:pathLst>
              <a:path w="626" h="416">
                <a:moveTo>
                  <a:pt x="0" y="0"/>
                </a:moveTo>
                <a:cubicBezTo>
                  <a:pt x="0" y="0"/>
                  <a:pt x="124" y="328"/>
                  <a:pt x="524" y="238"/>
                </a:cubicBezTo>
                <a:cubicBezTo>
                  <a:pt x="514" y="188"/>
                  <a:pt x="514" y="188"/>
                  <a:pt x="514" y="188"/>
                </a:cubicBezTo>
                <a:cubicBezTo>
                  <a:pt x="626" y="257"/>
                  <a:pt x="626" y="257"/>
                  <a:pt x="626" y="257"/>
                </a:cubicBezTo>
                <a:cubicBezTo>
                  <a:pt x="554" y="364"/>
                  <a:pt x="554" y="364"/>
                  <a:pt x="554" y="364"/>
                </a:cubicBezTo>
                <a:cubicBezTo>
                  <a:pt x="544" y="312"/>
                  <a:pt x="544" y="312"/>
                  <a:pt x="544" y="312"/>
                </a:cubicBezTo>
                <a:cubicBezTo>
                  <a:pt x="544" y="312"/>
                  <a:pt x="74" y="416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45" name="Freeform 11"/>
          <p:cNvSpPr>
            <a:spLocks/>
          </p:cNvSpPr>
          <p:nvPr>
            <p:custDataLst>
              <p:tags r:id="rId5"/>
            </p:custDataLst>
          </p:nvPr>
        </p:nvSpPr>
        <p:spPr bwMode="gray">
          <a:xfrm rot="1465663" flipV="1">
            <a:off x="1883063" y="1722180"/>
            <a:ext cx="2360985" cy="6575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4" y="238"/>
              </a:cxn>
              <a:cxn ang="0">
                <a:pos x="514" y="188"/>
              </a:cxn>
              <a:cxn ang="0">
                <a:pos x="626" y="257"/>
              </a:cxn>
              <a:cxn ang="0">
                <a:pos x="554" y="364"/>
              </a:cxn>
              <a:cxn ang="0">
                <a:pos x="544" y="312"/>
              </a:cxn>
              <a:cxn ang="0">
                <a:pos x="0" y="0"/>
              </a:cxn>
            </a:cxnLst>
            <a:rect l="0" t="0" r="r" b="b"/>
            <a:pathLst>
              <a:path w="626" h="416">
                <a:moveTo>
                  <a:pt x="0" y="0"/>
                </a:moveTo>
                <a:cubicBezTo>
                  <a:pt x="0" y="0"/>
                  <a:pt x="124" y="328"/>
                  <a:pt x="524" y="238"/>
                </a:cubicBezTo>
                <a:cubicBezTo>
                  <a:pt x="514" y="188"/>
                  <a:pt x="514" y="188"/>
                  <a:pt x="514" y="188"/>
                </a:cubicBezTo>
                <a:cubicBezTo>
                  <a:pt x="626" y="257"/>
                  <a:pt x="626" y="257"/>
                  <a:pt x="626" y="257"/>
                </a:cubicBezTo>
                <a:cubicBezTo>
                  <a:pt x="554" y="364"/>
                  <a:pt x="554" y="364"/>
                  <a:pt x="554" y="364"/>
                </a:cubicBezTo>
                <a:cubicBezTo>
                  <a:pt x="544" y="312"/>
                  <a:pt x="544" y="312"/>
                  <a:pt x="544" y="312"/>
                </a:cubicBezTo>
                <a:cubicBezTo>
                  <a:pt x="544" y="312"/>
                  <a:pt x="74" y="416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46" name="TextBox 100"/>
          <p:cNvSpPr txBox="1"/>
          <p:nvPr>
            <p:custDataLst>
              <p:tags r:id="rId6"/>
            </p:custDataLst>
          </p:nvPr>
        </p:nvSpPr>
        <p:spPr>
          <a:xfrm>
            <a:off x="4125326" y="2767770"/>
            <a:ext cx="514350" cy="26193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Recife</a:t>
            </a:r>
          </a:p>
        </p:txBody>
      </p:sp>
      <p:sp>
        <p:nvSpPr>
          <p:cNvPr id="47" name="TextBox 202"/>
          <p:cNvSpPr txBox="1"/>
          <p:nvPr>
            <p:custDataLst>
              <p:tags r:id="rId7"/>
            </p:custDataLst>
          </p:nvPr>
        </p:nvSpPr>
        <p:spPr>
          <a:xfrm>
            <a:off x="1392238" y="2078038"/>
            <a:ext cx="617537" cy="26193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Manaus</a:t>
            </a:r>
            <a:endParaRPr lang="pt-BR" sz="1100" b="1" baseline="30000" dirty="0">
              <a:latin typeface="Arial" charset="0"/>
              <a:cs typeface="Arial" charset="0"/>
            </a:endParaRPr>
          </a:p>
        </p:txBody>
      </p:sp>
      <p:sp>
        <p:nvSpPr>
          <p:cNvPr id="48" name="Oval 20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33538" y="1924050"/>
            <a:ext cx="101600" cy="1016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  <p:sp>
        <p:nvSpPr>
          <p:cNvPr id="51" name="TextBox 206"/>
          <p:cNvSpPr txBox="1"/>
          <p:nvPr>
            <p:custDataLst>
              <p:tags r:id="rId9"/>
            </p:custDataLst>
          </p:nvPr>
        </p:nvSpPr>
        <p:spPr>
          <a:xfrm>
            <a:off x="1900781" y="3293697"/>
            <a:ext cx="563563" cy="26193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Cuiabá</a:t>
            </a:r>
          </a:p>
        </p:txBody>
      </p:sp>
      <p:sp>
        <p:nvSpPr>
          <p:cNvPr id="52" name="TextBox 207"/>
          <p:cNvSpPr txBox="1"/>
          <p:nvPr>
            <p:custDataLst>
              <p:tags r:id="rId10"/>
            </p:custDataLst>
          </p:nvPr>
        </p:nvSpPr>
        <p:spPr>
          <a:xfrm>
            <a:off x="2554119" y="3556992"/>
            <a:ext cx="600075" cy="26193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Brasília</a:t>
            </a:r>
          </a:p>
        </p:txBody>
      </p:sp>
      <p:sp>
        <p:nvSpPr>
          <p:cNvPr id="53" name="TextBox 101"/>
          <p:cNvSpPr txBox="1"/>
          <p:nvPr>
            <p:custDataLst>
              <p:tags r:id="rId11"/>
            </p:custDataLst>
          </p:nvPr>
        </p:nvSpPr>
        <p:spPr>
          <a:xfrm>
            <a:off x="3209414" y="4371667"/>
            <a:ext cx="774700" cy="261938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São Paulo</a:t>
            </a:r>
          </a:p>
        </p:txBody>
      </p:sp>
      <p:sp>
        <p:nvSpPr>
          <p:cNvPr id="54" name="TextBox 213"/>
          <p:cNvSpPr txBox="1"/>
          <p:nvPr>
            <p:custDataLst>
              <p:tags r:id="rId12"/>
            </p:custDataLst>
          </p:nvPr>
        </p:nvSpPr>
        <p:spPr>
          <a:xfrm>
            <a:off x="1960901" y="5364225"/>
            <a:ext cx="938212" cy="261938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sz="1100" b="1" dirty="0">
                <a:latin typeface="Arial" charset="0"/>
                <a:cs typeface="Arial" charset="0"/>
              </a:rPr>
              <a:t>Porto Alegre</a:t>
            </a:r>
          </a:p>
        </p:txBody>
      </p:sp>
      <p:sp>
        <p:nvSpPr>
          <p:cNvPr id="55" name="Oval 10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16263" y="4244975"/>
            <a:ext cx="100012" cy="100013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  <p:sp>
        <p:nvSpPr>
          <p:cNvPr id="56" name="Oval 2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579077" y="5135563"/>
            <a:ext cx="101600" cy="1016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  <p:sp>
        <p:nvSpPr>
          <p:cNvPr id="57" name="Rectangle 84"/>
          <p:cNvSpPr/>
          <p:nvPr>
            <p:custDataLst>
              <p:tags r:id="rId15"/>
            </p:custDataLst>
          </p:nvPr>
        </p:nvSpPr>
        <p:spPr>
          <a:xfrm>
            <a:off x="3622742" y="3794095"/>
            <a:ext cx="874712" cy="36988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en-US" b="1" dirty="0">
                <a:latin typeface="Arial" charset="0"/>
                <a:cs typeface="Arial" charset="0"/>
              </a:rPr>
              <a:t>900km </a:t>
            </a:r>
          </a:p>
        </p:txBody>
      </p:sp>
      <p:sp>
        <p:nvSpPr>
          <p:cNvPr id="58" name="Rectangle 82"/>
          <p:cNvSpPr/>
          <p:nvPr>
            <p:custDataLst>
              <p:tags r:id="rId16"/>
            </p:custDataLst>
          </p:nvPr>
        </p:nvSpPr>
        <p:spPr>
          <a:xfrm>
            <a:off x="1189409" y="3533238"/>
            <a:ext cx="1066800" cy="369888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en-US" b="1" dirty="0">
                <a:latin typeface="Arial" charset="0"/>
                <a:cs typeface="Arial" charset="0"/>
              </a:rPr>
              <a:t>1.620km </a:t>
            </a:r>
          </a:p>
        </p:txBody>
      </p:sp>
      <p:sp>
        <p:nvSpPr>
          <p:cNvPr id="59" name="Rectangle 73"/>
          <p:cNvSpPr/>
          <p:nvPr>
            <p:custDataLst>
              <p:tags r:id="rId17"/>
            </p:custDataLst>
          </p:nvPr>
        </p:nvSpPr>
        <p:spPr>
          <a:xfrm>
            <a:off x="2957706" y="1395841"/>
            <a:ext cx="1003300" cy="369888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pt-BR" b="1" dirty="0">
                <a:latin typeface="Arial" charset="0"/>
                <a:cs typeface="Arial" charset="0"/>
              </a:rPr>
              <a:t>3.300km</a:t>
            </a:r>
            <a:endParaRPr lang="en-US" b="1" baseline="30000" dirty="0">
              <a:latin typeface="Arial" charset="0"/>
              <a:cs typeface="Arial" charset="0"/>
            </a:endParaRPr>
          </a:p>
        </p:txBody>
      </p:sp>
      <p:sp>
        <p:nvSpPr>
          <p:cNvPr id="60" name="Rectangle 84"/>
          <p:cNvSpPr/>
          <p:nvPr>
            <p:custDataLst>
              <p:tags r:id="rId18"/>
            </p:custDataLst>
          </p:nvPr>
        </p:nvSpPr>
        <p:spPr>
          <a:xfrm>
            <a:off x="3022000" y="4887652"/>
            <a:ext cx="874712" cy="369887"/>
          </a:xfrm>
          <a:prstGeom prst="rect">
            <a:avLst/>
          </a:prstGeom>
          <a:noFill/>
          <a:effectLst>
            <a:outerShdw blurRad="25400" dist="25400" dir="2400000" algn="tl" rotWithShape="0">
              <a:schemeClr val="bg1"/>
            </a:outerShdw>
          </a:effectLst>
        </p:spPr>
        <p:txBody>
          <a:bodyPr wrap="none" lIns="45720" rIns="45720">
            <a:spAutoFit/>
          </a:bodyPr>
          <a:lstStyle/>
          <a:p>
            <a:pPr>
              <a:defRPr/>
            </a:pPr>
            <a:r>
              <a:rPr lang="en-US" b="1" dirty="0">
                <a:latin typeface="Arial" charset="0"/>
                <a:cs typeface="Arial" charset="0"/>
              </a:rPr>
              <a:t>900km </a:t>
            </a:r>
          </a:p>
        </p:txBody>
      </p:sp>
      <p:sp>
        <p:nvSpPr>
          <p:cNvPr id="62" name="Oval 20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286593" y="2575061"/>
            <a:ext cx="107662" cy="123554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  <p:sp>
        <p:nvSpPr>
          <p:cNvPr id="63" name="Oval 20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872105" y="3437507"/>
            <a:ext cx="144145" cy="127584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  <p:sp>
        <p:nvSpPr>
          <p:cNvPr id="64" name="Oval 20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145411" y="3071516"/>
            <a:ext cx="144145" cy="127584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50000"/>
              </a:spcBef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036952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500"/>
                            </p:stCondLst>
                            <p:childTnLst>
                              <p:par>
                                <p:cTn id="7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0"/>
                            </p:stCondLst>
                            <p:childTnLst>
                              <p:par>
                                <p:cTn id="7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5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allAtOnce"/>
      <p:bldP spid="5" grpId="0" build="allAtOnce"/>
      <p:bldP spid="6" grpId="0" build="allAtOnce"/>
      <p:bldP spid="46" grpId="0"/>
      <p:bldP spid="47" grpId="0"/>
      <p:bldP spid="48" grpId="0" animBg="1"/>
      <p:bldP spid="51" grpId="0"/>
      <p:bldP spid="52" grpId="0"/>
      <p:bldP spid="53" grpId="0"/>
      <p:bldP spid="54" grpId="0"/>
      <p:bldP spid="55" grpId="0" animBg="1"/>
      <p:bldP spid="56" grpId="0" animBg="1"/>
      <p:bldP spid="57" grpId="0"/>
      <p:bldP spid="58" grpId="0"/>
      <p:bldP spid="59" grpId="0"/>
      <p:bldP spid="60" grpId="0"/>
      <p:bldP spid="62" grpId="0" animBg="1"/>
      <p:bldP spid="63" grpId="0" animBg="1"/>
      <p:bldP spid="6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6712"/>
            <a:ext cx="9133367" cy="4586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ítulo 1"/>
          <p:cNvSpPr txBox="1">
            <a:spLocks/>
          </p:cNvSpPr>
          <p:nvPr/>
        </p:nvSpPr>
        <p:spPr>
          <a:xfrm>
            <a:off x="251520" y="116632"/>
            <a:ext cx="86868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3600" b="1" dirty="0" smtClean="0">
                <a:latin typeface="Zurich Light Condensed"/>
              </a:rPr>
              <a:t>DESAFIOS PARA A RECICLAGEM</a:t>
            </a:r>
            <a:endParaRPr lang="pt-BR" sz="3600" b="1" dirty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158632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29340"/>
            <a:ext cx="9144000" cy="454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0" y="-171400"/>
            <a:ext cx="9144000" cy="1143000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CAPACIDADE DE PROCESSAMENTO</a:t>
            </a:r>
            <a:endParaRPr lang="pt-BR" sz="3600" b="1" dirty="0">
              <a:solidFill>
                <a:schemeClr val="tx1"/>
              </a:solidFill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1973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-623209" y="-88758"/>
            <a:ext cx="10369152" cy="1008112"/>
          </a:xfrm>
        </p:spPr>
        <p:txBody>
          <a:bodyPr>
            <a:normAutofit fontScale="90000"/>
          </a:bodyPr>
          <a:lstStyle/>
          <a:p>
            <a:pPr algn="ctr"/>
            <a:r>
              <a:rPr lang="pt-BR" sz="3200" b="1" dirty="0" smtClean="0">
                <a:latin typeface="Zurich Light Condensed"/>
              </a:rPr>
              <a:t/>
            </a:r>
            <a:br>
              <a:rPr lang="pt-BR" sz="3200" b="1" dirty="0" smtClean="0">
                <a:latin typeface="Zurich Light Condensed"/>
              </a:rPr>
            </a:br>
            <a:r>
              <a:rPr lang="pt-BR" sz="3200" b="1" dirty="0" smtClean="0">
                <a:solidFill>
                  <a:schemeClr val="tx1"/>
                </a:solidFill>
                <a:latin typeface="Zurich Light Condensed"/>
              </a:rPr>
              <a:t>NORMA TÉCNICA BRASILEIRA RECICLAGEM </a:t>
            </a:r>
            <a:br>
              <a:rPr lang="pt-BR" sz="3200" b="1" dirty="0" smtClean="0">
                <a:solidFill>
                  <a:schemeClr val="tx1"/>
                </a:solidFill>
                <a:latin typeface="Zurich Light Condensed"/>
              </a:rPr>
            </a:br>
            <a:r>
              <a:rPr lang="pt-BR" sz="3200" b="1" dirty="0" smtClean="0">
                <a:solidFill>
                  <a:schemeClr val="tx1"/>
                </a:solidFill>
                <a:latin typeface="Zurich Light Condensed"/>
              </a:rPr>
              <a:t>DE RESÍDUOS ELETROELETRÔNICOS </a:t>
            </a:r>
            <a:r>
              <a:rPr lang="en-US" sz="3200" b="1" dirty="0" smtClean="0">
                <a:solidFill>
                  <a:schemeClr val="tx1"/>
                </a:solidFill>
                <a:latin typeface="Zurich Light Condensed"/>
              </a:rPr>
              <a:t/>
            </a:r>
            <a:br>
              <a:rPr lang="en-US" sz="3200" b="1" dirty="0" smtClean="0">
                <a:solidFill>
                  <a:schemeClr val="tx1"/>
                </a:solidFill>
                <a:latin typeface="Zurich Light Condensed"/>
              </a:rPr>
            </a:br>
            <a:endParaRPr lang="pt-BR" sz="3200" b="1" dirty="0" smtClean="0">
              <a:solidFill>
                <a:schemeClr val="tx1"/>
              </a:solidFill>
              <a:latin typeface="Zurich Light Condensed"/>
            </a:endParaRPr>
          </a:p>
        </p:txBody>
      </p:sp>
      <p:pic>
        <p:nvPicPr>
          <p:cNvPr id="4" name="Picture 2" descr="C:\Users\yvisson.pereira\Desktop\Imagem abn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871" y="908721"/>
            <a:ext cx="8928992" cy="4586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9126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-576658" y="-492847"/>
            <a:ext cx="10369152" cy="98569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2900" b="1" dirty="0" smtClean="0">
                <a:latin typeface="Zurich Light Condensed"/>
              </a:rPr>
              <a:t/>
            </a:r>
            <a:br>
              <a:rPr lang="pt-BR" sz="2900" b="1" dirty="0" smtClean="0">
                <a:latin typeface="Zurich Light Condensed"/>
              </a:rPr>
            </a:br>
            <a:r>
              <a:rPr lang="pt-BR" sz="2900" b="1" dirty="0" smtClean="0">
                <a:latin typeface="Zurich Light Condensed"/>
              </a:rPr>
              <a:t>NORMA TÉCNICA BRASILEIRA RECICLAGEM </a:t>
            </a:r>
            <a:br>
              <a:rPr lang="pt-BR" sz="2900" b="1" dirty="0" smtClean="0">
                <a:latin typeface="Zurich Light Condensed"/>
              </a:rPr>
            </a:br>
            <a:r>
              <a:rPr lang="pt-BR" sz="2900" b="1" dirty="0" smtClean="0">
                <a:latin typeface="Zurich Light Condensed"/>
              </a:rPr>
              <a:t>DE RESÍDUOS ELETROELETRÔNICOS </a:t>
            </a:r>
            <a:r>
              <a:rPr lang="en-US" sz="2900" b="1" dirty="0" smtClean="0">
                <a:latin typeface="Zurich Light Condensed"/>
              </a:rPr>
              <a:t/>
            </a:r>
            <a:br>
              <a:rPr lang="en-US" sz="2900" b="1" dirty="0" smtClean="0">
                <a:latin typeface="Zurich Light Condensed"/>
              </a:rPr>
            </a:br>
            <a:endParaRPr lang="pt-BR" sz="2900" b="1" dirty="0" smtClean="0">
              <a:latin typeface="Zurich Light Condensed"/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1009650" y="810578"/>
            <a:ext cx="73787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pt-BR" sz="2800" b="1" dirty="0" smtClean="0">
              <a:latin typeface="+mn-lt"/>
              <a:ea typeface="Calibri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pt-BR" sz="2800" b="1" dirty="0" smtClean="0">
                <a:latin typeface="+mn-lt"/>
                <a:ea typeface="Calibri" pitchFamily="34" charset="0"/>
                <a:cs typeface="Arial" pitchFamily="34" charset="0"/>
              </a:rPr>
              <a:t>CRITÉRIOS PARA RECICLAGEM DE RESÍDUOS ELETROELETRÔNICOS </a:t>
            </a:r>
            <a:endParaRPr lang="en-US" sz="2800" b="1" dirty="0" smtClean="0">
              <a:latin typeface="+mn-lt"/>
              <a:ea typeface="Calibri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endParaRPr lang="pt-BR" sz="2400" b="1" dirty="0">
              <a:latin typeface="+mn-lt"/>
              <a:ea typeface="ＭＳ Ｐゴシック" charset="0"/>
              <a:cs typeface="Arial" pitchFamily="34" charset="0"/>
            </a:endParaRPr>
          </a:p>
        </p:txBody>
      </p:sp>
      <p:grpSp>
        <p:nvGrpSpPr>
          <p:cNvPr id="5" name="Grupo 7"/>
          <p:cNvGrpSpPr>
            <a:grpSpLocks/>
          </p:cNvGrpSpPr>
          <p:nvPr/>
        </p:nvGrpSpPr>
        <p:grpSpPr bwMode="auto">
          <a:xfrm>
            <a:off x="1133883" y="2419449"/>
            <a:ext cx="6840538" cy="3025775"/>
            <a:chOff x="973245" y="1628800"/>
            <a:chExt cx="7051509" cy="4048224"/>
          </a:xfrm>
        </p:grpSpPr>
        <p:sp>
          <p:nvSpPr>
            <p:cNvPr id="6" name="Forma livre 8"/>
            <p:cNvSpPr/>
            <p:nvPr/>
          </p:nvSpPr>
          <p:spPr>
            <a:xfrm>
              <a:off x="973245" y="1628800"/>
              <a:ext cx="1723193" cy="4048224"/>
            </a:xfrm>
            <a:custGeom>
              <a:avLst/>
              <a:gdLst>
                <a:gd name="connsiteX0" fmla="*/ 0 w 1724570"/>
                <a:gd name="connsiteY0" fmla="*/ 172457 h 4048224"/>
                <a:gd name="connsiteX1" fmla="*/ 50512 w 1724570"/>
                <a:gd name="connsiteY1" fmla="*/ 50512 h 4048224"/>
                <a:gd name="connsiteX2" fmla="*/ 172458 w 1724570"/>
                <a:gd name="connsiteY2" fmla="*/ 1 h 4048224"/>
                <a:gd name="connsiteX3" fmla="*/ 1552113 w 1724570"/>
                <a:gd name="connsiteY3" fmla="*/ 0 h 4048224"/>
                <a:gd name="connsiteX4" fmla="*/ 1674058 w 1724570"/>
                <a:gd name="connsiteY4" fmla="*/ 50512 h 4048224"/>
                <a:gd name="connsiteX5" fmla="*/ 1724569 w 1724570"/>
                <a:gd name="connsiteY5" fmla="*/ 172458 h 4048224"/>
                <a:gd name="connsiteX6" fmla="*/ 1724570 w 1724570"/>
                <a:gd name="connsiteY6" fmla="*/ 3875767 h 4048224"/>
                <a:gd name="connsiteX7" fmla="*/ 1674058 w 1724570"/>
                <a:gd name="connsiteY7" fmla="*/ 3997713 h 4048224"/>
                <a:gd name="connsiteX8" fmla="*/ 1552112 w 1724570"/>
                <a:gd name="connsiteY8" fmla="*/ 4048224 h 4048224"/>
                <a:gd name="connsiteX9" fmla="*/ 172457 w 1724570"/>
                <a:gd name="connsiteY9" fmla="*/ 4048224 h 4048224"/>
                <a:gd name="connsiteX10" fmla="*/ 50511 w 1724570"/>
                <a:gd name="connsiteY10" fmla="*/ 3997712 h 4048224"/>
                <a:gd name="connsiteX11" fmla="*/ 0 w 1724570"/>
                <a:gd name="connsiteY11" fmla="*/ 3875766 h 4048224"/>
                <a:gd name="connsiteX12" fmla="*/ 0 w 1724570"/>
                <a:gd name="connsiteY12" fmla="*/ 172457 h 404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4570" h="4048224">
                  <a:moveTo>
                    <a:pt x="0" y="172457"/>
                  </a:moveTo>
                  <a:cubicBezTo>
                    <a:pt x="0" y="126719"/>
                    <a:pt x="18170" y="82853"/>
                    <a:pt x="50512" y="50512"/>
                  </a:cubicBezTo>
                  <a:cubicBezTo>
                    <a:pt x="82854" y="18170"/>
                    <a:pt x="126719" y="1"/>
                    <a:pt x="172458" y="1"/>
                  </a:cubicBezTo>
                  <a:lnTo>
                    <a:pt x="1552113" y="0"/>
                  </a:lnTo>
                  <a:cubicBezTo>
                    <a:pt x="1597851" y="0"/>
                    <a:pt x="1641717" y="18170"/>
                    <a:pt x="1674058" y="50512"/>
                  </a:cubicBezTo>
                  <a:cubicBezTo>
                    <a:pt x="1706400" y="82854"/>
                    <a:pt x="1724569" y="126719"/>
                    <a:pt x="1724569" y="172458"/>
                  </a:cubicBezTo>
                  <a:cubicBezTo>
                    <a:pt x="1724569" y="1406894"/>
                    <a:pt x="1724570" y="2641331"/>
                    <a:pt x="1724570" y="3875767"/>
                  </a:cubicBezTo>
                  <a:cubicBezTo>
                    <a:pt x="1724570" y="3921505"/>
                    <a:pt x="1706400" y="3965371"/>
                    <a:pt x="1674058" y="3997713"/>
                  </a:cubicBezTo>
                  <a:cubicBezTo>
                    <a:pt x="1641716" y="4030055"/>
                    <a:pt x="1597851" y="4048224"/>
                    <a:pt x="1552112" y="4048224"/>
                  </a:cubicBezTo>
                  <a:lnTo>
                    <a:pt x="172457" y="4048224"/>
                  </a:lnTo>
                  <a:cubicBezTo>
                    <a:pt x="126719" y="4048224"/>
                    <a:pt x="82853" y="4030054"/>
                    <a:pt x="50511" y="3997712"/>
                  </a:cubicBezTo>
                  <a:cubicBezTo>
                    <a:pt x="18169" y="3965370"/>
                    <a:pt x="0" y="3921505"/>
                    <a:pt x="0" y="3875766"/>
                  </a:cubicBezTo>
                  <a:lnTo>
                    <a:pt x="0" y="17245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20904" tIns="1740193" rIns="120904" bIns="930550" spcCol="1270" anchor="ctr"/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700" b="1" dirty="0" smtClean="0"/>
                <a:t>Proteção do Meio Ambiente</a:t>
              </a:r>
              <a:endParaRPr lang="pt-BR" sz="1700" b="1" dirty="0"/>
            </a:p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6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ISO 14001:2004</a:t>
              </a:r>
              <a:r>
                <a:rPr lang="pt-BR" sz="17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7" name="Retângulo 9"/>
            <p:cNvSpPr/>
            <p:nvPr/>
          </p:nvSpPr>
          <p:spPr>
            <a:xfrm>
              <a:off x="1161438" y="1870929"/>
              <a:ext cx="1348443" cy="1348699"/>
            </a:xfrm>
            <a:prstGeom prst="rect">
              <a:avLst/>
            </a:prstGeom>
            <a:blipFill rotWithShape="0">
              <a:blip r:embed="rId3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Forma livre 10"/>
            <p:cNvSpPr/>
            <p:nvPr/>
          </p:nvSpPr>
          <p:spPr>
            <a:xfrm>
              <a:off x="2748805" y="1628800"/>
              <a:ext cx="1724829" cy="4048224"/>
            </a:xfrm>
            <a:custGeom>
              <a:avLst/>
              <a:gdLst>
                <a:gd name="connsiteX0" fmla="*/ 0 w 1724570"/>
                <a:gd name="connsiteY0" fmla="*/ 172457 h 4048224"/>
                <a:gd name="connsiteX1" fmla="*/ 50512 w 1724570"/>
                <a:gd name="connsiteY1" fmla="*/ 50512 h 4048224"/>
                <a:gd name="connsiteX2" fmla="*/ 172458 w 1724570"/>
                <a:gd name="connsiteY2" fmla="*/ 1 h 4048224"/>
                <a:gd name="connsiteX3" fmla="*/ 1552113 w 1724570"/>
                <a:gd name="connsiteY3" fmla="*/ 0 h 4048224"/>
                <a:gd name="connsiteX4" fmla="*/ 1674058 w 1724570"/>
                <a:gd name="connsiteY4" fmla="*/ 50512 h 4048224"/>
                <a:gd name="connsiteX5" fmla="*/ 1724569 w 1724570"/>
                <a:gd name="connsiteY5" fmla="*/ 172458 h 4048224"/>
                <a:gd name="connsiteX6" fmla="*/ 1724570 w 1724570"/>
                <a:gd name="connsiteY6" fmla="*/ 3875767 h 4048224"/>
                <a:gd name="connsiteX7" fmla="*/ 1674058 w 1724570"/>
                <a:gd name="connsiteY7" fmla="*/ 3997713 h 4048224"/>
                <a:gd name="connsiteX8" fmla="*/ 1552112 w 1724570"/>
                <a:gd name="connsiteY8" fmla="*/ 4048224 h 4048224"/>
                <a:gd name="connsiteX9" fmla="*/ 172457 w 1724570"/>
                <a:gd name="connsiteY9" fmla="*/ 4048224 h 4048224"/>
                <a:gd name="connsiteX10" fmla="*/ 50511 w 1724570"/>
                <a:gd name="connsiteY10" fmla="*/ 3997712 h 4048224"/>
                <a:gd name="connsiteX11" fmla="*/ 0 w 1724570"/>
                <a:gd name="connsiteY11" fmla="*/ 3875766 h 4048224"/>
                <a:gd name="connsiteX12" fmla="*/ 0 w 1724570"/>
                <a:gd name="connsiteY12" fmla="*/ 172457 h 404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4570" h="4048224">
                  <a:moveTo>
                    <a:pt x="0" y="172457"/>
                  </a:moveTo>
                  <a:cubicBezTo>
                    <a:pt x="0" y="126719"/>
                    <a:pt x="18170" y="82853"/>
                    <a:pt x="50512" y="50512"/>
                  </a:cubicBezTo>
                  <a:cubicBezTo>
                    <a:pt x="82854" y="18170"/>
                    <a:pt x="126719" y="1"/>
                    <a:pt x="172458" y="1"/>
                  </a:cubicBezTo>
                  <a:lnTo>
                    <a:pt x="1552113" y="0"/>
                  </a:lnTo>
                  <a:cubicBezTo>
                    <a:pt x="1597851" y="0"/>
                    <a:pt x="1641717" y="18170"/>
                    <a:pt x="1674058" y="50512"/>
                  </a:cubicBezTo>
                  <a:cubicBezTo>
                    <a:pt x="1706400" y="82854"/>
                    <a:pt x="1724569" y="126719"/>
                    <a:pt x="1724569" y="172458"/>
                  </a:cubicBezTo>
                  <a:cubicBezTo>
                    <a:pt x="1724569" y="1406894"/>
                    <a:pt x="1724570" y="2641331"/>
                    <a:pt x="1724570" y="3875767"/>
                  </a:cubicBezTo>
                  <a:cubicBezTo>
                    <a:pt x="1724570" y="3921505"/>
                    <a:pt x="1706400" y="3965371"/>
                    <a:pt x="1674058" y="3997713"/>
                  </a:cubicBezTo>
                  <a:cubicBezTo>
                    <a:pt x="1641716" y="4030055"/>
                    <a:pt x="1597851" y="4048224"/>
                    <a:pt x="1552112" y="4048224"/>
                  </a:cubicBezTo>
                  <a:lnTo>
                    <a:pt x="172457" y="4048224"/>
                  </a:lnTo>
                  <a:cubicBezTo>
                    <a:pt x="126719" y="4048224"/>
                    <a:pt x="82853" y="4030054"/>
                    <a:pt x="50511" y="3997712"/>
                  </a:cubicBezTo>
                  <a:cubicBezTo>
                    <a:pt x="18169" y="3965370"/>
                    <a:pt x="0" y="3921505"/>
                    <a:pt x="0" y="3875766"/>
                  </a:cubicBezTo>
                  <a:lnTo>
                    <a:pt x="0" y="17245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-1488257"/>
                <a:satOff val="8966"/>
                <a:lumOff val="719"/>
                <a:alphaOff val="0"/>
              </a:schemeClr>
            </a:fillRef>
            <a:effectRef idx="0">
              <a:schemeClr val="accent4">
                <a:hueOff val="-1488257"/>
                <a:satOff val="8966"/>
                <a:lumOff val="719"/>
                <a:alphaOff val="0"/>
              </a:schemeClr>
            </a:effectRef>
            <a:fontRef idx="minor">
              <a:schemeClr val="lt1"/>
            </a:fontRef>
          </p:style>
          <p:txBody>
            <a:bodyPr lIns="120904" tIns="1740193" rIns="120904" bIns="930550" spcCol="1270" anchor="ctr"/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pt-BR" sz="1700" b="1" dirty="0"/>
            </a:p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700" b="1" dirty="0" smtClean="0"/>
                <a:t>Saúde e Segurança do Trabalho</a:t>
              </a:r>
              <a:endParaRPr lang="pt-BR" sz="1700" b="1" dirty="0"/>
            </a:p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600" dirty="0"/>
                <a:t>OHSAS 18001:1999</a:t>
              </a:r>
              <a:endParaRPr lang="pt-BR" sz="1700" b="1" dirty="0"/>
            </a:p>
          </p:txBody>
        </p:sp>
        <p:sp>
          <p:nvSpPr>
            <p:cNvPr id="10" name="Retângulo 11"/>
            <p:cNvSpPr/>
            <p:nvPr/>
          </p:nvSpPr>
          <p:spPr>
            <a:xfrm>
              <a:off x="2938635" y="1870929"/>
              <a:ext cx="1348443" cy="1348699"/>
            </a:xfrm>
            <a:prstGeom prst="rect">
              <a:avLst/>
            </a:prstGeom>
            <a:blipFill rotWithShape="0">
              <a:blip r:embed="rId4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tint val="50000"/>
                <a:hueOff val="-1327093"/>
                <a:satOff val="7537"/>
                <a:lumOff val="598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Forma livre 12"/>
            <p:cNvSpPr/>
            <p:nvPr/>
          </p:nvSpPr>
          <p:spPr>
            <a:xfrm>
              <a:off x="4526001" y="1628800"/>
              <a:ext cx="1723192" cy="4048224"/>
            </a:xfrm>
            <a:custGeom>
              <a:avLst/>
              <a:gdLst>
                <a:gd name="connsiteX0" fmla="*/ 0 w 1724570"/>
                <a:gd name="connsiteY0" fmla="*/ 172457 h 4048224"/>
                <a:gd name="connsiteX1" fmla="*/ 50512 w 1724570"/>
                <a:gd name="connsiteY1" fmla="*/ 50512 h 4048224"/>
                <a:gd name="connsiteX2" fmla="*/ 172458 w 1724570"/>
                <a:gd name="connsiteY2" fmla="*/ 1 h 4048224"/>
                <a:gd name="connsiteX3" fmla="*/ 1552113 w 1724570"/>
                <a:gd name="connsiteY3" fmla="*/ 0 h 4048224"/>
                <a:gd name="connsiteX4" fmla="*/ 1674058 w 1724570"/>
                <a:gd name="connsiteY4" fmla="*/ 50512 h 4048224"/>
                <a:gd name="connsiteX5" fmla="*/ 1724569 w 1724570"/>
                <a:gd name="connsiteY5" fmla="*/ 172458 h 4048224"/>
                <a:gd name="connsiteX6" fmla="*/ 1724570 w 1724570"/>
                <a:gd name="connsiteY6" fmla="*/ 3875767 h 4048224"/>
                <a:gd name="connsiteX7" fmla="*/ 1674058 w 1724570"/>
                <a:gd name="connsiteY7" fmla="*/ 3997713 h 4048224"/>
                <a:gd name="connsiteX8" fmla="*/ 1552112 w 1724570"/>
                <a:gd name="connsiteY8" fmla="*/ 4048224 h 4048224"/>
                <a:gd name="connsiteX9" fmla="*/ 172457 w 1724570"/>
                <a:gd name="connsiteY9" fmla="*/ 4048224 h 4048224"/>
                <a:gd name="connsiteX10" fmla="*/ 50511 w 1724570"/>
                <a:gd name="connsiteY10" fmla="*/ 3997712 h 4048224"/>
                <a:gd name="connsiteX11" fmla="*/ 0 w 1724570"/>
                <a:gd name="connsiteY11" fmla="*/ 3875766 h 4048224"/>
                <a:gd name="connsiteX12" fmla="*/ 0 w 1724570"/>
                <a:gd name="connsiteY12" fmla="*/ 172457 h 404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4570" h="4048224">
                  <a:moveTo>
                    <a:pt x="0" y="172457"/>
                  </a:moveTo>
                  <a:cubicBezTo>
                    <a:pt x="0" y="126719"/>
                    <a:pt x="18170" y="82853"/>
                    <a:pt x="50512" y="50512"/>
                  </a:cubicBezTo>
                  <a:cubicBezTo>
                    <a:pt x="82854" y="18170"/>
                    <a:pt x="126719" y="1"/>
                    <a:pt x="172458" y="1"/>
                  </a:cubicBezTo>
                  <a:lnTo>
                    <a:pt x="1552113" y="0"/>
                  </a:lnTo>
                  <a:cubicBezTo>
                    <a:pt x="1597851" y="0"/>
                    <a:pt x="1641717" y="18170"/>
                    <a:pt x="1674058" y="50512"/>
                  </a:cubicBezTo>
                  <a:cubicBezTo>
                    <a:pt x="1706400" y="82854"/>
                    <a:pt x="1724569" y="126719"/>
                    <a:pt x="1724569" y="172458"/>
                  </a:cubicBezTo>
                  <a:cubicBezTo>
                    <a:pt x="1724569" y="1406894"/>
                    <a:pt x="1724570" y="2641331"/>
                    <a:pt x="1724570" y="3875767"/>
                  </a:cubicBezTo>
                  <a:cubicBezTo>
                    <a:pt x="1724570" y="3921505"/>
                    <a:pt x="1706400" y="3965371"/>
                    <a:pt x="1674058" y="3997713"/>
                  </a:cubicBezTo>
                  <a:cubicBezTo>
                    <a:pt x="1641716" y="4030055"/>
                    <a:pt x="1597851" y="4048224"/>
                    <a:pt x="1552112" y="4048224"/>
                  </a:cubicBezTo>
                  <a:lnTo>
                    <a:pt x="172457" y="4048224"/>
                  </a:lnTo>
                  <a:cubicBezTo>
                    <a:pt x="126719" y="4048224"/>
                    <a:pt x="82853" y="4030054"/>
                    <a:pt x="50511" y="3997712"/>
                  </a:cubicBezTo>
                  <a:cubicBezTo>
                    <a:pt x="18169" y="3965370"/>
                    <a:pt x="0" y="3921505"/>
                    <a:pt x="0" y="3875766"/>
                  </a:cubicBezTo>
                  <a:lnTo>
                    <a:pt x="0" y="17245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-2976513"/>
                <a:satOff val="17933"/>
                <a:lumOff val="1437"/>
                <a:alphaOff val="0"/>
              </a:schemeClr>
            </a:fillRef>
            <a:effectRef idx="0">
              <a:schemeClr val="accent4">
                <a:hueOff val="-2976513"/>
                <a:satOff val="17933"/>
                <a:lumOff val="1437"/>
                <a:alphaOff val="0"/>
              </a:schemeClr>
            </a:effectRef>
            <a:fontRef idx="minor">
              <a:schemeClr val="lt1"/>
            </a:fontRef>
          </p:style>
          <p:txBody>
            <a:bodyPr lIns="120904" tIns="1740193" rIns="120904" bIns="930550" spcCol="1270" anchor="ctr"/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700" b="1" dirty="0" err="1" smtClean="0"/>
                <a:t>Rastreabilidade</a:t>
              </a:r>
              <a:endParaRPr lang="pt-BR" sz="1700" b="1" dirty="0"/>
            </a:p>
          </p:txBody>
        </p:sp>
        <p:sp>
          <p:nvSpPr>
            <p:cNvPr id="12" name="Retângulo 13"/>
            <p:cNvSpPr/>
            <p:nvPr/>
          </p:nvSpPr>
          <p:spPr>
            <a:xfrm>
              <a:off x="4714194" y="1870929"/>
              <a:ext cx="1348443" cy="1348699"/>
            </a:xfrm>
            <a:prstGeom prst="rect">
              <a:avLst/>
            </a:prstGeom>
            <a:blipFill rotWithShape="0">
              <a:blip r:embed="rId5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tint val="50000"/>
                <a:hueOff val="-2654186"/>
                <a:satOff val="15073"/>
                <a:lumOff val="1197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Forma livre 14"/>
            <p:cNvSpPr/>
            <p:nvPr/>
          </p:nvSpPr>
          <p:spPr>
            <a:xfrm>
              <a:off x="6301561" y="1628800"/>
              <a:ext cx="1723193" cy="4048224"/>
            </a:xfrm>
            <a:custGeom>
              <a:avLst/>
              <a:gdLst>
                <a:gd name="connsiteX0" fmla="*/ 0 w 1724570"/>
                <a:gd name="connsiteY0" fmla="*/ 172457 h 4048224"/>
                <a:gd name="connsiteX1" fmla="*/ 50512 w 1724570"/>
                <a:gd name="connsiteY1" fmla="*/ 50512 h 4048224"/>
                <a:gd name="connsiteX2" fmla="*/ 172458 w 1724570"/>
                <a:gd name="connsiteY2" fmla="*/ 1 h 4048224"/>
                <a:gd name="connsiteX3" fmla="*/ 1552113 w 1724570"/>
                <a:gd name="connsiteY3" fmla="*/ 0 h 4048224"/>
                <a:gd name="connsiteX4" fmla="*/ 1674058 w 1724570"/>
                <a:gd name="connsiteY4" fmla="*/ 50512 h 4048224"/>
                <a:gd name="connsiteX5" fmla="*/ 1724569 w 1724570"/>
                <a:gd name="connsiteY5" fmla="*/ 172458 h 4048224"/>
                <a:gd name="connsiteX6" fmla="*/ 1724570 w 1724570"/>
                <a:gd name="connsiteY6" fmla="*/ 3875767 h 4048224"/>
                <a:gd name="connsiteX7" fmla="*/ 1674058 w 1724570"/>
                <a:gd name="connsiteY7" fmla="*/ 3997713 h 4048224"/>
                <a:gd name="connsiteX8" fmla="*/ 1552112 w 1724570"/>
                <a:gd name="connsiteY8" fmla="*/ 4048224 h 4048224"/>
                <a:gd name="connsiteX9" fmla="*/ 172457 w 1724570"/>
                <a:gd name="connsiteY9" fmla="*/ 4048224 h 4048224"/>
                <a:gd name="connsiteX10" fmla="*/ 50511 w 1724570"/>
                <a:gd name="connsiteY10" fmla="*/ 3997712 h 4048224"/>
                <a:gd name="connsiteX11" fmla="*/ 0 w 1724570"/>
                <a:gd name="connsiteY11" fmla="*/ 3875766 h 4048224"/>
                <a:gd name="connsiteX12" fmla="*/ 0 w 1724570"/>
                <a:gd name="connsiteY12" fmla="*/ 172457 h 404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4570" h="4048224">
                  <a:moveTo>
                    <a:pt x="0" y="172457"/>
                  </a:moveTo>
                  <a:cubicBezTo>
                    <a:pt x="0" y="126719"/>
                    <a:pt x="18170" y="82853"/>
                    <a:pt x="50512" y="50512"/>
                  </a:cubicBezTo>
                  <a:cubicBezTo>
                    <a:pt x="82854" y="18170"/>
                    <a:pt x="126719" y="1"/>
                    <a:pt x="172458" y="1"/>
                  </a:cubicBezTo>
                  <a:lnTo>
                    <a:pt x="1552113" y="0"/>
                  </a:lnTo>
                  <a:cubicBezTo>
                    <a:pt x="1597851" y="0"/>
                    <a:pt x="1641717" y="18170"/>
                    <a:pt x="1674058" y="50512"/>
                  </a:cubicBezTo>
                  <a:cubicBezTo>
                    <a:pt x="1706400" y="82854"/>
                    <a:pt x="1724569" y="126719"/>
                    <a:pt x="1724569" y="172458"/>
                  </a:cubicBezTo>
                  <a:cubicBezTo>
                    <a:pt x="1724569" y="1406894"/>
                    <a:pt x="1724570" y="2641331"/>
                    <a:pt x="1724570" y="3875767"/>
                  </a:cubicBezTo>
                  <a:cubicBezTo>
                    <a:pt x="1724570" y="3921505"/>
                    <a:pt x="1706400" y="3965371"/>
                    <a:pt x="1674058" y="3997713"/>
                  </a:cubicBezTo>
                  <a:cubicBezTo>
                    <a:pt x="1641716" y="4030055"/>
                    <a:pt x="1597851" y="4048224"/>
                    <a:pt x="1552112" y="4048224"/>
                  </a:cubicBezTo>
                  <a:lnTo>
                    <a:pt x="172457" y="4048224"/>
                  </a:lnTo>
                  <a:cubicBezTo>
                    <a:pt x="126719" y="4048224"/>
                    <a:pt x="82853" y="4030054"/>
                    <a:pt x="50511" y="3997712"/>
                  </a:cubicBezTo>
                  <a:cubicBezTo>
                    <a:pt x="18169" y="3965370"/>
                    <a:pt x="0" y="3921505"/>
                    <a:pt x="0" y="3875766"/>
                  </a:cubicBezTo>
                  <a:lnTo>
                    <a:pt x="0" y="17245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-4464770"/>
                <a:satOff val="26899"/>
                <a:lumOff val="2156"/>
                <a:alphaOff val="0"/>
              </a:schemeClr>
            </a:fillRef>
            <a:effectRef idx="0">
              <a:schemeClr val="accent4">
                <a:hueOff val="-4464770"/>
                <a:satOff val="26899"/>
                <a:lumOff val="2156"/>
                <a:alphaOff val="0"/>
              </a:schemeClr>
            </a:effectRef>
            <a:fontRef idx="minor">
              <a:schemeClr val="lt1"/>
            </a:fontRef>
          </p:style>
          <p:txBody>
            <a:bodyPr lIns="120904" tIns="1740193" rIns="120904" bIns="930550" spcCol="1270" anchor="ctr"/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700" b="1" dirty="0" smtClean="0"/>
                <a:t>Segurança dos Dados</a:t>
              </a:r>
              <a:endParaRPr lang="pt-BR" sz="1700" b="1" dirty="0"/>
            </a:p>
          </p:txBody>
        </p:sp>
        <p:sp>
          <p:nvSpPr>
            <p:cNvPr id="14" name="Retângulo 15"/>
            <p:cNvSpPr/>
            <p:nvPr/>
          </p:nvSpPr>
          <p:spPr>
            <a:xfrm>
              <a:off x="6489754" y="1870929"/>
              <a:ext cx="1350079" cy="1348699"/>
            </a:xfrm>
            <a:prstGeom prst="rect">
              <a:avLst/>
            </a:prstGeom>
            <a:blipFill rotWithShape="0">
              <a:blip r:embed="rId6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tint val="50000"/>
                <a:hueOff val="-3981279"/>
                <a:satOff val="22610"/>
                <a:lumOff val="1795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365160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-324544" y="-531440"/>
            <a:ext cx="10369152" cy="792088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000" b="1" dirty="0" smtClean="0">
                <a:latin typeface="Zurich Light Condensed"/>
              </a:rPr>
              <a:t/>
            </a:r>
            <a:br>
              <a:rPr lang="pt-BR" sz="4000" b="1" dirty="0" smtClean="0">
                <a:latin typeface="Zurich Light Condensed"/>
              </a:rPr>
            </a:br>
            <a:r>
              <a:rPr lang="pt-BR" sz="4000" b="1" dirty="0">
                <a:solidFill>
                  <a:sysClr val="windowText" lastClr="000000"/>
                </a:solidFill>
                <a:latin typeface="Zurich Light Condensed"/>
              </a:rPr>
              <a:t>GT3 – </a:t>
            </a:r>
            <a:r>
              <a:rPr lang="pt-BR" sz="4000" b="1" dirty="0" smtClean="0">
                <a:solidFill>
                  <a:sysClr val="windowText" lastClr="000000"/>
                </a:solidFill>
                <a:latin typeface="Zurich Light Condensed"/>
              </a:rPr>
              <a:t>RESULTADOS</a:t>
            </a:r>
            <a:r>
              <a:rPr lang="pt-BR" sz="4000" b="1" dirty="0">
                <a:solidFill>
                  <a:sysClr val="windowText" lastClr="000000"/>
                </a:solidFill>
                <a:latin typeface="Zurich Light Condensed"/>
              </a:rPr>
              <a:t/>
            </a:r>
            <a:br>
              <a:rPr lang="pt-BR" sz="4000" b="1" dirty="0">
                <a:solidFill>
                  <a:sysClr val="windowText" lastClr="000000"/>
                </a:solidFill>
                <a:latin typeface="Zurich Light Condensed"/>
              </a:rPr>
            </a:br>
            <a:endParaRPr lang="pt-BR" sz="4000" b="1" dirty="0" smtClean="0">
              <a:solidFill>
                <a:sysClr val="windowText" lastClr="000000"/>
              </a:solidFill>
              <a:latin typeface="Zurich Light Condensed"/>
            </a:endParaRPr>
          </a:p>
          <a:p>
            <a:endParaRPr lang="pt-BR" sz="4000" b="1" dirty="0" smtClean="0">
              <a:latin typeface="Zurich Light Condensed"/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1009650" y="1051575"/>
            <a:ext cx="7378700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pt-BR" sz="2800" b="1" dirty="0">
              <a:latin typeface="+mn-lt"/>
              <a:ea typeface="Calibri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endParaRPr lang="pt-BR" sz="2400" b="1" dirty="0">
              <a:latin typeface="+mn-lt"/>
              <a:ea typeface="ＭＳ Ｐゴシック" charset="0"/>
              <a:cs typeface="Arial" pitchFamily="34" charset="0"/>
            </a:endParaRPr>
          </a:p>
        </p:txBody>
      </p:sp>
      <p:pic>
        <p:nvPicPr>
          <p:cNvPr id="1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08337"/>
            <a:ext cx="9143999" cy="403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-396552" y="-459432"/>
            <a:ext cx="10369152" cy="792088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2900" b="1" dirty="0" smtClean="0">
                <a:latin typeface="Zurich Light Condensed"/>
              </a:rPr>
              <a:t/>
            </a:r>
            <a:br>
              <a:rPr lang="pt-BR" sz="2900" b="1" dirty="0" smtClean="0">
                <a:latin typeface="Zurich Light Condensed"/>
              </a:rPr>
            </a:br>
            <a:r>
              <a:rPr lang="pt-BR" sz="3000" b="1" dirty="0">
                <a:solidFill>
                  <a:sysClr val="windowText" lastClr="000000"/>
                </a:solidFill>
                <a:latin typeface="Zurich Light Condensed"/>
              </a:rPr>
              <a:t/>
            </a:r>
            <a:br>
              <a:rPr lang="pt-BR" sz="3000" b="1" dirty="0">
                <a:solidFill>
                  <a:sysClr val="windowText" lastClr="000000"/>
                </a:solidFill>
                <a:latin typeface="Zurich Light Condensed"/>
              </a:rPr>
            </a:br>
            <a:endParaRPr lang="pt-BR" sz="3000" b="1" dirty="0" smtClean="0">
              <a:solidFill>
                <a:sysClr val="windowText" lastClr="000000"/>
              </a:solidFill>
              <a:latin typeface="Zurich Light Condensed"/>
            </a:endParaRPr>
          </a:p>
          <a:p>
            <a:r>
              <a:rPr lang="pt-BR" sz="3000" b="1" dirty="0" smtClean="0">
                <a:solidFill>
                  <a:sysClr val="windowText" lastClr="000000"/>
                </a:solidFill>
                <a:latin typeface="Zurich Light Condensed"/>
              </a:rPr>
              <a:t>TRIBUTAÇÃO </a:t>
            </a:r>
            <a:r>
              <a:rPr lang="pt-BR" sz="3000" b="1" dirty="0">
                <a:solidFill>
                  <a:sysClr val="windowText" lastClr="000000"/>
                </a:solidFill>
                <a:latin typeface="Zurich Light Condensed"/>
              </a:rPr>
              <a:t>X TIPOS DE EMPRESAS</a:t>
            </a:r>
            <a:endParaRPr lang="pt-BR" sz="3000" b="1" dirty="0" smtClean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1033863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-593598" y="-603448"/>
            <a:ext cx="10369152" cy="98569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3200" b="1" dirty="0" smtClean="0">
                <a:latin typeface="Zurich Light Condensed"/>
              </a:rPr>
              <a:t/>
            </a:r>
            <a:br>
              <a:rPr lang="pt-BR" sz="3200" b="1" dirty="0" smtClean="0">
                <a:latin typeface="Zurich Light Condensed"/>
              </a:rPr>
            </a:br>
            <a:r>
              <a:rPr lang="pt-BR" sz="3200" b="1" dirty="0">
                <a:solidFill>
                  <a:prstClr val="black"/>
                </a:solidFill>
                <a:latin typeface="Zurich Light Condensed"/>
              </a:rPr>
              <a:t>DISTRIBUIÇÃO DA CARGA </a:t>
            </a:r>
            <a:r>
              <a:rPr lang="pt-BR" sz="3200" b="1" dirty="0" smtClean="0">
                <a:solidFill>
                  <a:prstClr val="black"/>
                </a:solidFill>
                <a:latin typeface="Zurich Light Condensed"/>
              </a:rPr>
              <a:t>TRIBUTÁRIA</a:t>
            </a:r>
            <a:r>
              <a:rPr lang="pt-BR" sz="3200" b="1" dirty="0">
                <a:solidFill>
                  <a:prstClr val="black"/>
                </a:solidFill>
                <a:latin typeface="Zurich Light Condensed"/>
              </a:rPr>
              <a:t>, </a:t>
            </a:r>
            <a:r>
              <a:rPr lang="pt-BR" sz="3200" b="1" dirty="0" smtClean="0">
                <a:solidFill>
                  <a:prstClr val="black"/>
                </a:solidFill>
                <a:latin typeface="Zurich Light Condensed"/>
              </a:rPr>
              <a:t>               POR </a:t>
            </a:r>
            <a:r>
              <a:rPr lang="pt-BR" sz="3200" b="1" dirty="0">
                <a:solidFill>
                  <a:prstClr val="black"/>
                </a:solidFill>
                <a:latin typeface="Zurich Light Condensed"/>
              </a:rPr>
              <a:t>IMPOSTO (R$ MILHÕES</a:t>
            </a:r>
            <a:r>
              <a:rPr lang="pt-BR" sz="3200" b="1" dirty="0">
                <a:solidFill>
                  <a:prstClr val="black"/>
                </a:solidFill>
              </a:rPr>
              <a:t>) </a:t>
            </a:r>
            <a:endParaRPr lang="pt-BR" sz="3200" b="1" dirty="0" smtClean="0">
              <a:latin typeface="Zurich Light Condensed"/>
            </a:endParaRPr>
          </a:p>
        </p:txBody>
      </p:sp>
      <p:graphicFrame>
        <p:nvGraphicFramePr>
          <p:cNvPr id="15" name="Espaço Reservado para Conteúdo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6708293"/>
              </p:ext>
            </p:extLst>
          </p:nvPr>
        </p:nvGraphicFramePr>
        <p:xfrm>
          <a:off x="254522" y="908720"/>
          <a:ext cx="8787708" cy="4199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CaixaDeTexto 15"/>
          <p:cNvSpPr txBox="1"/>
          <p:nvPr/>
        </p:nvSpPr>
        <p:spPr>
          <a:xfrm>
            <a:off x="254522" y="5107831"/>
            <a:ext cx="92905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ICMS:R$ 1.459  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PIS-COFINS: R$ 883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  <a:t>SIMPLES: R$ 256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CPP: R$ 203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IPI: R$ 52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</a:t>
            </a: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</a:rPr>
              <a:t>ISS: R$ 3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TOTAL DE IMPOSTOS = R$ 2,9 BILHÕE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5931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-604230" y="-531440"/>
            <a:ext cx="10369152" cy="98569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2900" b="1" dirty="0" smtClean="0">
                <a:latin typeface="Zurich Light Condensed"/>
              </a:rPr>
              <a:t/>
            </a:r>
            <a:br>
              <a:rPr lang="pt-BR" sz="2900" b="1" dirty="0" smtClean="0">
                <a:latin typeface="Zurich Light Condensed"/>
              </a:rPr>
            </a:br>
            <a:r>
              <a:rPr lang="en-US" sz="2900" b="1" dirty="0" smtClean="0">
                <a:latin typeface="Zurich Light Condensed"/>
              </a:rPr>
              <a:t/>
            </a:r>
            <a:br>
              <a:rPr lang="en-US" sz="2900" b="1" dirty="0" smtClean="0">
                <a:latin typeface="Zurich Light Condensed"/>
              </a:rPr>
            </a:br>
            <a:endParaRPr lang="pt-BR" sz="2900" b="1" dirty="0" smtClean="0">
              <a:latin typeface="Zurich Light Condensed"/>
            </a:endParaRPr>
          </a:p>
        </p:txBody>
      </p:sp>
      <p:sp>
        <p:nvSpPr>
          <p:cNvPr id="4" name="Espaço Reservado para Conteúdo 4"/>
          <p:cNvSpPr txBox="1">
            <a:spLocks noGrp="1"/>
          </p:cNvSpPr>
          <p:nvPr>
            <p:ph idx="1"/>
          </p:nvPr>
        </p:nvSpPr>
        <p:spPr>
          <a:xfrm>
            <a:off x="465546" y="908720"/>
            <a:ext cx="8229600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édito presumido sobre uso de resíduos como matéria-prima (IPI e PIS/COFINS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)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2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mpliação </a:t>
            </a:r>
            <a:r>
              <a:rPr kumimoji="0" lang="pt-BR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a suspensão da incidência de 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PIS/COFINS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2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Regime </a:t>
            </a:r>
            <a:r>
              <a:rPr kumimoji="0" lang="pt-BR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iferenciado para gestoras (serviços de terceiros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)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2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esoneração </a:t>
            </a:r>
            <a:r>
              <a:rPr kumimoji="0" lang="pt-BR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a folha de 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pagamento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2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457200" lvl="0" indent="-457200" algn="just">
              <a:spcBef>
                <a:spcPts val="0"/>
              </a:spcBef>
              <a:buFont typeface="+mj-lt"/>
              <a:buAutoNum type="arabicPeriod"/>
              <a:defRPr/>
            </a:pPr>
            <a:r>
              <a:rPr lang="pt-BR" sz="2200" dirty="0">
                <a:solidFill>
                  <a:prstClr val="black"/>
                </a:solidFill>
                <a:latin typeface="+mj-lt"/>
                <a:ea typeface="ＭＳ Ｐゴシック" charset="0"/>
              </a:rPr>
              <a:t>Harmonizar o regime de diferimento ou isenção adotado pelos estados, adotando a tributação apenas na saída do estabelecimento industrial (convênio CONFAZ); adotar a isenção nas operações interestaduais; simplificar e harmonizar as obrigações acessórias.</a:t>
            </a:r>
            <a:endParaRPr kumimoji="0" lang="pt-BR" sz="2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ítulo 1"/>
          <p:cNvSpPr txBox="1">
            <a:spLocks noGrp="1"/>
          </p:cNvSpPr>
          <p:nvPr>
            <p:ph type="title"/>
          </p:nvPr>
        </p:nvSpPr>
        <p:spPr>
          <a:xfrm>
            <a:off x="1951384" y="-27384"/>
            <a:ext cx="5068888" cy="852487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Zurich Light Condensed"/>
              </a:rPr>
              <a:t>P R O P O S T A S</a:t>
            </a:r>
            <a:endParaRPr kumimoji="0" lang="pt-BR" sz="36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419628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-604230" y="-531440"/>
            <a:ext cx="10369152" cy="98569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pt-BR" sz="2900" b="1" dirty="0" smtClean="0">
              <a:latin typeface="Zurich Light Condensed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412552"/>
            <a:ext cx="8229600" cy="3667888"/>
          </a:xfrm>
        </p:spPr>
        <p:txBody>
          <a:bodyPr>
            <a:normAutofit/>
          </a:bodyPr>
          <a:lstStyle/>
          <a:p>
            <a:pPr marL="0" indent="0">
              <a:lnSpc>
                <a:spcPct val="80000"/>
              </a:lnSpc>
              <a:buNone/>
            </a:pPr>
            <a:endParaRPr lang="pt-BR" sz="2400" dirty="0" smtClean="0">
              <a:latin typeface="Zurich Light Condensed"/>
              <a:cs typeface="Times New Roman" pitchFamily="18" charset="0"/>
            </a:endParaRPr>
          </a:p>
          <a:p>
            <a:pPr marL="0" indent="0">
              <a:lnSpc>
                <a:spcPct val="80000"/>
              </a:lnSpc>
              <a:buNone/>
            </a:pPr>
            <a:endParaRPr lang="pt-BR" sz="2400" dirty="0">
              <a:latin typeface="Zurich Light Condensed"/>
              <a:cs typeface="Times New Roman" pitchFamily="18" charset="0"/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pt-BR" sz="2400" dirty="0" smtClean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Beatriz </a:t>
            </a:r>
            <a:r>
              <a:rPr lang="pt-BR" sz="2400" dirty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Martins Carneiro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pt-BR" sz="2400" dirty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Coordenadora Geral de Análise da Competitividade e Desenvolvimento Sustentável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pt-BR" sz="2400" dirty="0" smtClean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Secretaria </a:t>
            </a:r>
            <a:r>
              <a:rPr lang="pt-BR" sz="2400" dirty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do Desenvolvimento da Produção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pt-BR" sz="2400" dirty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Ministério do Desenvolvimento, Indústria e Comércio </a:t>
            </a:r>
            <a:r>
              <a:rPr lang="pt-BR" sz="2400" dirty="0" smtClean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Exterior - MDIC</a:t>
            </a:r>
            <a:endParaRPr lang="pt-BR" sz="2400" dirty="0">
              <a:solidFill>
                <a:schemeClr val="tx1"/>
              </a:solidFill>
              <a:latin typeface="Zurich Light Condensed"/>
              <a:cs typeface="Times New Roman" pitchFamily="18" charset="0"/>
            </a:endParaRPr>
          </a:p>
          <a:p>
            <a:endParaRPr lang="en-US" sz="24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23985" y="836712"/>
            <a:ext cx="5068295" cy="853030"/>
          </a:xfrm>
        </p:spPr>
        <p:txBody>
          <a:bodyPr>
            <a:normAutofit/>
          </a:bodyPr>
          <a:lstStyle/>
          <a:p>
            <a:pPr algn="ctr"/>
            <a:r>
              <a:rPr lang="pt-BR" sz="3200" b="1" dirty="0">
                <a:solidFill>
                  <a:srgbClr val="0070C0"/>
                </a:solidFill>
                <a:latin typeface="Zurich Light Condensed"/>
              </a:rPr>
              <a:t>www.mdic.gov.br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7163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ço Reservado para Conteúdo 4"/>
          <p:cNvSpPr>
            <a:spLocks noGrp="1"/>
          </p:cNvSpPr>
          <p:nvPr>
            <p:ph idx="1"/>
          </p:nvPr>
        </p:nvSpPr>
        <p:spPr>
          <a:xfrm>
            <a:off x="467544" y="1268760"/>
            <a:ext cx="7931224" cy="3993307"/>
          </a:xfrm>
        </p:spPr>
        <p:txBody>
          <a:bodyPr>
            <a:noAutofit/>
          </a:bodyPr>
          <a:lstStyle/>
          <a:p>
            <a:pPr algn="just"/>
            <a:r>
              <a:rPr lang="pt-BR" sz="2800" dirty="0" smtClean="0">
                <a:solidFill>
                  <a:schemeClr val="tx1"/>
                </a:solidFill>
              </a:rPr>
              <a:t>Conjunto </a:t>
            </a:r>
            <a:r>
              <a:rPr lang="pt-BR" sz="2800" dirty="0">
                <a:solidFill>
                  <a:schemeClr val="tx1"/>
                </a:solidFill>
              </a:rPr>
              <a:t>de atribuições individualizadas e encadeadas dos </a:t>
            </a:r>
            <a:r>
              <a:rPr lang="pt-BR" sz="2800" b="1" dirty="0">
                <a:solidFill>
                  <a:schemeClr val="tx1"/>
                </a:solidFill>
              </a:rPr>
              <a:t>fabricantes</a:t>
            </a:r>
            <a:r>
              <a:rPr lang="pt-BR" sz="2800" dirty="0">
                <a:solidFill>
                  <a:schemeClr val="tx1"/>
                </a:solidFill>
              </a:rPr>
              <a:t>, </a:t>
            </a:r>
            <a:r>
              <a:rPr lang="pt-BR" sz="2800" b="1" dirty="0">
                <a:solidFill>
                  <a:schemeClr val="tx1"/>
                </a:solidFill>
              </a:rPr>
              <a:t>importadores</a:t>
            </a:r>
            <a:r>
              <a:rPr lang="pt-BR" sz="2800" dirty="0">
                <a:solidFill>
                  <a:schemeClr val="tx1"/>
                </a:solidFill>
              </a:rPr>
              <a:t>, </a:t>
            </a:r>
            <a:r>
              <a:rPr lang="pt-BR" sz="2800" b="1" dirty="0">
                <a:solidFill>
                  <a:schemeClr val="tx1"/>
                </a:solidFill>
              </a:rPr>
              <a:t>distribuidores</a:t>
            </a:r>
            <a:r>
              <a:rPr lang="pt-BR" sz="2800" dirty="0">
                <a:solidFill>
                  <a:schemeClr val="tx1"/>
                </a:solidFill>
              </a:rPr>
              <a:t> e </a:t>
            </a:r>
            <a:r>
              <a:rPr lang="pt-BR" sz="2800" b="1" dirty="0">
                <a:solidFill>
                  <a:schemeClr val="tx1"/>
                </a:solidFill>
              </a:rPr>
              <a:t>comerciantes</a:t>
            </a:r>
            <a:r>
              <a:rPr lang="pt-BR" sz="2800" dirty="0">
                <a:solidFill>
                  <a:schemeClr val="tx1"/>
                </a:solidFill>
              </a:rPr>
              <a:t>, dos </a:t>
            </a:r>
            <a:r>
              <a:rPr lang="pt-BR" sz="2800" b="1" dirty="0">
                <a:solidFill>
                  <a:schemeClr val="tx1"/>
                </a:solidFill>
              </a:rPr>
              <a:t>consumidores</a:t>
            </a:r>
            <a:r>
              <a:rPr lang="pt-BR" sz="2800" dirty="0">
                <a:solidFill>
                  <a:schemeClr val="tx1"/>
                </a:solidFill>
              </a:rPr>
              <a:t> e dos titulares dos </a:t>
            </a:r>
            <a:r>
              <a:rPr lang="pt-BR" sz="2800" b="1" dirty="0">
                <a:solidFill>
                  <a:schemeClr val="tx1"/>
                </a:solidFill>
              </a:rPr>
              <a:t>serviços públicos de limpeza urbana e de manejo dos resíduos sólidos</a:t>
            </a:r>
            <a:r>
              <a:rPr lang="pt-BR" sz="2800" dirty="0">
                <a:solidFill>
                  <a:schemeClr val="tx1"/>
                </a:solidFill>
              </a:rPr>
              <a:t>, para </a:t>
            </a:r>
            <a:r>
              <a:rPr lang="pt-BR" sz="2800" b="1" dirty="0">
                <a:solidFill>
                  <a:schemeClr val="tx1"/>
                </a:solidFill>
              </a:rPr>
              <a:t>minimizar o volume </a:t>
            </a:r>
            <a:r>
              <a:rPr lang="pt-BR" sz="2800" dirty="0">
                <a:solidFill>
                  <a:schemeClr val="tx1"/>
                </a:solidFill>
              </a:rPr>
              <a:t>de resíduos sólidos e rejeitos gerados, bem como para </a:t>
            </a:r>
            <a:r>
              <a:rPr lang="pt-BR" sz="2800" b="1" dirty="0">
                <a:solidFill>
                  <a:schemeClr val="tx1"/>
                </a:solidFill>
              </a:rPr>
              <a:t>reduzir os impactos </a:t>
            </a:r>
            <a:r>
              <a:rPr lang="pt-BR" sz="2800" dirty="0">
                <a:solidFill>
                  <a:schemeClr val="tx1"/>
                </a:solidFill>
              </a:rPr>
              <a:t>causados à </a:t>
            </a:r>
            <a:r>
              <a:rPr lang="pt-BR" sz="2800" b="1" dirty="0">
                <a:solidFill>
                  <a:schemeClr val="tx1"/>
                </a:solidFill>
              </a:rPr>
              <a:t>saúde humana </a:t>
            </a:r>
            <a:r>
              <a:rPr lang="pt-BR" sz="2800" dirty="0">
                <a:solidFill>
                  <a:schemeClr val="tx1"/>
                </a:solidFill>
              </a:rPr>
              <a:t>e à </a:t>
            </a:r>
            <a:r>
              <a:rPr lang="pt-BR" sz="2800" b="1" dirty="0">
                <a:solidFill>
                  <a:schemeClr val="tx1"/>
                </a:solidFill>
              </a:rPr>
              <a:t>qualidade ambiental </a:t>
            </a:r>
            <a:r>
              <a:rPr lang="pt-BR" sz="2800" dirty="0">
                <a:solidFill>
                  <a:schemeClr val="tx1"/>
                </a:solidFill>
              </a:rPr>
              <a:t>decorrentes do </a:t>
            </a:r>
            <a:r>
              <a:rPr lang="pt-BR" sz="2800" b="1" dirty="0">
                <a:solidFill>
                  <a:schemeClr val="tx1"/>
                </a:solidFill>
              </a:rPr>
              <a:t>ciclo de vida </a:t>
            </a:r>
            <a:r>
              <a:rPr lang="pt-BR" sz="2800" dirty="0">
                <a:solidFill>
                  <a:schemeClr val="tx1"/>
                </a:solidFill>
              </a:rPr>
              <a:t>dos produtos, nos termos desta </a:t>
            </a:r>
            <a:r>
              <a:rPr lang="pt-BR" sz="2800" dirty="0" smtClean="0">
                <a:solidFill>
                  <a:schemeClr val="tx1"/>
                </a:solidFill>
              </a:rPr>
              <a:t>Lei</a:t>
            </a:r>
            <a:r>
              <a:rPr lang="pt-BR" sz="2800" dirty="0">
                <a:solidFill>
                  <a:schemeClr val="tx1"/>
                </a:solidFill>
              </a:rPr>
              <a:t>.</a:t>
            </a:r>
          </a:p>
          <a:p>
            <a:pPr marL="457200" indent="-457200" eaLnBrk="1" hangingPunct="1"/>
            <a:endParaRPr lang="pt-BR" sz="2800" dirty="0">
              <a:solidFill>
                <a:schemeClr val="tx1"/>
              </a:solidFill>
            </a:endParaRP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67544" y="-27384"/>
            <a:ext cx="8208912" cy="783307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pt-BR" sz="4000" b="1" dirty="0" smtClean="0">
                <a:latin typeface="Zurich Light Condensed"/>
              </a:rPr>
              <a:t> </a:t>
            </a:r>
            <a:r>
              <a:rPr lang="pt-BR" sz="3600" b="1" dirty="0" smtClean="0">
                <a:solidFill>
                  <a:schemeClr val="tx1"/>
                </a:solidFill>
                <a:latin typeface="Zurich Light Condensed"/>
              </a:rPr>
              <a:t>RESPONSABILIDADE COMPARTILHADA</a:t>
            </a:r>
            <a:endParaRPr lang="pt-BR" sz="3600" dirty="0">
              <a:solidFill>
                <a:schemeClr val="tx1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31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0" y="-1"/>
            <a:ext cx="9162925" cy="6858000"/>
          </a:xfrm>
          <a:prstGeom prst="rect">
            <a:avLst/>
          </a:prstGeom>
          <a:gradFill flip="none" rotWithShape="1">
            <a:gsLst>
              <a:gs pos="13000">
                <a:srgbClr val="FFCC00">
                  <a:shade val="30000"/>
                  <a:satMod val="115000"/>
                  <a:lumMod val="82000"/>
                  <a:lumOff val="18000"/>
                </a:srgbClr>
              </a:gs>
              <a:gs pos="57000">
                <a:srgbClr val="D0AC08">
                  <a:lumMod val="68000"/>
                  <a:lumOff val="3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0" y="6761465"/>
            <a:ext cx="9144000" cy="96534"/>
          </a:xfrm>
          <a:prstGeom prst="rect">
            <a:avLst/>
          </a:prstGeom>
          <a:solidFill>
            <a:srgbClr val="005822"/>
          </a:solidFill>
          <a:ln>
            <a:solidFill>
              <a:srgbClr val="0058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644" y="2739528"/>
            <a:ext cx="3748711" cy="137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14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 bwMode="auto">
          <a:xfrm>
            <a:off x="0" y="-17140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3600" b="1" dirty="0" smtClean="0">
                <a:latin typeface="Zurich Light Condensed"/>
              </a:rPr>
              <a:t>LOGÍSTICA REVERSA</a:t>
            </a:r>
            <a:endParaRPr lang="pt-BR" sz="3600" b="1" dirty="0">
              <a:latin typeface="Zurich Light Condensed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683568" y="1268760"/>
            <a:ext cx="7129463" cy="3889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altLang="pt-BR" sz="2800" dirty="0" smtClean="0"/>
              <a:t>Os SLR visam à restituição dos resíduos sólidos ao setor produtivo para reaproveitamento no ciclo produtivo ou destinação final ambientalmente adequada </a:t>
            </a:r>
          </a:p>
          <a:p>
            <a:pPr algn="just"/>
            <a:r>
              <a:rPr lang="pt-BR" altLang="pt-BR" sz="2800" dirty="0" smtClean="0"/>
              <a:t>Serão implantados e operacionalizados mediante compromissos entre as três esfera do Executivo, setor privado e terceiro setor formalizados em Acordos Setoriais ou termos de compromisso ou mediante regulamento específico. </a:t>
            </a:r>
          </a:p>
          <a:p>
            <a:endParaRPr lang="pt-BR" alt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488224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467544" y="-99392"/>
            <a:ext cx="82296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pt-BR" sz="4000" b="1" dirty="0" smtClean="0">
                <a:latin typeface="Zurich Light Condensed"/>
              </a:rPr>
              <a:t/>
            </a:r>
            <a:br>
              <a:rPr lang="pt-BR" sz="4000" b="1" dirty="0" smtClean="0">
                <a:latin typeface="Zurich Light Condensed"/>
              </a:rPr>
            </a:br>
            <a:r>
              <a:rPr lang="pt-BR" sz="4000" b="1" dirty="0" smtClean="0">
                <a:solidFill>
                  <a:schemeClr val="tx1"/>
                </a:solidFill>
                <a:latin typeface="Zurich Light Condensed"/>
              </a:rPr>
              <a:t>ACORDO SETORIAL</a:t>
            </a:r>
            <a:br>
              <a:rPr lang="pt-BR" sz="4000" b="1" dirty="0" smtClean="0">
                <a:solidFill>
                  <a:schemeClr val="tx1"/>
                </a:solidFill>
                <a:latin typeface="Zurich Light Condensed"/>
              </a:rPr>
            </a:br>
            <a:endParaRPr lang="pt-BR" sz="4000" dirty="0">
              <a:solidFill>
                <a:schemeClr val="tx1"/>
              </a:solidFill>
              <a:latin typeface="Zurich Light Condensed"/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67544" y="1124744"/>
            <a:ext cx="8003232" cy="4525963"/>
          </a:xfrm>
        </p:spPr>
        <p:txBody>
          <a:bodyPr>
            <a:normAutofit/>
          </a:bodyPr>
          <a:lstStyle/>
          <a:p>
            <a:endParaRPr lang="pt-BR" dirty="0" smtClean="0">
              <a:latin typeface="Zurich Light Condensed"/>
            </a:endParaRPr>
          </a:p>
          <a:p>
            <a:pPr algn="just"/>
            <a:r>
              <a:rPr lang="pt-BR" dirty="0" smtClean="0">
                <a:solidFill>
                  <a:schemeClr val="tx1"/>
                </a:solidFill>
              </a:rPr>
              <a:t>Ato </a:t>
            </a:r>
            <a:r>
              <a:rPr lang="pt-BR" dirty="0">
                <a:solidFill>
                  <a:schemeClr val="tx1"/>
                </a:solidFill>
              </a:rPr>
              <a:t>de natureza </a:t>
            </a:r>
            <a:r>
              <a:rPr lang="pt-BR" b="1" dirty="0">
                <a:solidFill>
                  <a:schemeClr val="tx1"/>
                </a:solidFill>
              </a:rPr>
              <a:t>contratual</a:t>
            </a:r>
            <a:r>
              <a:rPr lang="pt-BR" dirty="0">
                <a:solidFill>
                  <a:schemeClr val="tx1"/>
                </a:solidFill>
              </a:rPr>
              <a:t> firmado entre o </a:t>
            </a:r>
            <a:r>
              <a:rPr lang="pt-BR" b="1" dirty="0">
                <a:solidFill>
                  <a:schemeClr val="tx1"/>
                </a:solidFill>
              </a:rPr>
              <a:t>poder público</a:t>
            </a:r>
            <a:r>
              <a:rPr lang="pt-BR" dirty="0">
                <a:solidFill>
                  <a:schemeClr val="tx1"/>
                </a:solidFill>
              </a:rPr>
              <a:t> e </a:t>
            </a:r>
            <a:r>
              <a:rPr lang="pt-BR" b="1" dirty="0">
                <a:solidFill>
                  <a:schemeClr val="tx1"/>
                </a:solidFill>
              </a:rPr>
              <a:t>fabricantes</a:t>
            </a:r>
            <a:r>
              <a:rPr lang="pt-BR" dirty="0">
                <a:solidFill>
                  <a:schemeClr val="tx1"/>
                </a:solidFill>
              </a:rPr>
              <a:t>, </a:t>
            </a:r>
            <a:r>
              <a:rPr lang="pt-BR" b="1" dirty="0">
                <a:solidFill>
                  <a:schemeClr val="tx1"/>
                </a:solidFill>
              </a:rPr>
              <a:t>importadores</a:t>
            </a:r>
            <a:r>
              <a:rPr lang="pt-BR" dirty="0">
                <a:solidFill>
                  <a:schemeClr val="tx1"/>
                </a:solidFill>
              </a:rPr>
              <a:t>, </a:t>
            </a:r>
            <a:r>
              <a:rPr lang="pt-BR" b="1" dirty="0">
                <a:solidFill>
                  <a:schemeClr val="tx1"/>
                </a:solidFill>
              </a:rPr>
              <a:t>distribuidores</a:t>
            </a:r>
            <a:r>
              <a:rPr lang="pt-BR" dirty="0">
                <a:solidFill>
                  <a:schemeClr val="tx1"/>
                </a:solidFill>
              </a:rPr>
              <a:t> ou </a:t>
            </a:r>
            <a:r>
              <a:rPr lang="pt-BR" b="1" dirty="0">
                <a:solidFill>
                  <a:schemeClr val="tx1"/>
                </a:solidFill>
              </a:rPr>
              <a:t>comerciantes</a:t>
            </a:r>
            <a:r>
              <a:rPr lang="pt-BR" dirty="0">
                <a:solidFill>
                  <a:schemeClr val="tx1"/>
                </a:solidFill>
              </a:rPr>
              <a:t>, tendo em vista a </a:t>
            </a:r>
            <a:r>
              <a:rPr lang="pt-BR" b="1" dirty="0">
                <a:solidFill>
                  <a:schemeClr val="tx1"/>
                </a:solidFill>
              </a:rPr>
              <a:t>implantação</a:t>
            </a:r>
            <a:r>
              <a:rPr lang="pt-BR" dirty="0">
                <a:solidFill>
                  <a:schemeClr val="tx1"/>
                </a:solidFill>
              </a:rPr>
              <a:t> da responsabilidade compartilhada pelo ciclo de vida do </a:t>
            </a:r>
            <a:r>
              <a:rPr lang="pt-BR" dirty="0" smtClean="0">
                <a:solidFill>
                  <a:schemeClr val="tx1"/>
                </a:solidFill>
              </a:rPr>
              <a:t>produto.</a:t>
            </a:r>
            <a:r>
              <a:rPr lang="pt-BR" dirty="0">
                <a:solidFill>
                  <a:schemeClr val="tx1"/>
                </a:solidFill>
              </a:rPr>
              <a:t> </a:t>
            </a:r>
          </a:p>
          <a:p>
            <a:endParaRPr lang="pt-BR" dirty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51702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18406" y="-171400"/>
            <a:ext cx="9144000" cy="1143000"/>
          </a:xfrm>
        </p:spPr>
        <p:txBody>
          <a:bodyPr>
            <a:normAutofit fontScale="90000"/>
          </a:bodyPr>
          <a:lstStyle/>
          <a:p>
            <a:pPr algn="ctr">
              <a:tabLst>
                <a:tab pos="712788" algn="l"/>
              </a:tabLst>
            </a:pPr>
            <a:r>
              <a:rPr lang="pt-BR" sz="4000" b="1" dirty="0" smtClean="0">
                <a:latin typeface="Zurich Light Condensed"/>
                <a:cs typeface="Times New Roman" pitchFamily="18" charset="0"/>
              </a:rPr>
              <a:t/>
            </a:r>
            <a:br>
              <a:rPr lang="pt-BR" sz="4000" b="1" dirty="0" smtClean="0">
                <a:latin typeface="Zurich Light Condensed"/>
                <a:cs typeface="Times New Roman" pitchFamily="18" charset="0"/>
              </a:rPr>
            </a:br>
            <a:r>
              <a:rPr lang="pt-BR" sz="4000" dirty="0" smtClean="0">
                <a:latin typeface="Zurich Light Condensed"/>
              </a:rPr>
              <a:t> </a:t>
            </a:r>
            <a:r>
              <a:rPr lang="pt-BR" sz="4000" b="1" dirty="0" smtClean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  <a:t>LOGÍSTICA REVERSA</a:t>
            </a:r>
            <a:br>
              <a:rPr lang="pt-BR" sz="4000" b="1" dirty="0" smtClean="0">
                <a:solidFill>
                  <a:schemeClr val="tx1"/>
                </a:solidFill>
                <a:latin typeface="Zurich Light Condensed"/>
                <a:cs typeface="Times New Roman" pitchFamily="18" charset="0"/>
              </a:rPr>
            </a:br>
            <a:endParaRPr lang="pt-BR" sz="4000" b="1" dirty="0">
              <a:solidFill>
                <a:schemeClr val="tx1"/>
              </a:solidFill>
              <a:latin typeface="Zurich Light Condensed"/>
            </a:endParaRPr>
          </a:p>
        </p:txBody>
      </p:sp>
      <p:sp>
        <p:nvSpPr>
          <p:cNvPr id="4" name="Espaço Reservado para Conteúdo 4"/>
          <p:cNvSpPr>
            <a:spLocks noGrp="1"/>
          </p:cNvSpPr>
          <p:nvPr>
            <p:ph idx="1"/>
          </p:nvPr>
        </p:nvSpPr>
        <p:spPr>
          <a:xfrm>
            <a:off x="467544" y="1124744"/>
            <a:ext cx="8229600" cy="4525963"/>
          </a:xfrm>
        </p:spPr>
        <p:txBody>
          <a:bodyPr>
            <a:noAutofit/>
          </a:bodyPr>
          <a:lstStyle/>
          <a:p>
            <a:pPr marL="457200" lvl="2" indent="-457200" algn="just">
              <a:tabLst>
                <a:tab pos="712788" algn="l"/>
              </a:tabLst>
            </a:pPr>
            <a:r>
              <a:rPr lang="pt-BR" sz="2800" b="1" dirty="0" smtClean="0">
                <a:latin typeface="+mj-lt"/>
                <a:cs typeface="Times New Roman" pitchFamily="18" charset="0"/>
              </a:rPr>
              <a:t>Setores</a:t>
            </a:r>
            <a:r>
              <a:rPr lang="pt-BR" sz="2800" dirty="0" smtClean="0">
                <a:latin typeface="+mj-lt"/>
                <a:cs typeface="Times New Roman" pitchFamily="18" charset="0"/>
              </a:rPr>
              <a:t>: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Agrotóxicos, seus resíduos e embalagen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Pilhas e bateria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Pneu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Óleo lubrificante, seus resíduos e embalagen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Lâmpadas fluorescente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>
                <a:solidFill>
                  <a:srgbClr val="FF0000"/>
                </a:solidFill>
                <a:latin typeface="+mj-lt"/>
                <a:cs typeface="Times New Roman" pitchFamily="18" charset="0"/>
              </a:rPr>
              <a:t>Embalagens em geral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latin typeface="+mj-lt"/>
                <a:cs typeface="Times New Roman" pitchFamily="18" charset="0"/>
              </a:rPr>
              <a:t>Produtos eletroeletrônicos e componentes</a:t>
            </a:r>
          </a:p>
          <a:p>
            <a:pPr marL="800100" lvl="3" indent="-342900" algn="just">
              <a:buFont typeface="Arial" pitchFamily="34" charset="0"/>
              <a:buChar char="•"/>
              <a:tabLst>
                <a:tab pos="712788" algn="l"/>
              </a:tabLst>
            </a:pPr>
            <a:r>
              <a:rPr lang="pt-BR" sz="2800" dirty="0" smtClean="0">
                <a:latin typeface="+mj-lt"/>
                <a:cs typeface="Times New Roman" pitchFamily="18" charset="0"/>
              </a:rPr>
              <a:t>Medicamentos</a:t>
            </a:r>
          </a:p>
          <a:p>
            <a:pPr marL="342900" lvl="2" indent="-342900" algn="just">
              <a:buFont typeface="Arial" pitchFamily="34" charset="0"/>
              <a:buChar char="•"/>
              <a:tabLst>
                <a:tab pos="712788" algn="l"/>
              </a:tabLst>
            </a:pPr>
            <a:endParaRPr lang="pt-BR" sz="2800" dirty="0" smtClean="0">
              <a:latin typeface="Zurich Light Condensed"/>
              <a:cs typeface="Times New Roman" pitchFamily="18" charset="0"/>
            </a:endParaRPr>
          </a:p>
          <a:p>
            <a:pPr algn="just">
              <a:buFont typeface="Arial" pitchFamily="34" charset="0"/>
              <a:buChar char="•"/>
              <a:tabLst>
                <a:tab pos="712788" algn="l"/>
              </a:tabLst>
            </a:pPr>
            <a:endParaRPr lang="pt-BR" sz="2800" dirty="0">
              <a:latin typeface="Zurich Ligh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78352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0" y="-171400"/>
            <a:ext cx="9144000" cy="1143000"/>
          </a:xfrm>
        </p:spPr>
        <p:txBody>
          <a:bodyPr>
            <a:normAutofit fontScale="90000"/>
          </a:bodyPr>
          <a:lstStyle/>
          <a:p>
            <a:pPr algn="ctr">
              <a:tabLst>
                <a:tab pos="712788" algn="l"/>
              </a:tabLst>
            </a:pPr>
            <a:r>
              <a:rPr lang="pt-BR" sz="4000" b="1" dirty="0" smtClean="0">
                <a:latin typeface="Zurich Light Condensed"/>
                <a:cs typeface="Times New Roman" pitchFamily="18" charset="0"/>
              </a:rPr>
              <a:t/>
            </a:r>
            <a:br>
              <a:rPr lang="pt-BR" sz="4000" b="1" dirty="0" smtClean="0">
                <a:latin typeface="Zurich Light Condensed"/>
                <a:cs typeface="Times New Roman" pitchFamily="18" charset="0"/>
              </a:rPr>
            </a:br>
            <a:r>
              <a:rPr lang="pt-BR" sz="4000" b="1" dirty="0" smtClean="0">
                <a:solidFill>
                  <a:srgbClr val="000000"/>
                </a:solidFill>
                <a:latin typeface="Zurich Light Condensed"/>
                <a:cs typeface="Arial" charset="0"/>
              </a:rPr>
              <a:t>ACORDOS SETORIAIS </a:t>
            </a:r>
            <a:r>
              <a:rPr lang="pt-BR" sz="4000" b="1" dirty="0" smtClean="0">
                <a:latin typeface="Zurich Light Condensed"/>
                <a:cs typeface="Times New Roman" pitchFamily="18" charset="0"/>
              </a:rPr>
              <a:t/>
            </a:r>
            <a:br>
              <a:rPr lang="pt-BR" sz="4000" b="1" dirty="0" smtClean="0">
                <a:latin typeface="Zurich Light Condensed"/>
                <a:cs typeface="Times New Roman" pitchFamily="18" charset="0"/>
              </a:rPr>
            </a:br>
            <a:endParaRPr lang="pt-BR" sz="4000" b="1" dirty="0">
              <a:latin typeface="Zurich Light Condensed"/>
            </a:endParaRPr>
          </a:p>
        </p:txBody>
      </p:sp>
      <p:sp>
        <p:nvSpPr>
          <p:cNvPr id="4" name="Espaço Reservado para Conteúdo 4"/>
          <p:cNvSpPr>
            <a:spLocks noGrp="1"/>
          </p:cNvSpPr>
          <p:nvPr>
            <p:ph idx="1"/>
          </p:nvPr>
        </p:nvSpPr>
        <p:spPr>
          <a:xfrm>
            <a:off x="107504" y="908720"/>
            <a:ext cx="8712968" cy="4464495"/>
          </a:xfrm>
        </p:spPr>
        <p:txBody>
          <a:bodyPr>
            <a:noAutofit/>
          </a:bodyPr>
          <a:lstStyle/>
          <a:p>
            <a:pPr algn="just">
              <a:spcBef>
                <a:spcPts val="8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b="1" dirty="0" smtClean="0">
                <a:solidFill>
                  <a:srgbClr val="000000"/>
                </a:solidFill>
                <a:latin typeface="+mj-lt"/>
                <a:cs typeface="Arial" charset="0"/>
              </a:rPr>
              <a:t>Status</a:t>
            </a: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:</a:t>
            </a:r>
          </a:p>
          <a:p>
            <a:pPr marL="0" indent="0" algn="just">
              <a:spcBef>
                <a:spcPts val="850"/>
              </a:spcBef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pt-BR" sz="2400" dirty="0" smtClean="0">
              <a:solidFill>
                <a:srgbClr val="000000"/>
              </a:solidFill>
              <a:latin typeface="+mj-lt"/>
              <a:cs typeface="Arial" charset="0"/>
            </a:endParaRPr>
          </a:p>
          <a:p>
            <a:pPr lvl="1" algn="just">
              <a:spcBef>
                <a:spcPts val="8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Embalagens plásticas de óleos lubrificantes: assinado em dezembro de 2012;</a:t>
            </a:r>
          </a:p>
          <a:p>
            <a:pPr lvl="1" algn="just">
              <a:spcBef>
                <a:spcPts val="8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Lâmpadas fluorescentes: </a:t>
            </a:r>
            <a:r>
              <a:rPr lang="pt-BR" sz="2400" dirty="0">
                <a:solidFill>
                  <a:srgbClr val="000000"/>
                </a:solidFill>
                <a:latin typeface="+mj-lt"/>
                <a:cs typeface="Arial" charset="0"/>
              </a:rPr>
              <a:t>assinado em dezembro de </a:t>
            </a: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2014;</a:t>
            </a:r>
          </a:p>
          <a:p>
            <a:pPr lvl="1" algn="just">
              <a:spcBef>
                <a:spcPts val="8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Embalagens em geral: assinado em 25 de novembro de 2015;</a:t>
            </a:r>
          </a:p>
          <a:p>
            <a:pPr lvl="1" algn="just">
              <a:spcBef>
                <a:spcPts val="8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Equipamentos eletroeletrônicos: </a:t>
            </a:r>
            <a:r>
              <a:rPr lang="pt-BR" sz="2400" dirty="0">
                <a:solidFill>
                  <a:srgbClr val="000000"/>
                </a:solidFill>
                <a:latin typeface="+mj-lt"/>
                <a:cs typeface="Arial" charset="0"/>
              </a:rPr>
              <a:t>propostas em análise no MMA</a:t>
            </a:r>
            <a:r>
              <a:rPr lang="pt-BR" sz="2400" dirty="0" smtClean="0">
                <a:solidFill>
                  <a:srgbClr val="000000"/>
                </a:solidFill>
                <a:latin typeface="+mj-lt"/>
                <a:cs typeface="Arial" charset="0"/>
              </a:rPr>
              <a:t>;</a:t>
            </a:r>
          </a:p>
          <a:p>
            <a:pPr lvl="1" algn="just">
              <a:spcBef>
                <a:spcPts val="8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dirty="0" smtClean="0">
                <a:solidFill>
                  <a:schemeClr val="tx1"/>
                </a:solidFill>
                <a:latin typeface="+mj-lt"/>
                <a:cs typeface="Arial" charset="0"/>
              </a:rPr>
              <a:t>Medicamentos: Edital de Chamamento publicado em outubro/13 .</a:t>
            </a:r>
          </a:p>
          <a:p>
            <a:pPr algn="just">
              <a:buFont typeface="Arial" pitchFamily="34" charset="0"/>
              <a:buChar char="•"/>
              <a:tabLst>
                <a:tab pos="712788" algn="l"/>
              </a:tabLst>
            </a:pPr>
            <a:endParaRPr lang="pt-BR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406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34"/>
          <p:cNvSpPr txBox="1">
            <a:spLocks/>
          </p:cNvSpPr>
          <p:nvPr/>
        </p:nvSpPr>
        <p:spPr>
          <a:xfrm>
            <a:off x="43703" y="-99392"/>
            <a:ext cx="8915400" cy="1001291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F99B0C"/>
              </a:buClr>
              <a:buFont typeface="Arial" pitchFamily="34" charset="0"/>
              <a:buNone/>
              <a:defRPr/>
            </a:pPr>
            <a:r>
              <a:rPr lang="pt-BR" sz="3600" b="1" dirty="0" smtClean="0">
                <a:latin typeface="Zurich Light Condensed"/>
                <a:cs typeface="Arial"/>
              </a:rPr>
              <a:t>DESAFIO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9750" y="1055707"/>
            <a:ext cx="8246574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Elaboração e implementação dos </a:t>
            </a: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Planos de Resíduos Sólidos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Ampliação da coleta seletiva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Definição do modelo de gestão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Inclusão das cooperativas </a:t>
            </a:r>
            <a:r>
              <a:rPr lang="pt-BR" sz="2200" dirty="0">
                <a:cs typeface="Zurich Light Condensed"/>
              </a:rPr>
              <a:t>de </a:t>
            </a:r>
            <a:r>
              <a:rPr lang="pt-BR" sz="2200" dirty="0" smtClean="0">
                <a:cs typeface="Zurich Light Condensed"/>
              </a:rPr>
              <a:t>catadores </a:t>
            </a: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de materiais recicláveis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Financiamento do sistema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Manter o tratamento não discriminatório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Responsabilidade  sobre os resíduos órfãos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Adesão </a:t>
            </a:r>
            <a:r>
              <a:rPr lang="pt-BR" sz="2200" dirty="0">
                <a:cs typeface="Zurich Light Condensed"/>
              </a:rPr>
              <a:t>dos consumidores ao </a:t>
            </a:r>
            <a:r>
              <a:rPr lang="pt-BR" sz="2200" dirty="0" smtClean="0">
                <a:cs typeface="Zurich Light Condensed"/>
              </a:rPr>
              <a:t>sistema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cs typeface="Zurich Light Condensed"/>
              </a:rPr>
              <a:t>Integração dos sistemas de informação com o SINIR;</a:t>
            </a:r>
            <a:endParaRPr lang="pt-BR" sz="2200" dirty="0">
              <a:cs typeface="Zurich Light Condensed"/>
            </a:endParaRP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2200" dirty="0" smtClean="0">
                <a:solidFill>
                  <a:schemeClr val="tx1"/>
                </a:solidFill>
                <a:cs typeface="Zurich Light Condensed"/>
              </a:rPr>
              <a:t>Desoneração e incentivos econômicos e financeiros.</a:t>
            </a:r>
          </a:p>
        </p:txBody>
      </p:sp>
    </p:spTree>
    <p:extLst>
      <p:ext uri="{BB962C8B-B14F-4D97-AF65-F5344CB8AC3E}">
        <p14:creationId xmlns:p14="http://schemas.microsoft.com/office/powerpoint/2010/main" val="43584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1" descr="Descrição: Descrição: Descrição: cid:image005.jpg@01D09F9A.62FEA5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495194"/>
            <a:ext cx="1908299" cy="116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6712"/>
            <a:ext cx="9144000" cy="4586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22285" y="44624"/>
            <a:ext cx="8677051" cy="764703"/>
          </a:xfrm>
        </p:spPr>
        <p:txBody>
          <a:bodyPr>
            <a:noAutofit/>
          </a:bodyPr>
          <a:lstStyle/>
          <a:p>
            <a:pPr algn="ctr">
              <a:tabLst>
                <a:tab pos="712788" algn="l"/>
              </a:tabLst>
            </a:pPr>
            <a:r>
              <a:rPr lang="pt-BR" b="1" dirty="0" smtClean="0">
                <a:solidFill>
                  <a:schemeClr val="tx1"/>
                </a:solidFill>
              </a:rPr>
              <a:t>DISTRIBUIÇÃO GEOGRÁFICA DA GERAÇÃO DE RSU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26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_dDyo7YUWo2A5XhB3_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7ouj8bG0OCuRS1WZ5w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_b1aAlZUCJ1RuaYq8W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exHI0psUucsPNgZ0dF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9zZKvFU.0UpioFbd_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R6rD76RE6wBXqMGbFm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yt4Zqdn06DgCm3yA.5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fZhZRO6ku_2Vw6ExFG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nRI0zNO0mCZ6R7WeJ0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yt4Zqdn06DgCm3yA.5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c8DWzjlUGfRJhIFSsw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n20B8fh0SyY4sxFJU3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c8DWzjlUGfRJhIFSsw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c8DWzjlUGfRJhIFSsw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rLd20kmkyLdWmMmoIo8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gzlvBy10ilX03IgWAF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dW46b4oEetU4UmpvXl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xLfcSPjUiXXwsN95q7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ETUBr_gkGG0qpezfoO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YouuFKvUGR.blXPBzc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vajHnMvEC7MIt83vkH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6wl_5r0y1jQlq7BMF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K0OLcpWk2A8btsWamc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ch4Rld8Ey.xIfEPPPK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c8DWzjlUGfRJhIFSsw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6ulK2jMUqpfuu442eLR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916</TotalTime>
  <Words>1058</Words>
  <Application>Microsoft Office PowerPoint</Application>
  <PresentationFormat>Apresentação na tela (4:3)</PresentationFormat>
  <Paragraphs>161</Paragraphs>
  <Slides>30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1" baseType="lpstr">
      <vt:lpstr>Tema do Office</vt:lpstr>
      <vt:lpstr>Apresentação do PowerPoint</vt:lpstr>
      <vt:lpstr> P  N  R  S </vt:lpstr>
      <vt:lpstr> RESPONSABILIDADE COMPARTILHADA</vt:lpstr>
      <vt:lpstr>Apresentação do PowerPoint</vt:lpstr>
      <vt:lpstr> ACORDO SETORIAL </vt:lpstr>
      <vt:lpstr>  LOGÍSTICA REVERSA </vt:lpstr>
      <vt:lpstr> ACORDOS SETORIAIS  </vt:lpstr>
      <vt:lpstr>Apresentação do PowerPoint</vt:lpstr>
      <vt:lpstr>DISTRIBUIÇÃO GEOGRÁFICA DA GERAÇÃO DE RSU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ICLO DE VIDA EE</vt:lpstr>
      <vt:lpstr>VIDA ÚTIL DE EE</vt:lpstr>
      <vt:lpstr>VIDA ÚTIL DE EE</vt:lpstr>
      <vt:lpstr>M E R C A D O</vt:lpstr>
      <vt:lpstr>EDITAL :  ABRANGÊNCIA</vt:lpstr>
      <vt:lpstr>EDITAL: METAS PARA O QUINTO ANO APÓS  A ASSINATURA DO ACORDO SETORIAL</vt:lpstr>
      <vt:lpstr>Apresentação do PowerPoint</vt:lpstr>
      <vt:lpstr>Apresentação do PowerPoint</vt:lpstr>
      <vt:lpstr>CAPACIDADE DE PROCESSAMENTO</vt:lpstr>
      <vt:lpstr> NORMA TÉCNICA BRASILEIRA RECICLAGEM  DE RESÍDUOS ELETROELETRÔNICOS  </vt:lpstr>
      <vt:lpstr>Apresentação do PowerPoint</vt:lpstr>
      <vt:lpstr>Apresentação do PowerPoint</vt:lpstr>
      <vt:lpstr>Apresentação do PowerPoint</vt:lpstr>
      <vt:lpstr>P R O P O S T A S</vt:lpstr>
      <vt:lpstr>www.mdic.gov.br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obias Uchoa dos Santos Pierre</dc:creator>
  <cp:lastModifiedBy>Beatriz Martins Carneiro</cp:lastModifiedBy>
  <cp:revision>823</cp:revision>
  <cp:lastPrinted>2015-01-17T21:30:59Z</cp:lastPrinted>
  <dcterms:created xsi:type="dcterms:W3CDTF">2013-06-21T19:09:22Z</dcterms:created>
  <dcterms:modified xsi:type="dcterms:W3CDTF">2015-12-02T20:0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